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8" r:id="rId5"/>
    <p:sldMasterId id="2147483736" r:id="rId6"/>
    <p:sldMasterId id="2147483749" r:id="rId7"/>
    <p:sldMasterId id="2147483768" r:id="rId8"/>
    <p:sldMasterId id="2147483817" r:id="rId9"/>
    <p:sldMasterId id="2147483829" r:id="rId10"/>
    <p:sldMasterId id="2147483841" r:id="rId11"/>
  </p:sldMasterIdLst>
  <p:notesMasterIdLst>
    <p:notesMasterId r:id="rId26"/>
  </p:notesMasterIdLst>
  <p:sldIdLst>
    <p:sldId id="314" r:id="rId12"/>
    <p:sldId id="2147472326" r:id="rId13"/>
    <p:sldId id="2147483647" r:id="rId14"/>
    <p:sldId id="2147376204" r:id="rId15"/>
    <p:sldId id="269" r:id="rId16"/>
    <p:sldId id="261" r:id="rId17"/>
    <p:sldId id="2147481105" r:id="rId18"/>
    <p:sldId id="256" r:id="rId19"/>
    <p:sldId id="2147481113" r:id="rId20"/>
    <p:sldId id="279" r:id="rId21"/>
    <p:sldId id="262" r:id="rId22"/>
    <p:sldId id="258" r:id="rId23"/>
    <p:sldId id="257" r:id="rId24"/>
    <p:sldId id="2147481665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0DA"/>
    <a:srgbClr val="E7E9ED"/>
    <a:srgbClr val="D6DEE9"/>
    <a:srgbClr val="E0ED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38F321-E303-4954-B1BC-3AE551A5779E}" v="17" dt="2025-06-26T15:33:59.8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557" autoAdjust="0"/>
  </p:normalViewPr>
  <p:slideViewPr>
    <p:cSldViewPr snapToGrid="0">
      <p:cViewPr>
        <p:scale>
          <a:sx n="50" d="100"/>
          <a:sy n="50" d="100"/>
        </p:scale>
        <p:origin x="118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wathy Remani" userId="fb188cfa-f29f-4111-9fbb-d45a27672598" providerId="ADAL" clId="{CBA50715-A2F7-49B0-A0C3-572C86FE7A45}"/>
    <pc:docChg chg="undo redo custSel addSld delSld modSld sldOrd">
      <pc:chgData name="Aswathy Remani" userId="fb188cfa-f29f-4111-9fbb-d45a27672598" providerId="ADAL" clId="{CBA50715-A2F7-49B0-A0C3-572C86FE7A45}" dt="2025-06-10T07:50:06.512" v="1842"/>
      <pc:docMkLst>
        <pc:docMk/>
      </pc:docMkLst>
      <pc:sldChg chg="add del">
        <pc:chgData name="Aswathy Remani" userId="fb188cfa-f29f-4111-9fbb-d45a27672598" providerId="ADAL" clId="{CBA50715-A2F7-49B0-A0C3-572C86FE7A45}" dt="2025-06-10T04:32:27.517" v="1003"/>
        <pc:sldMkLst>
          <pc:docMk/>
          <pc:sldMk cId="2997260212" sldId="256"/>
        </pc:sldMkLst>
      </pc:sldChg>
      <pc:sldChg chg="delSp modSp add del mod ord">
        <pc:chgData name="Aswathy Remani" userId="fb188cfa-f29f-4111-9fbb-d45a27672598" providerId="ADAL" clId="{CBA50715-A2F7-49B0-A0C3-572C86FE7A45}" dt="2025-06-10T04:40:32.659" v="1113" actId="47"/>
        <pc:sldMkLst>
          <pc:docMk/>
          <pc:sldMk cId="3313950519" sldId="256"/>
        </pc:sldMkLst>
      </pc:sldChg>
      <pc:sldChg chg="modSp new del mod ord">
        <pc:chgData name="Aswathy Remani" userId="fb188cfa-f29f-4111-9fbb-d45a27672598" providerId="ADAL" clId="{CBA50715-A2F7-49B0-A0C3-572C86FE7A45}" dt="2025-06-10T07:37:11.539" v="1643" actId="47"/>
        <pc:sldMkLst>
          <pc:docMk/>
          <pc:sldMk cId="4097667449" sldId="256"/>
        </pc:sldMkLst>
      </pc:sldChg>
      <pc:sldChg chg="modSp mod">
        <pc:chgData name="Aswathy Remani" userId="fb188cfa-f29f-4111-9fbb-d45a27672598" providerId="ADAL" clId="{CBA50715-A2F7-49B0-A0C3-572C86FE7A45}" dt="2025-06-10T07:42:38.337" v="1822" actId="207"/>
        <pc:sldMkLst>
          <pc:docMk/>
          <pc:sldMk cId="2177613951" sldId="257"/>
        </pc:sldMkLst>
        <pc:spChg chg="mod">
          <ac:chgData name="Aswathy Remani" userId="fb188cfa-f29f-4111-9fbb-d45a27672598" providerId="ADAL" clId="{CBA50715-A2F7-49B0-A0C3-572C86FE7A45}" dt="2025-06-10T07:42:38.337" v="1822" actId="207"/>
          <ac:spMkLst>
            <pc:docMk/>
            <pc:sldMk cId="2177613951" sldId="257"/>
            <ac:spMk id="21" creationId="{DDD0799C-B725-501F-948E-24B43775B516}"/>
          </ac:spMkLst>
        </pc:spChg>
      </pc:sldChg>
      <pc:sldChg chg="modSp mod">
        <pc:chgData name="Aswathy Remani" userId="fb188cfa-f29f-4111-9fbb-d45a27672598" providerId="ADAL" clId="{CBA50715-A2F7-49B0-A0C3-572C86FE7A45}" dt="2025-06-10T07:42:47.859" v="1825" actId="20577"/>
        <pc:sldMkLst>
          <pc:docMk/>
          <pc:sldMk cId="2541526913" sldId="258"/>
        </pc:sldMkLst>
        <pc:spChg chg="mod">
          <ac:chgData name="Aswathy Remani" userId="fb188cfa-f29f-4111-9fbb-d45a27672598" providerId="ADAL" clId="{CBA50715-A2F7-49B0-A0C3-572C86FE7A45}" dt="2025-06-10T07:42:47.859" v="1825" actId="20577"/>
          <ac:spMkLst>
            <pc:docMk/>
            <pc:sldMk cId="2541526913" sldId="258"/>
            <ac:spMk id="21" creationId="{DDD0799C-B725-501F-948E-24B43775B516}"/>
          </ac:spMkLst>
        </pc:spChg>
      </pc:sldChg>
      <pc:sldChg chg="addSp delSp modSp mod ord">
        <pc:chgData name="Aswathy Remani" userId="fb188cfa-f29f-4111-9fbb-d45a27672598" providerId="ADAL" clId="{CBA50715-A2F7-49B0-A0C3-572C86FE7A45}" dt="2025-06-10T07:38:02.820" v="1647"/>
        <pc:sldMkLst>
          <pc:docMk/>
          <pc:sldMk cId="1158413704" sldId="259"/>
        </pc:sldMkLst>
      </pc:sldChg>
      <pc:sldChg chg="new add del">
        <pc:chgData name="Aswathy Remani" userId="fb188cfa-f29f-4111-9fbb-d45a27672598" providerId="ADAL" clId="{CBA50715-A2F7-49B0-A0C3-572C86FE7A45}" dt="2025-06-10T04:40:35.321" v="1114" actId="47"/>
        <pc:sldMkLst>
          <pc:docMk/>
          <pc:sldMk cId="823712523" sldId="260"/>
        </pc:sldMkLst>
      </pc:sldChg>
      <pc:sldChg chg="addSp modSp new mod ord">
        <pc:chgData name="Aswathy Remani" userId="fb188cfa-f29f-4111-9fbb-d45a27672598" providerId="ADAL" clId="{CBA50715-A2F7-49B0-A0C3-572C86FE7A45}" dt="2025-06-10T07:50:06.512" v="1842"/>
        <pc:sldMkLst>
          <pc:docMk/>
          <pc:sldMk cId="4047928141" sldId="260"/>
        </pc:sldMkLst>
      </pc:sldChg>
      <pc:sldChg chg="addSp delSp modSp new mod">
        <pc:chgData name="Aswathy Remani" userId="fb188cfa-f29f-4111-9fbb-d45a27672598" providerId="ADAL" clId="{CBA50715-A2F7-49B0-A0C3-572C86FE7A45}" dt="2025-06-10T07:31:00.507" v="1523" actId="13926"/>
        <pc:sldMkLst>
          <pc:docMk/>
          <pc:sldMk cId="1868169633" sldId="261"/>
        </pc:sldMkLst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12" creationId="{DF191A26-4912-CB56-7454-743D336B4D06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13" creationId="{C6A1AFB7-A737-B378-30BA-4B714FBE3B45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14" creationId="{F2B6A940-4219-E43D-F1BD-2B93E7B8BB27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16" creationId="{7B1588C7-24AA-935A-7403-400FCAC797F4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22" creationId="{AECC36EA-B20D-84AE-5ED5-F5BBEA150C6F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23" creationId="{0CE9A9F4-C718-8AE6-B975-0E50148B3E3E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30" creationId="{4933397E-023A-5D67-F520-68F52D7DAA5D}"/>
          </ac:spMkLst>
        </pc:spChg>
        <pc:spChg chg="add 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35" creationId="{1858AA52-C83A-6006-76F3-EB85946955A5}"/>
          </ac:spMkLst>
        </pc:spChg>
        <pc:spChg chg="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37" creationId="{4DEC54AC-DBCD-A4CE-59B1-887FB2E6755A}"/>
          </ac:spMkLst>
        </pc:spChg>
        <pc:spChg chg="mod">
          <ac:chgData name="Aswathy Remani" userId="fb188cfa-f29f-4111-9fbb-d45a27672598" providerId="ADAL" clId="{CBA50715-A2F7-49B0-A0C3-572C86FE7A45}" dt="2025-06-10T07:30:52.845" v="1522"/>
          <ac:spMkLst>
            <pc:docMk/>
            <pc:sldMk cId="1868169633" sldId="261"/>
            <ac:spMk id="40" creationId="{2D9A9091-99B9-F43F-9E67-80FC5337CA0F}"/>
          </ac:spMkLst>
        </pc:spChg>
      </pc:sldChg>
      <pc:sldChg chg="new del">
        <pc:chgData name="Aswathy Remani" userId="fb188cfa-f29f-4111-9fbb-d45a27672598" providerId="ADAL" clId="{CBA50715-A2F7-49B0-A0C3-572C86FE7A45}" dt="2025-06-10T04:40:49.447" v="1115" actId="47"/>
        <pc:sldMkLst>
          <pc:docMk/>
          <pc:sldMk cId="3440048647" sldId="261"/>
        </pc:sldMkLst>
      </pc:sldChg>
      <pc:sldChg chg="addSp delSp modSp new mod">
        <pc:chgData name="Aswathy Remani" userId="fb188cfa-f29f-4111-9fbb-d45a27672598" providerId="ADAL" clId="{CBA50715-A2F7-49B0-A0C3-572C86FE7A45}" dt="2025-06-10T07:42:08.957" v="1794" actId="1035"/>
        <pc:sldMkLst>
          <pc:docMk/>
          <pc:sldMk cId="695125304" sldId="262"/>
        </pc:sldMkLst>
        <pc:spChg chg="mod">
          <ac:chgData name="Aswathy Remani" userId="fb188cfa-f29f-4111-9fbb-d45a27672598" providerId="ADAL" clId="{CBA50715-A2F7-49B0-A0C3-572C86FE7A45}" dt="2025-06-10T07:36:58.792" v="1642" actId="108"/>
          <ac:spMkLst>
            <pc:docMk/>
            <pc:sldMk cId="695125304" sldId="262"/>
            <ac:spMk id="3" creationId="{89C85771-631D-0C4F-08D5-3C1902277F0D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59" creationId="{68931F7D-8D3F-485E-6FDA-AC3D2BB83B30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60" creationId="{DA5B8B88-6697-63B7-7CAA-6AABC73E4E6A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61" creationId="{C1224243-54FF-912D-D967-FABA85DC75F2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62" creationId="{E15CB82B-22B9-EE66-09E6-CE6EE90EE263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63" creationId="{A456900D-01D5-45ED-C115-B4F488637D96}"/>
          </ac:spMkLst>
        </pc:spChg>
        <pc:spChg chg="mod">
          <ac:chgData name="Aswathy Remani" userId="fb188cfa-f29f-4111-9fbb-d45a27672598" providerId="ADAL" clId="{CBA50715-A2F7-49B0-A0C3-572C86FE7A45}" dt="2025-06-10T07:41:58.335" v="1765" actId="1036"/>
          <ac:spMkLst>
            <pc:docMk/>
            <pc:sldMk cId="695125304" sldId="262"/>
            <ac:spMk id="64" creationId="{F05D145A-E049-5967-17C9-122131906F94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65" creationId="{D3577FF3-D7FD-BC6A-76F6-5A10CDFECA75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72" creationId="{0BAB2AC0-1460-E3F0-EBF3-781D52B9A284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73" creationId="{305F228E-0A03-2419-7CB2-69B9AFBB9488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87" creationId="{A464281A-0AD8-B349-F182-176B31A5CC96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90" creationId="{3D93D78C-BF2B-86B9-73D6-0F580B97982B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94" creationId="{FEA10152-DF47-9625-00D2-8A0FFB179950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97" creationId="{96B88C27-EB8E-7843-F29C-2BA735E22EDA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98" creationId="{833CEF98-452A-8381-6028-E72AA0E1D08A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99" creationId="{70BDD1FC-E78F-3B83-413D-A6A25AD405CC}"/>
          </ac:spMkLst>
        </pc:spChg>
        <pc:spChg chg="add mod">
          <ac:chgData name="Aswathy Remani" userId="fb188cfa-f29f-4111-9fbb-d45a27672598" providerId="ADAL" clId="{CBA50715-A2F7-49B0-A0C3-572C86FE7A45}" dt="2025-06-10T07:42:08.957" v="1794" actId="1035"/>
          <ac:spMkLst>
            <pc:docMk/>
            <pc:sldMk cId="695125304" sldId="262"/>
            <ac:spMk id="100" creationId="{3DEE6567-2A65-00F5-A843-DFF268E1B4E8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08" creationId="{6E81A792-31B9-D621-F6FC-981CF726DDEB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09" creationId="{3FE6584D-C983-7D09-019D-AED2A8B3EDDB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10" creationId="{1F4877D8-06A6-18E7-EC84-8FE7367EBA60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11" creationId="{969C67B8-7B1E-B0F3-FBB0-4D9D4388F743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12" creationId="{D78E86D4-3FDA-178A-EA73-564171EB8DCC}"/>
          </ac:spMkLst>
        </pc:spChg>
        <pc:spChg chg="add mod">
          <ac:chgData name="Aswathy Remani" userId="fb188cfa-f29f-4111-9fbb-d45a27672598" providerId="ADAL" clId="{CBA50715-A2F7-49B0-A0C3-572C86FE7A45}" dt="2025-06-10T07:41:45.059" v="1725" actId="1076"/>
          <ac:spMkLst>
            <pc:docMk/>
            <pc:sldMk cId="695125304" sldId="262"/>
            <ac:spMk id="113" creationId="{B40B80C5-2706-ADD8-7C09-F8EFBCDF0EB6}"/>
          </ac:spMkLst>
        </pc:spChg>
      </pc:sldChg>
      <pc:sldChg chg="add del">
        <pc:chgData name="Aswathy Remani" userId="fb188cfa-f29f-4111-9fbb-d45a27672598" providerId="ADAL" clId="{CBA50715-A2F7-49B0-A0C3-572C86FE7A45}" dt="2025-06-10T07:30:33.252" v="1520"/>
        <pc:sldMkLst>
          <pc:docMk/>
          <pc:sldMk cId="1642756245" sldId="262"/>
        </pc:sldMkLst>
      </pc:sldChg>
      <pc:sldChg chg="modSp add del mod ord">
        <pc:chgData name="Aswathy Remani" userId="fb188cfa-f29f-4111-9fbb-d45a27672598" providerId="ADAL" clId="{CBA50715-A2F7-49B0-A0C3-572C86FE7A45}" dt="2025-06-10T04:34:04.468" v="1022" actId="47"/>
        <pc:sldMkLst>
          <pc:docMk/>
          <pc:sldMk cId="2997260212" sldId="262"/>
        </pc:sldMkLst>
      </pc:sldChg>
      <pc:sldChg chg="addSp delSp modSp add del mod ord">
        <pc:chgData name="Aswathy Remani" userId="fb188cfa-f29f-4111-9fbb-d45a27672598" providerId="ADAL" clId="{CBA50715-A2F7-49B0-A0C3-572C86FE7A45}" dt="2025-06-10T07:40:36.565" v="1721" actId="6549"/>
        <pc:sldMkLst>
          <pc:docMk/>
          <pc:sldMk cId="492084264" sldId="279"/>
        </pc:sldMkLst>
        <pc:spChg chg="mod">
          <ac:chgData name="Aswathy Remani" userId="fb188cfa-f29f-4111-9fbb-d45a27672598" providerId="ADAL" clId="{CBA50715-A2F7-49B0-A0C3-572C86FE7A45}" dt="2025-06-10T07:23:09.879" v="1391" actId="20577"/>
          <ac:spMkLst>
            <pc:docMk/>
            <pc:sldMk cId="492084264" sldId="279"/>
            <ac:spMk id="14" creationId="{44E3B9C0-D4F4-BC78-C228-3D3A088EDB36}"/>
          </ac:spMkLst>
        </pc:spChg>
        <pc:spChg chg="mod">
          <ac:chgData name="Aswathy Remani" userId="fb188cfa-f29f-4111-9fbb-d45a27672598" providerId="ADAL" clId="{CBA50715-A2F7-49B0-A0C3-572C86FE7A45}" dt="2025-06-10T07:36:26.613" v="1611" actId="6549"/>
          <ac:spMkLst>
            <pc:docMk/>
            <pc:sldMk cId="492084264" sldId="279"/>
            <ac:spMk id="135" creationId="{522E1691-0ACE-4875-97A9-51FF24EA0F58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36" creationId="{53F7C397-EE2E-44EB-BBC1-615E6C60DA44}"/>
          </ac:spMkLst>
        </pc:spChg>
        <pc:spChg chg="mod">
          <ac:chgData name="Aswathy Remani" userId="fb188cfa-f29f-4111-9fbb-d45a27672598" providerId="ADAL" clId="{CBA50715-A2F7-49B0-A0C3-572C86FE7A45}" dt="2025-06-10T04:39:25.321" v="1106" actId="207"/>
          <ac:spMkLst>
            <pc:docMk/>
            <pc:sldMk cId="492084264" sldId="279"/>
            <ac:spMk id="137" creationId="{3E393279-F81D-4D52-9B32-AEA4E19F8F6E}"/>
          </ac:spMkLst>
        </pc:spChg>
        <pc:spChg chg="mod">
          <ac:chgData name="Aswathy Remani" userId="fb188cfa-f29f-4111-9fbb-d45a27672598" providerId="ADAL" clId="{CBA50715-A2F7-49B0-A0C3-572C86FE7A45}" dt="2025-06-10T04:39:07.975" v="1104" actId="207"/>
          <ac:spMkLst>
            <pc:docMk/>
            <pc:sldMk cId="492084264" sldId="279"/>
            <ac:spMk id="139" creationId="{A8B25B1F-19C4-44A0-8556-89696E0A1B4D}"/>
          </ac:spMkLst>
        </pc:spChg>
        <pc:spChg chg="mod">
          <ac:chgData name="Aswathy Remani" userId="fb188cfa-f29f-4111-9fbb-d45a27672598" providerId="ADAL" clId="{CBA50715-A2F7-49B0-A0C3-572C86FE7A45}" dt="2025-06-10T04:39:39.763" v="1108" actId="207"/>
          <ac:spMkLst>
            <pc:docMk/>
            <pc:sldMk cId="492084264" sldId="279"/>
            <ac:spMk id="141" creationId="{EF1E05AE-56B7-4504-92FC-F74C7FA9C9D5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43" creationId="{6B6515DD-7614-46D3-927F-6B22B00727BE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45" creationId="{518AF41C-CCFC-4D32-9CC0-215AB793E9CD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48" creationId="{BA1D0CE0-30E3-4A89-A5CE-6BA86E4A9A53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54" creationId="{80BA3077-2663-4E2E-A392-26EF70A94A9C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60" creationId="{C04991B1-429D-4903-9282-93980DDCFEB4}"/>
          </ac:spMkLst>
        </pc:spChg>
        <pc:spChg chg="mod">
          <ac:chgData name="Aswathy Remani" userId="fb188cfa-f29f-4111-9fbb-d45a27672598" providerId="ADAL" clId="{CBA50715-A2F7-49B0-A0C3-572C86FE7A45}" dt="2025-06-10T04:35:07.552" v="1041" actId="1036"/>
          <ac:spMkLst>
            <pc:docMk/>
            <pc:sldMk cId="492084264" sldId="279"/>
            <ac:spMk id="161" creationId="{91037EB8-8C84-46BA-88E9-5D8207D235E5}"/>
          </ac:spMkLst>
        </pc:spChg>
        <pc:spChg chg="mod">
          <ac:chgData name="Aswathy Remani" userId="fb188cfa-f29f-4111-9fbb-d45a27672598" providerId="ADAL" clId="{CBA50715-A2F7-49B0-A0C3-572C86FE7A45}" dt="2025-06-10T04:39:32.904" v="1107" actId="207"/>
          <ac:spMkLst>
            <pc:docMk/>
            <pc:sldMk cId="492084264" sldId="279"/>
            <ac:spMk id="172" creationId="{80DD1648-96CA-472E-9D9D-1A6329A532AA}"/>
          </ac:spMkLst>
        </pc:spChg>
        <pc:spChg chg="mod">
          <ac:chgData name="Aswathy Remani" userId="fb188cfa-f29f-4111-9fbb-d45a27672598" providerId="ADAL" clId="{CBA50715-A2F7-49B0-A0C3-572C86FE7A45}" dt="2025-06-10T07:40:36.565" v="1721" actId="6549"/>
          <ac:spMkLst>
            <pc:docMk/>
            <pc:sldMk cId="492084264" sldId="279"/>
            <ac:spMk id="175" creationId="{5F0D59C3-F6B6-479F-AD42-E155FD0F5622}"/>
          </ac:spMkLst>
        </pc:spChg>
        <pc:spChg chg="mod">
          <ac:chgData name="Aswathy Remani" userId="fb188cfa-f29f-4111-9fbb-d45a27672598" providerId="ADAL" clId="{CBA50715-A2F7-49B0-A0C3-572C86FE7A45}" dt="2025-06-10T04:39:51.923" v="1109" actId="207"/>
          <ac:spMkLst>
            <pc:docMk/>
            <pc:sldMk cId="492084264" sldId="279"/>
            <ac:spMk id="180" creationId="{62A14031-0299-4801-8BDF-459D5CA69795}"/>
          </ac:spMkLst>
        </pc:spChg>
        <pc:spChg chg="mod">
          <ac:chgData name="Aswathy Remani" userId="fb188cfa-f29f-4111-9fbb-d45a27672598" providerId="ADAL" clId="{CBA50715-A2F7-49B0-A0C3-572C86FE7A45}" dt="2025-06-10T04:39:51.923" v="1109" actId="207"/>
          <ac:spMkLst>
            <pc:docMk/>
            <pc:sldMk cId="492084264" sldId="279"/>
            <ac:spMk id="182" creationId="{5F744B2E-B337-4AF7-9E82-384182607F2A}"/>
          </ac:spMkLst>
        </pc:spChg>
        <pc:spChg chg="mod">
          <ac:chgData name="Aswathy Remani" userId="fb188cfa-f29f-4111-9fbb-d45a27672598" providerId="ADAL" clId="{CBA50715-A2F7-49B0-A0C3-572C86FE7A45}" dt="2025-06-10T04:39:51.923" v="1109" actId="207"/>
          <ac:spMkLst>
            <pc:docMk/>
            <pc:sldMk cId="492084264" sldId="279"/>
            <ac:spMk id="184" creationId="{3491062B-9548-4908-9903-27038603B608}"/>
          </ac:spMkLst>
        </pc:spChg>
        <pc:spChg chg="mod">
          <ac:chgData name="Aswathy Remani" userId="fb188cfa-f29f-4111-9fbb-d45a27672598" providerId="ADAL" clId="{CBA50715-A2F7-49B0-A0C3-572C86FE7A45}" dt="2025-06-10T04:39:51.923" v="1109" actId="207"/>
          <ac:spMkLst>
            <pc:docMk/>
            <pc:sldMk cId="492084264" sldId="279"/>
            <ac:spMk id="186" creationId="{42EA013A-87D3-4C13-A073-A32BF6FB892F}"/>
          </ac:spMkLst>
        </pc:spChg>
        <pc:grpChg chg="mod">
          <ac:chgData name="Aswathy Remani" userId="fb188cfa-f29f-4111-9fbb-d45a27672598" providerId="ADAL" clId="{CBA50715-A2F7-49B0-A0C3-572C86FE7A45}" dt="2025-06-10T04:35:18.154" v="1043" actId="14100"/>
          <ac:grpSpMkLst>
            <pc:docMk/>
            <pc:sldMk cId="492084264" sldId="279"/>
            <ac:grpSpMk id="140" creationId="{AA544540-4386-4D52-9621-19E824B61098}"/>
          </ac:grpSpMkLst>
        </pc:grpChg>
      </pc:sldChg>
      <pc:sldChg chg="add del">
        <pc:chgData name="Aswathy Remani" userId="fb188cfa-f29f-4111-9fbb-d45a27672598" providerId="ADAL" clId="{CBA50715-A2F7-49B0-A0C3-572C86FE7A45}" dt="2025-06-10T04:42:34.664" v="1120" actId="47"/>
        <pc:sldMkLst>
          <pc:docMk/>
          <pc:sldMk cId="3355652359" sldId="281"/>
        </pc:sldMkLst>
      </pc:sldChg>
      <pc:sldChg chg="del">
        <pc:chgData name="Aswathy Remani" userId="fb188cfa-f29f-4111-9fbb-d45a27672598" providerId="ADAL" clId="{CBA50715-A2F7-49B0-A0C3-572C86FE7A45}" dt="2025-06-10T04:42:20.458" v="1119" actId="47"/>
        <pc:sldMkLst>
          <pc:docMk/>
          <pc:sldMk cId="2428286054" sldId="343"/>
        </pc:sldMkLst>
      </pc:sldChg>
      <pc:sldChg chg="add del ord">
        <pc:chgData name="Aswathy Remani" userId="fb188cfa-f29f-4111-9fbb-d45a27672598" providerId="ADAL" clId="{CBA50715-A2F7-49B0-A0C3-572C86FE7A45}" dt="2025-06-10T07:35:56.204" v="1604" actId="47"/>
        <pc:sldMkLst>
          <pc:docMk/>
          <pc:sldMk cId="4154692255" sldId="2147469103"/>
        </pc:sldMkLst>
      </pc:sldChg>
      <pc:sldChg chg="modSp add del mod ord setBg">
        <pc:chgData name="Aswathy Remani" userId="fb188cfa-f29f-4111-9fbb-d45a27672598" providerId="ADAL" clId="{CBA50715-A2F7-49B0-A0C3-572C86FE7A45}" dt="2025-06-10T04:32:33.756" v="1008"/>
        <pc:sldMkLst>
          <pc:docMk/>
          <pc:sldMk cId="3280191402" sldId="2147471153"/>
        </pc:sldMkLst>
      </pc:sldChg>
      <pc:sldChg chg="modSp mod">
        <pc:chgData name="Aswathy Remani" userId="fb188cfa-f29f-4111-9fbb-d45a27672598" providerId="ADAL" clId="{CBA50715-A2F7-49B0-A0C3-572C86FE7A45}" dt="2025-06-10T07:14:04.430" v="1229" actId="1076"/>
        <pc:sldMkLst>
          <pc:docMk/>
          <pc:sldMk cId="3322723366" sldId="2147472326"/>
        </pc:sldMkLst>
        <pc:spChg chg="mod">
          <ac:chgData name="Aswathy Remani" userId="fb188cfa-f29f-4111-9fbb-d45a27672598" providerId="ADAL" clId="{CBA50715-A2F7-49B0-A0C3-572C86FE7A45}" dt="2025-06-10T07:14:04.430" v="1229" actId="1076"/>
          <ac:spMkLst>
            <pc:docMk/>
            <pc:sldMk cId="3322723366" sldId="2147472326"/>
            <ac:spMk id="7" creationId="{D917B992-B7B9-6EA5-0CDF-F450319D2DC4}"/>
          </ac:spMkLst>
        </pc:spChg>
      </pc:sldChg>
      <pc:sldChg chg="modSp add del mod">
        <pc:chgData name="Aswathy Remani" userId="fb188cfa-f29f-4111-9fbb-d45a27672598" providerId="ADAL" clId="{CBA50715-A2F7-49B0-A0C3-572C86FE7A45}" dt="2025-06-10T07:31:11.732" v="1524" actId="47"/>
        <pc:sldMkLst>
          <pc:docMk/>
          <pc:sldMk cId="1991618503" sldId="2147478970"/>
        </pc:sldMkLst>
      </pc:sldChg>
      <pc:sldChg chg="add del">
        <pc:chgData name="Aswathy Remani" userId="fb188cfa-f29f-4111-9fbb-d45a27672598" providerId="ADAL" clId="{CBA50715-A2F7-49B0-A0C3-572C86FE7A45}" dt="2025-06-10T04:42:19.150" v="1118" actId="47"/>
        <pc:sldMkLst>
          <pc:docMk/>
          <pc:sldMk cId="798014043" sldId="2147481037"/>
        </pc:sldMkLst>
      </pc:sldChg>
      <pc:sldMasterChg chg="delSldLayout">
        <pc:chgData name="Aswathy Remani" userId="fb188cfa-f29f-4111-9fbb-d45a27672598" providerId="ADAL" clId="{CBA50715-A2F7-49B0-A0C3-572C86FE7A45}" dt="2025-06-10T04:42:20.458" v="1119" actId="47"/>
        <pc:sldMasterMkLst>
          <pc:docMk/>
          <pc:sldMasterMk cId="1225756258" sldId="2147483660"/>
        </pc:sldMasterMkLst>
        <pc:sldLayoutChg chg="del">
          <pc:chgData name="Aswathy Remani" userId="fb188cfa-f29f-4111-9fbb-d45a27672598" providerId="ADAL" clId="{CBA50715-A2F7-49B0-A0C3-572C86FE7A45}" dt="2025-06-10T04:42:20.458" v="1119" actId="47"/>
          <pc:sldLayoutMkLst>
            <pc:docMk/>
            <pc:sldMasterMk cId="1225756258" sldId="2147483660"/>
            <pc:sldLayoutMk cId="1364757370" sldId="2147483767"/>
          </pc:sldLayoutMkLst>
        </pc:sldLayoutChg>
      </pc:sldMasterChg>
      <pc:sldMasterChg chg="addSldLayout delSldLayout">
        <pc:chgData name="Aswathy Remani" userId="fb188cfa-f29f-4111-9fbb-d45a27672598" providerId="ADAL" clId="{CBA50715-A2F7-49B0-A0C3-572C86FE7A45}" dt="2025-06-10T07:31:11.732" v="1524" actId="47"/>
        <pc:sldMasterMkLst>
          <pc:docMk/>
          <pc:sldMasterMk cId="3127826710" sldId="2147483768"/>
        </pc:sldMasterMkLst>
        <pc:sldLayoutChg chg="add del">
          <pc:chgData name="Aswathy Remani" userId="fb188cfa-f29f-4111-9fbb-d45a27672598" providerId="ADAL" clId="{CBA50715-A2F7-49B0-A0C3-572C86FE7A45}" dt="2025-06-10T04:32:26.170" v="1002" actId="47"/>
          <pc:sldLayoutMkLst>
            <pc:docMk/>
            <pc:sldMasterMk cId="3127826710" sldId="2147483768"/>
            <pc:sldLayoutMk cId="4247095497" sldId="2147483797"/>
          </pc:sldLayoutMkLst>
        </pc:sldLayoutChg>
        <pc:sldLayoutChg chg="del">
          <pc:chgData name="Aswathy Remani" userId="fb188cfa-f29f-4111-9fbb-d45a27672598" providerId="ADAL" clId="{CBA50715-A2F7-49B0-A0C3-572C86FE7A45}" dt="2025-06-10T07:31:11.732" v="1524" actId="47"/>
          <pc:sldLayoutMkLst>
            <pc:docMk/>
            <pc:sldMasterMk cId="3127826710" sldId="2147483768"/>
            <pc:sldLayoutMk cId="827373388" sldId="2147483817"/>
          </pc:sldLayoutMkLst>
        </pc:sldLayoutChg>
      </pc:sldMasterChg>
    </pc:docChg>
  </pc:docChgLst>
  <pc:docChgLst>
    <pc:chgData name="Aswathy Remani" userId="fb188cfa-f29f-4111-9fbb-d45a27672598" providerId="ADAL" clId="{4C88EC06-16DB-43FA-899D-311C50D26746}"/>
    <pc:docChg chg="custSel addSld modSld">
      <pc:chgData name="Aswathy Remani" userId="fb188cfa-f29f-4111-9fbb-d45a27672598" providerId="ADAL" clId="{4C88EC06-16DB-43FA-899D-311C50D26746}" dt="2025-01-08T05:52:45.219" v="389" actId="20577"/>
      <pc:docMkLst>
        <pc:docMk/>
      </pc:docMkLst>
      <pc:sldChg chg="addSp modSp new mod">
        <pc:chgData name="Aswathy Remani" userId="fb188cfa-f29f-4111-9fbb-d45a27672598" providerId="ADAL" clId="{4C88EC06-16DB-43FA-899D-311C50D26746}" dt="2025-01-08T05:52:45.219" v="389" actId="20577"/>
        <pc:sldMkLst>
          <pc:docMk/>
          <pc:sldMk cId="2857584097" sldId="2147481510"/>
        </pc:sldMkLst>
      </pc:sldChg>
    </pc:docChg>
  </pc:docChgLst>
  <pc:docChgLst>
    <pc:chgData name="Ashutosh Dhananjay Bhamare" userId="990e45cb-1c5c-421b-ace5-d19bb915f6ac" providerId="ADAL" clId="{BB38F321-E303-4954-B1BC-3AE551A5779E}"/>
    <pc:docChg chg="undo custSel addSld delSld modSld delMainMaster modMainMaster">
      <pc:chgData name="Ashutosh Dhananjay Bhamare" userId="990e45cb-1c5c-421b-ace5-d19bb915f6ac" providerId="ADAL" clId="{BB38F321-E303-4954-B1BC-3AE551A5779E}" dt="2025-06-26T15:35:00.462" v="50" actId="47"/>
      <pc:docMkLst>
        <pc:docMk/>
      </pc:docMkLst>
      <pc:sldChg chg="modSp new mod">
        <pc:chgData name="Ashutosh Dhananjay Bhamare" userId="990e45cb-1c5c-421b-ace5-d19bb915f6ac" providerId="ADAL" clId="{BB38F321-E303-4954-B1BC-3AE551A5779E}" dt="2025-06-26T15:34:56.712" v="49" actId="20577"/>
        <pc:sldMkLst>
          <pc:docMk/>
          <pc:sldMk cId="940353570" sldId="256"/>
        </pc:sldMkLst>
        <pc:spChg chg="mod">
          <ac:chgData name="Ashutosh Dhananjay Bhamare" userId="990e45cb-1c5c-421b-ace5-d19bb915f6ac" providerId="ADAL" clId="{BB38F321-E303-4954-B1BC-3AE551A5779E}" dt="2025-06-26T15:34:56.712" v="49" actId="20577"/>
          <ac:spMkLst>
            <pc:docMk/>
            <pc:sldMk cId="940353570" sldId="256"/>
            <ac:spMk id="2" creationId="{D744F818-CB02-9000-2E31-03913BA37355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4:23.784" v="45" actId="478"/>
        <pc:sldMkLst>
          <pc:docMk/>
          <pc:sldMk cId="2177613951" sldId="257"/>
        </pc:sldMkLst>
        <pc:spChg chg="add mod ord">
          <ac:chgData name="Ashutosh Dhananjay Bhamare" userId="990e45cb-1c5c-421b-ace5-d19bb915f6ac" providerId="ADAL" clId="{BB38F321-E303-4954-B1BC-3AE551A5779E}" dt="2025-06-26T15:34:19.804" v="44" actId="20577"/>
          <ac:spMkLst>
            <pc:docMk/>
            <pc:sldMk cId="2177613951" sldId="257"/>
            <ac:spMk id="14" creationId="{29B44061-1BC3-77CA-BBC5-4AD50AA3DC4A}"/>
          </ac:spMkLst>
        </pc:spChg>
        <pc:spChg chg="del mod ord">
          <ac:chgData name="Ashutosh Dhananjay Bhamare" userId="990e45cb-1c5c-421b-ace5-d19bb915f6ac" providerId="ADAL" clId="{BB38F321-E303-4954-B1BC-3AE551A5779E}" dt="2025-06-26T15:34:23.784" v="45" actId="478"/>
          <ac:spMkLst>
            <pc:docMk/>
            <pc:sldMk cId="2177613951" sldId="257"/>
            <ac:spMk id="21" creationId="{DDD0799C-B725-501F-948E-24B43775B516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4:03.603" v="41" actId="478"/>
        <pc:sldMkLst>
          <pc:docMk/>
          <pc:sldMk cId="2541526913" sldId="258"/>
        </pc:sldMkLst>
        <pc:spChg chg="add mod ord">
          <ac:chgData name="Ashutosh Dhananjay Bhamare" userId="990e45cb-1c5c-421b-ace5-d19bb915f6ac" providerId="ADAL" clId="{BB38F321-E303-4954-B1BC-3AE551A5779E}" dt="2025-06-26T15:34:00.233" v="40" actId="20577"/>
          <ac:spMkLst>
            <pc:docMk/>
            <pc:sldMk cId="2541526913" sldId="258"/>
            <ac:spMk id="2" creationId="{06B94195-C7AB-3900-4DA3-0C012494446B}"/>
          </ac:spMkLst>
        </pc:spChg>
        <pc:spChg chg="del mod ord">
          <ac:chgData name="Ashutosh Dhananjay Bhamare" userId="990e45cb-1c5c-421b-ace5-d19bb915f6ac" providerId="ADAL" clId="{BB38F321-E303-4954-B1BC-3AE551A5779E}" dt="2025-06-26T15:34:03.603" v="41" actId="478"/>
          <ac:spMkLst>
            <pc:docMk/>
            <pc:sldMk cId="2541526913" sldId="258"/>
            <ac:spMk id="21" creationId="{DDD0799C-B725-501F-948E-24B43775B516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2:09.889" v="19" actId="478"/>
        <pc:sldMkLst>
          <pc:docMk/>
          <pc:sldMk cId="1868169633" sldId="261"/>
        </pc:sldMkLst>
        <pc:spChg chg="add del mod ord">
          <ac:chgData name="Ashutosh Dhananjay Bhamare" userId="990e45cb-1c5c-421b-ace5-d19bb915f6ac" providerId="ADAL" clId="{BB38F321-E303-4954-B1BC-3AE551A5779E}" dt="2025-06-26T15:31:40.562" v="13" actId="478"/>
          <ac:spMkLst>
            <pc:docMk/>
            <pc:sldMk cId="1868169633" sldId="261"/>
            <ac:spMk id="2" creationId="{1D6A9743-9F8E-E102-80C1-936AD67144CD}"/>
          </ac:spMkLst>
        </pc:spChg>
        <pc:spChg chg="del mod">
          <ac:chgData name="Ashutosh Dhananjay Bhamare" userId="990e45cb-1c5c-421b-ace5-d19bb915f6ac" providerId="ADAL" clId="{BB38F321-E303-4954-B1BC-3AE551A5779E}" dt="2025-06-26T15:32:09.889" v="19" actId="478"/>
          <ac:spMkLst>
            <pc:docMk/>
            <pc:sldMk cId="1868169633" sldId="261"/>
            <ac:spMk id="4" creationId="{EFFBDA98-6B17-8E27-A79E-EDCD81396AF0}"/>
          </ac:spMkLst>
        </pc:spChg>
        <pc:spChg chg="add mod ord">
          <ac:chgData name="Ashutosh Dhananjay Bhamare" userId="990e45cb-1c5c-421b-ace5-d19bb915f6ac" providerId="ADAL" clId="{BB38F321-E303-4954-B1BC-3AE551A5779E}" dt="2025-06-26T15:32:06.942" v="18" actId="20577"/>
          <ac:spMkLst>
            <pc:docMk/>
            <pc:sldMk cId="1868169633" sldId="261"/>
            <ac:spMk id="63" creationId="{FC424F58-5528-3C16-092A-6265BC920480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3:45.193" v="35" actId="478"/>
        <pc:sldMkLst>
          <pc:docMk/>
          <pc:sldMk cId="695125304" sldId="262"/>
        </pc:sldMkLst>
        <pc:spChg chg="add mod ord">
          <ac:chgData name="Ashutosh Dhananjay Bhamare" userId="990e45cb-1c5c-421b-ace5-d19bb915f6ac" providerId="ADAL" clId="{BB38F321-E303-4954-B1BC-3AE551A5779E}" dt="2025-06-26T15:33:41.399" v="34" actId="20577"/>
          <ac:spMkLst>
            <pc:docMk/>
            <pc:sldMk cId="695125304" sldId="262"/>
            <ac:spMk id="2" creationId="{44951B86-47C2-D2E1-6832-6A88BF01FEAF}"/>
          </ac:spMkLst>
        </pc:spChg>
        <pc:spChg chg="del mod ord">
          <ac:chgData name="Ashutosh Dhananjay Bhamare" userId="990e45cb-1c5c-421b-ace5-d19bb915f6ac" providerId="ADAL" clId="{BB38F321-E303-4954-B1BC-3AE551A5779E}" dt="2025-06-26T15:33:45.193" v="35" actId="478"/>
          <ac:spMkLst>
            <pc:docMk/>
            <pc:sldMk cId="695125304" sldId="262"/>
            <ac:spMk id="3" creationId="{89C85771-631D-0C4F-08D5-3C1902277F0D}"/>
          </ac:spMkLst>
        </pc:spChg>
      </pc:sldChg>
      <pc:sldChg chg="modSp mod modClrScheme chgLayout">
        <pc:chgData name="Ashutosh Dhananjay Bhamare" userId="990e45cb-1c5c-421b-ace5-d19bb915f6ac" providerId="ADAL" clId="{BB38F321-E303-4954-B1BC-3AE551A5779E}" dt="2025-06-26T15:30:29.296" v="9" actId="700"/>
        <pc:sldMkLst>
          <pc:docMk/>
          <pc:sldMk cId="3669721526" sldId="269"/>
        </pc:sldMkLst>
        <pc:spChg chg="mod ord">
          <ac:chgData name="Ashutosh Dhananjay Bhamare" userId="990e45cb-1c5c-421b-ace5-d19bb915f6ac" providerId="ADAL" clId="{BB38F321-E303-4954-B1BC-3AE551A5779E}" dt="2025-06-26T15:30:29.296" v="9" actId="700"/>
          <ac:spMkLst>
            <pc:docMk/>
            <pc:sldMk cId="3669721526" sldId="269"/>
            <ac:spMk id="13" creationId="{D0751E6F-B459-E516-345B-2DC25F395EAA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3:25.937" v="31" actId="478"/>
        <pc:sldMkLst>
          <pc:docMk/>
          <pc:sldMk cId="492084264" sldId="279"/>
        </pc:sldMkLst>
        <pc:spChg chg="add mod ord">
          <ac:chgData name="Ashutosh Dhananjay Bhamare" userId="990e45cb-1c5c-421b-ace5-d19bb915f6ac" providerId="ADAL" clId="{BB38F321-E303-4954-B1BC-3AE551A5779E}" dt="2025-06-26T15:33:13.183" v="30" actId="20577"/>
          <ac:spMkLst>
            <pc:docMk/>
            <pc:sldMk cId="492084264" sldId="279"/>
            <ac:spMk id="4" creationId="{F2377026-DD9F-AD6D-E9A9-FFCD310521FE}"/>
          </ac:spMkLst>
        </pc:spChg>
        <pc:spChg chg="del mod ord">
          <ac:chgData name="Ashutosh Dhananjay Bhamare" userId="990e45cb-1c5c-421b-ace5-d19bb915f6ac" providerId="ADAL" clId="{BB38F321-E303-4954-B1BC-3AE551A5779E}" dt="2025-06-26T15:33:25.937" v="31" actId="478"/>
          <ac:spMkLst>
            <pc:docMk/>
            <pc:sldMk cId="492084264" sldId="279"/>
            <ac:spMk id="14" creationId="{44E3B9C0-D4F4-BC78-C228-3D3A088EDB36}"/>
          </ac:spMkLst>
        </pc:spChg>
      </pc:sldChg>
      <pc:sldChg chg="del">
        <pc:chgData name="Ashutosh Dhananjay Bhamare" userId="990e45cb-1c5c-421b-ace5-d19bb915f6ac" providerId="ADAL" clId="{BB38F321-E303-4954-B1BC-3AE551A5779E}" dt="2025-06-26T15:35:00.462" v="50" actId="47"/>
        <pc:sldMkLst>
          <pc:docMk/>
          <pc:sldMk cId="3547298076" sldId="282"/>
        </pc:sldMkLst>
      </pc:sldChg>
      <pc:sldChg chg="modSp add mod">
        <pc:chgData name="Ashutosh Dhananjay Bhamare" userId="990e45cb-1c5c-421b-ace5-d19bb915f6ac" providerId="ADAL" clId="{BB38F321-E303-4954-B1BC-3AE551A5779E}" dt="2025-06-26T15:29:23.756" v="7"/>
        <pc:sldMkLst>
          <pc:docMk/>
          <pc:sldMk cId="475294938" sldId="314"/>
        </pc:sldMkLst>
        <pc:spChg chg="mod">
          <ac:chgData name="Ashutosh Dhananjay Bhamare" userId="990e45cb-1c5c-421b-ace5-d19bb915f6ac" providerId="ADAL" clId="{BB38F321-E303-4954-B1BC-3AE551A5779E}" dt="2025-06-26T15:29:23.756" v="7"/>
          <ac:spMkLst>
            <pc:docMk/>
            <pc:sldMk cId="475294938" sldId="314"/>
            <ac:spMk id="7" creationId="{CBA18D43-991C-B16B-2C0F-2C49EC4F352A}"/>
          </ac:spMkLst>
        </pc:spChg>
      </pc:sldChg>
      <pc:sldChg chg="modSp mod modClrScheme chgLayout">
        <pc:chgData name="Ashutosh Dhananjay Bhamare" userId="990e45cb-1c5c-421b-ace5-d19bb915f6ac" providerId="ADAL" clId="{BB38F321-E303-4954-B1BC-3AE551A5779E}" dt="2025-06-26T15:30:29.296" v="9" actId="700"/>
        <pc:sldMkLst>
          <pc:docMk/>
          <pc:sldMk cId="505584337" sldId="2147376204"/>
        </pc:sldMkLst>
        <pc:spChg chg="mod ord">
          <ac:chgData name="Ashutosh Dhananjay Bhamare" userId="990e45cb-1c5c-421b-ace5-d19bb915f6ac" providerId="ADAL" clId="{BB38F321-E303-4954-B1BC-3AE551A5779E}" dt="2025-06-26T15:30:29.296" v="9" actId="700"/>
          <ac:spMkLst>
            <pc:docMk/>
            <pc:sldMk cId="505584337" sldId="2147376204"/>
            <ac:spMk id="2" creationId="{7F4D62B0-A79C-2DDD-C6E1-E2699329029A}"/>
          </ac:spMkLst>
        </pc:spChg>
      </pc:sldChg>
      <pc:sldChg chg="modSp mod modClrScheme chgLayout">
        <pc:chgData name="Ashutosh Dhananjay Bhamare" userId="990e45cb-1c5c-421b-ace5-d19bb915f6ac" providerId="ADAL" clId="{BB38F321-E303-4954-B1BC-3AE551A5779E}" dt="2025-06-26T15:30:29.296" v="9" actId="700"/>
        <pc:sldMkLst>
          <pc:docMk/>
          <pc:sldMk cId="3322723366" sldId="2147472326"/>
        </pc:sldMkLst>
        <pc:spChg chg="mod ord">
          <ac:chgData name="Ashutosh Dhananjay Bhamare" userId="990e45cb-1c5c-421b-ace5-d19bb915f6ac" providerId="ADAL" clId="{BB38F321-E303-4954-B1BC-3AE551A5779E}" dt="2025-06-26T15:30:29.296" v="9" actId="700"/>
          <ac:spMkLst>
            <pc:docMk/>
            <pc:sldMk cId="3322723366" sldId="2147472326"/>
            <ac:spMk id="7" creationId="{D917B992-B7B9-6EA5-0CDF-F450319D2DC4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2:43.899" v="26" actId="478"/>
        <pc:sldMkLst>
          <pc:docMk/>
          <pc:sldMk cId="1248717086" sldId="2147481105"/>
        </pc:sldMkLst>
        <pc:spChg chg="del mod">
          <ac:chgData name="Ashutosh Dhananjay Bhamare" userId="990e45cb-1c5c-421b-ace5-d19bb915f6ac" providerId="ADAL" clId="{BB38F321-E303-4954-B1BC-3AE551A5779E}" dt="2025-06-26T15:32:43.899" v="26" actId="478"/>
          <ac:spMkLst>
            <pc:docMk/>
            <pc:sldMk cId="1248717086" sldId="2147481105"/>
            <ac:spMk id="2" creationId="{02DE260C-C691-031F-41E3-3BEC3658C9CF}"/>
          </ac:spMkLst>
        </pc:spChg>
        <pc:spChg chg="add del mod ord">
          <ac:chgData name="Ashutosh Dhananjay Bhamare" userId="990e45cb-1c5c-421b-ace5-d19bb915f6ac" providerId="ADAL" clId="{BB38F321-E303-4954-B1BC-3AE551A5779E}" dt="2025-06-26T15:32:29.110" v="22" actId="478"/>
          <ac:spMkLst>
            <pc:docMk/>
            <pc:sldMk cId="1248717086" sldId="2147481105"/>
            <ac:spMk id="3" creationId="{45D97EAD-3155-1DB1-F0D7-590E80D0CE84}"/>
          </ac:spMkLst>
        </pc:spChg>
        <pc:spChg chg="add mod ord">
          <ac:chgData name="Ashutosh Dhananjay Bhamare" userId="990e45cb-1c5c-421b-ace5-d19bb915f6ac" providerId="ADAL" clId="{BB38F321-E303-4954-B1BC-3AE551A5779E}" dt="2025-06-26T15:32:40.768" v="25" actId="20577"/>
          <ac:spMkLst>
            <pc:docMk/>
            <pc:sldMk cId="1248717086" sldId="2147481105"/>
            <ac:spMk id="4" creationId="{281E50E9-C25D-DF73-C605-CA0A7197E1CC}"/>
          </ac:spMkLst>
        </pc:spChg>
      </pc:sldChg>
      <pc:sldChg chg="addSp delSp modSp mod modClrScheme chgLayout">
        <pc:chgData name="Ashutosh Dhananjay Bhamare" userId="990e45cb-1c5c-421b-ace5-d19bb915f6ac" providerId="ADAL" clId="{BB38F321-E303-4954-B1BC-3AE551A5779E}" dt="2025-06-26T15:33:00.085" v="27" actId="6264"/>
        <pc:sldMkLst>
          <pc:docMk/>
          <pc:sldMk cId="431727000" sldId="2147481113"/>
        </pc:sldMkLst>
        <pc:spChg chg="mod ord">
          <ac:chgData name="Ashutosh Dhananjay Bhamare" userId="990e45cb-1c5c-421b-ace5-d19bb915f6ac" providerId="ADAL" clId="{BB38F321-E303-4954-B1BC-3AE551A5779E}" dt="2025-06-26T15:33:00.085" v="27" actId="6264"/>
          <ac:spMkLst>
            <pc:docMk/>
            <pc:sldMk cId="431727000" sldId="2147481113"/>
            <ac:spMk id="2" creationId="{93646628-1BC1-CDB3-68E2-CED929887FBA}"/>
          </ac:spMkLst>
        </pc:spChg>
        <pc:spChg chg="add del mod">
          <ac:chgData name="Ashutosh Dhananjay Bhamare" userId="990e45cb-1c5c-421b-ace5-d19bb915f6ac" providerId="ADAL" clId="{BB38F321-E303-4954-B1BC-3AE551A5779E}" dt="2025-06-26T15:33:00.085" v="27" actId="6264"/>
          <ac:spMkLst>
            <pc:docMk/>
            <pc:sldMk cId="431727000" sldId="2147481113"/>
            <ac:spMk id="5" creationId="{E3ED1C4A-8B02-5949-1039-53C6EDF7BB77}"/>
          </ac:spMkLst>
        </pc:spChg>
      </pc:sldChg>
      <pc:sldChg chg="del">
        <pc:chgData name="Ashutosh Dhananjay Bhamare" userId="990e45cb-1c5c-421b-ace5-d19bb915f6ac" providerId="ADAL" clId="{BB38F321-E303-4954-B1BC-3AE551A5779E}" dt="2025-06-26T15:27:50.505" v="1" actId="47"/>
        <pc:sldMkLst>
          <pc:docMk/>
          <pc:sldMk cId="2509346505" sldId="2147481479"/>
        </pc:sldMkLst>
      </pc:sldChg>
      <pc:sldChg chg="del">
        <pc:chgData name="Ashutosh Dhananjay Bhamare" userId="990e45cb-1c5c-421b-ace5-d19bb915f6ac" providerId="ADAL" clId="{BB38F321-E303-4954-B1BC-3AE551A5779E}" dt="2025-06-26T15:29:33.580" v="8" actId="47"/>
        <pc:sldMkLst>
          <pc:docMk/>
          <pc:sldMk cId="1261787818" sldId="2147481482"/>
        </pc:sldMkLst>
      </pc:sldChg>
      <pc:sldChg chg="add">
        <pc:chgData name="Ashutosh Dhananjay Bhamare" userId="990e45cb-1c5c-421b-ace5-d19bb915f6ac" providerId="ADAL" clId="{BB38F321-E303-4954-B1BC-3AE551A5779E}" dt="2025-06-26T15:27:47.962" v="0"/>
        <pc:sldMkLst>
          <pc:docMk/>
          <pc:sldMk cId="4214631934" sldId="2147481665"/>
        </pc:sldMkLst>
      </pc:sldChg>
      <pc:sldChg chg="modSp mod modClrScheme chgLayout">
        <pc:chgData name="Ashutosh Dhananjay Bhamare" userId="990e45cb-1c5c-421b-ace5-d19bb915f6ac" providerId="ADAL" clId="{BB38F321-E303-4954-B1BC-3AE551A5779E}" dt="2025-06-26T15:30:29.296" v="9" actId="700"/>
        <pc:sldMkLst>
          <pc:docMk/>
          <pc:sldMk cId="2197625075" sldId="2147483647"/>
        </pc:sldMkLst>
        <pc:spChg chg="mod ord">
          <ac:chgData name="Ashutosh Dhananjay Bhamare" userId="990e45cb-1c5c-421b-ace5-d19bb915f6ac" providerId="ADAL" clId="{BB38F321-E303-4954-B1BC-3AE551A5779E}" dt="2025-06-26T15:30:29.296" v="9" actId="700"/>
          <ac:spMkLst>
            <pc:docMk/>
            <pc:sldMk cId="2197625075" sldId="2147483647"/>
            <ac:spMk id="12" creationId="{CAF74889-BBC2-0F7E-F18E-DFD163F50D15}"/>
          </ac:spMkLst>
        </pc:spChg>
      </pc:sldChg>
      <pc:sldMasterChg chg="delSldLayout">
        <pc:chgData name="Ashutosh Dhananjay Bhamare" userId="990e45cb-1c5c-421b-ace5-d19bb915f6ac" providerId="ADAL" clId="{BB38F321-E303-4954-B1BC-3AE551A5779E}" dt="2025-06-26T15:29:33.580" v="8" actId="47"/>
        <pc:sldMasterMkLst>
          <pc:docMk/>
          <pc:sldMasterMk cId="1225756258" sldId="2147483660"/>
        </pc:sldMasterMkLst>
        <pc:sldLayoutChg chg="del">
          <pc:chgData name="Ashutosh Dhananjay Bhamare" userId="990e45cb-1c5c-421b-ace5-d19bb915f6ac" providerId="ADAL" clId="{BB38F321-E303-4954-B1BC-3AE551A5779E}" dt="2025-06-26T15:29:33.580" v="8" actId="47"/>
          <pc:sldLayoutMkLst>
            <pc:docMk/>
            <pc:sldMasterMk cId="1225756258" sldId="2147483660"/>
            <pc:sldLayoutMk cId="1005874484" sldId="2147483666"/>
          </pc:sldLayoutMkLst>
        </pc:sldLayoutChg>
      </pc:sldMasterChg>
      <pc:sldMasterChg chg="del delSldLayout">
        <pc:chgData name="Ashutosh Dhananjay Bhamare" userId="990e45cb-1c5c-421b-ace5-d19bb915f6ac" providerId="ADAL" clId="{BB38F321-E303-4954-B1BC-3AE551A5779E}" dt="2025-06-26T15:35:00.462" v="50" actId="47"/>
        <pc:sldMasterMkLst>
          <pc:docMk/>
          <pc:sldMasterMk cId="2643103228" sldId="2147483779"/>
        </pc:sldMasterMkLst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156649389" sldId="2147483780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1926686385" sldId="2147483781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820984299" sldId="2147483782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1035996921" sldId="2147483783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274642915" sldId="2147483784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519065261" sldId="2147483785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67369314" sldId="2147483786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502344558" sldId="2147483787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282563024" sldId="2147483788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2178147190" sldId="2147483789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4073612375" sldId="2147483790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281399132" sldId="2147483791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880871084" sldId="2147483792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657924828" sldId="2147483793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2327017845" sldId="2147483794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2255910309" sldId="2147483795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5:00.462" v="50" actId="47"/>
          <pc:sldLayoutMkLst>
            <pc:docMk/>
            <pc:sldMasterMk cId="2643103228" sldId="2147483779"/>
            <pc:sldLayoutMk cId="3066838160" sldId="2147483796"/>
          </pc:sldLayoutMkLst>
        </pc:sldLayoutChg>
      </pc:sldMasterChg>
      <pc:sldMasterChg chg="del delSldLayout">
        <pc:chgData name="Ashutosh Dhananjay Bhamare" userId="990e45cb-1c5c-421b-ace5-d19bb915f6ac" providerId="ADAL" clId="{BB38F321-E303-4954-B1BC-3AE551A5779E}" dt="2025-06-26T15:30:29.296" v="9" actId="700"/>
        <pc:sldMasterMkLst>
          <pc:docMk/>
          <pc:sldMasterMk cId="2222027100" sldId="2147483797"/>
        </pc:sldMasterMkLst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1183353153" sldId="2147483798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464402942" sldId="2147483799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352287289" sldId="2147483800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1745146350" sldId="2147483801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1956791395" sldId="2147483802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3384747224" sldId="2147483803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1042367622" sldId="2147483804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3242418602" sldId="2147483805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1821248694" sldId="2147483806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4122508566" sldId="2147483807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700470779" sldId="2147483808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458474763" sldId="2147483809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344564624" sldId="2147483810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142585273" sldId="2147483811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628995318" sldId="2147483812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3596641248" sldId="2147483813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241054197" sldId="2147483814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4286087784" sldId="2147483815"/>
          </pc:sldLayoutMkLst>
        </pc:sldLayoutChg>
        <pc:sldLayoutChg chg="del">
          <pc:chgData name="Ashutosh Dhananjay Bhamare" userId="990e45cb-1c5c-421b-ace5-d19bb915f6ac" providerId="ADAL" clId="{BB38F321-E303-4954-B1BC-3AE551A5779E}" dt="2025-06-26T15:30:29.296" v="9" actId="700"/>
          <pc:sldLayoutMkLst>
            <pc:docMk/>
            <pc:sldMasterMk cId="2222027100" sldId="2147483797"/>
            <pc:sldLayoutMk cId="2408388016" sldId="2147483816"/>
          </pc:sldLayoutMkLst>
        </pc:sldLayoutChg>
      </pc:sldMasterChg>
      <pc:sldMasterChg chg="modSldLayout">
        <pc:chgData name="Ashutosh Dhananjay Bhamare" userId="990e45cb-1c5c-421b-ace5-d19bb915f6ac" providerId="ADAL" clId="{BB38F321-E303-4954-B1BC-3AE551A5779E}" dt="2025-06-26T15:28:40.931" v="5" actId="478"/>
        <pc:sldMasterMkLst>
          <pc:docMk/>
          <pc:sldMasterMk cId="25116093" sldId="2147483829"/>
        </pc:sldMasterMkLst>
        <pc:sldLayoutChg chg="addSp delSp mod">
          <pc:chgData name="Ashutosh Dhananjay Bhamare" userId="990e45cb-1c5c-421b-ace5-d19bb915f6ac" providerId="ADAL" clId="{BB38F321-E303-4954-B1BC-3AE551A5779E}" dt="2025-06-26T15:28:40.931" v="5" actId="478"/>
          <pc:sldLayoutMkLst>
            <pc:docMk/>
            <pc:sldMasterMk cId="25116093" sldId="2147483829"/>
            <pc:sldLayoutMk cId="2648312772" sldId="2147483837"/>
          </pc:sldLayoutMkLst>
          <pc:spChg chg="add del">
            <ac:chgData name="Ashutosh Dhananjay Bhamare" userId="990e45cb-1c5c-421b-ace5-d19bb915f6ac" providerId="ADAL" clId="{BB38F321-E303-4954-B1BC-3AE551A5779E}" dt="2025-06-26T15:28:40.710" v="4" actId="478"/>
            <ac:spMkLst>
              <pc:docMk/>
              <pc:sldMasterMk cId="25116093" sldId="2147483829"/>
              <pc:sldLayoutMk cId="2648312772" sldId="2147483837"/>
              <ac:spMk id="2" creationId="{ECE03DCE-30C9-F426-C00F-B9F460DC72B9}"/>
            </ac:spMkLst>
          </pc:spChg>
          <pc:spChg chg="add del">
            <ac:chgData name="Ashutosh Dhananjay Bhamare" userId="990e45cb-1c5c-421b-ace5-d19bb915f6ac" providerId="ADAL" clId="{BB38F321-E303-4954-B1BC-3AE551A5779E}" dt="2025-06-26T15:28:40.931" v="5" actId="478"/>
            <ac:spMkLst>
              <pc:docMk/>
              <pc:sldMasterMk cId="25116093" sldId="2147483829"/>
              <pc:sldLayoutMk cId="2648312772" sldId="2147483837"/>
              <ac:spMk id="3" creationId="{74C22D51-73B5-F05B-D4A5-8E57C78EC35B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88D0F-4C83-4D36-B1F7-E673E6C621A9}" type="datetimeFigureOut">
              <a:rPr lang="en-IN" smtClean="0"/>
              <a:t>26-06-202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442D85-1223-413B-9D7C-D322CDD1FA06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393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49C79E-0F0D-4D9B-A029-EA5BAB8DBACD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360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59929-0AAE-2743-AA3C-9231360C13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7957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197D63-3C47-635F-4C87-2532C95B02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37DA69-E465-A7B3-E1F7-5284C3D976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141EE4-0EDD-369C-63A4-246D06F98D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C986C6-6221-D701-7FEB-2D7DD1D0E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F7129B-A514-4FCE-9D43-035C23E06350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089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59929-0AAE-2743-AA3C-9231360C13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658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BBCAC-7CEC-E84B-A84C-3BC94E30AA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283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err="1"/>
              <a:t>CitiBank</a:t>
            </a:r>
            <a:r>
              <a:rPr lang="en-SG"/>
              <a:t>…largest customer…Jin hew , we spoke on this</a:t>
            </a:r>
          </a:p>
          <a:p>
            <a:r>
              <a:rPr lang="en-SG"/>
              <a:t>UOB have been our customer since 2010…</a:t>
            </a:r>
          </a:p>
          <a:p>
            <a:r>
              <a:rPr lang="en-SG" err="1"/>
              <a:t>Banj</a:t>
            </a:r>
            <a:r>
              <a:rPr lang="en-SG"/>
              <a:t> Julius </a:t>
            </a:r>
            <a:r>
              <a:rPr lang="en-SG" err="1"/>
              <a:t>baer</a:t>
            </a:r>
            <a:r>
              <a:rPr lang="en-SG"/>
              <a:t>…since 2017</a:t>
            </a:r>
          </a:p>
          <a:p>
            <a:endParaRPr lang="en-S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8DAE-C875-4A90-9247-8DE9D7CED76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893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/>
              <a:t>In the recent past..</a:t>
            </a:r>
          </a:p>
          <a:p>
            <a:r>
              <a:rPr lang="en-SG"/>
              <a:t>Our MSA also have been novated from Syncordis to LTIMindtree..</a:t>
            </a:r>
          </a:p>
          <a:p>
            <a:r>
              <a:rPr lang="en-SG"/>
              <a:t>Under BTP…we brought all the Banking products under BTP…</a:t>
            </a:r>
          </a:p>
          <a:p>
            <a:r>
              <a:rPr lang="en-SG"/>
              <a:t>Temenos and Oracle we were strong from LTI side…Murex…Mindtree was the partner for Murex…there’s no single bank in the region where we have not done Murex work through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8DAE-C875-4A90-9247-8DE9D7CED76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260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International Financial Institution –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Worldbank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ne of the largest custodian bank – </a:t>
            </a:r>
            <a:r>
              <a:rPr lang="en-US" sz="1200" b="1" noProof="0" err="1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ateStreet</a:t>
            </a:r>
            <a:endParaRPr lang="en-US" sz="1200" b="1" noProof="0">
              <a:solidFill>
                <a:srgbClr val="929499">
                  <a:lumMod val="50000"/>
                </a:srgb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Leading American Investment Bank –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Jeffer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Leading Investment bank –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Mizuho B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ne of the largest and old banking institution – </a:t>
            </a:r>
            <a:r>
              <a:rPr lang="en-US" sz="1200" b="1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orthern Tru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State owned financial institution in Canada –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AT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One of the largest commercial bank –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NC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Leading Institutional Investor -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CDP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>
              <a:solidFill>
                <a:srgbClr val="929499">
                  <a:lumMod val="50000"/>
                </a:srgb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9499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442D85-1223-413B-9D7C-D322CDD1FA06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6209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1200" kern="1200" dirty="0">
                <a:latin typeface="Century Gothic" panose="020B0502020202020204" pitchFamily="34" charset="0"/>
              </a:rPr>
              <a:t>Singapore based Investment</a:t>
            </a:r>
            <a:r>
              <a:rPr lang="en-US" sz="1200" kern="1200" baseline="0" dirty="0">
                <a:latin typeface="Century Gothic" panose="020B0502020202020204" pitchFamily="34" charset="0"/>
              </a:rPr>
              <a:t> Bank - </a:t>
            </a:r>
            <a:r>
              <a:rPr lang="en-US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DB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Hong Kong based Investment Bank -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29499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CNCB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rPr>
              <a:t>Tokyo based Investment Bank </a:t>
            </a:r>
            <a:r>
              <a:rPr lang="en-US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– Shinsei Bank</a:t>
            </a:r>
          </a:p>
          <a:p>
            <a:r>
              <a:rPr lang="en-US" sz="1200" kern="1200" dirty="0">
                <a:latin typeface="Century Gothic" panose="020B0502020202020204" pitchFamily="34" charset="0"/>
              </a:rPr>
              <a:t>Singapore based Investment</a:t>
            </a:r>
            <a:r>
              <a:rPr lang="en-US" sz="1200" kern="1200" baseline="0" dirty="0">
                <a:latin typeface="Century Gothic" panose="020B0502020202020204" pitchFamily="34" charset="0"/>
              </a:rPr>
              <a:t> Bank – </a:t>
            </a:r>
            <a:r>
              <a:rPr lang="en-US" sz="1200" b="1" kern="1200" baseline="0" dirty="0">
                <a:latin typeface="Century Gothic" panose="020B0502020202020204" pitchFamily="34" charset="0"/>
              </a:rPr>
              <a:t>OCB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ading Malaysian Bank –</a:t>
            </a:r>
            <a:r>
              <a:rPr lang="en-US" sz="1200" b="1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CIM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jor South African Bank – </a:t>
            </a:r>
            <a:r>
              <a:rPr lang="en-US" sz="1200" b="1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andard B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ading financial institution in Australia – </a:t>
            </a:r>
            <a:r>
              <a:rPr lang="en-US" sz="1200" b="1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A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ading UK financial institution – </a:t>
            </a:r>
            <a:r>
              <a:rPr lang="en-US" sz="1200" b="1" dirty="0">
                <a:solidFill>
                  <a:srgbClr val="929499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ationwide Building Society</a:t>
            </a:r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442D85-1223-413B-9D7C-D322CDD1FA06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595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image" Target="../media/image1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image" Target="../media/image23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planet&#10;&#10;Description automatically generated with low confidence">
            <a:extLst>
              <a:ext uri="{FF2B5EF4-FFF2-40B4-BE49-F238E27FC236}">
                <a16:creationId xmlns:a16="http://schemas.microsoft.com/office/drawing/2014/main" id="{632681D8-3F51-AE3A-F3A0-218CFC6701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BE2545-C4BD-B17C-8ABD-BBF2228B9C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29787" y="271462"/>
            <a:ext cx="2276475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00172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" y="2174880"/>
            <a:ext cx="5386917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70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3370" y="2174880"/>
            <a:ext cx="5389033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26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9909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888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66733" y="273052"/>
            <a:ext cx="6815667" cy="5853113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2100" dirty="0" smtClean="0"/>
            </a:lvl1pPr>
            <a:lvl2pPr>
              <a:defRPr lang="en-US" sz="2100" dirty="0" smtClean="0"/>
            </a:lvl2pPr>
            <a:lvl3pPr>
              <a:defRPr lang="en-US" sz="2100" dirty="0" smtClean="0"/>
            </a:lvl3pPr>
            <a:lvl4pPr>
              <a:defRPr lang="en-US" sz="2100" dirty="0" smtClean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09603" y="1435101"/>
            <a:ext cx="4011084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88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8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6350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10323" y="1371601"/>
            <a:ext cx="2634567" cy="16373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827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8632" y="274639"/>
            <a:ext cx="1637371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3017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879378" y="6428601"/>
            <a:ext cx="6058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rgbClr val="898989"/>
                </a:solidFill>
                <a:cs typeface="Arial" pitchFamily="34" charset="0"/>
              </a:rPr>
              <a:t>India | USA | UK | Germany | Sweden | Belgium | France | Switzerland | UAE | Singapore | Australia | Japan | China</a:t>
            </a:r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00280"/>
            <a:ext cx="12192000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29942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lors to be used in the presentation</a:t>
            </a:r>
          </a:p>
        </p:txBody>
      </p:sp>
      <p:sp>
        <p:nvSpPr>
          <p:cNvPr id="4" name="Rounded Rectangle 3"/>
          <p:cNvSpPr/>
          <p:nvPr userDrawn="1"/>
        </p:nvSpPr>
        <p:spPr>
          <a:xfrm>
            <a:off x="1040191" y="1634490"/>
            <a:ext cx="3048000" cy="685800"/>
          </a:xfrm>
          <a:prstGeom prst="roundRect">
            <a:avLst/>
          </a:prstGeom>
          <a:solidFill>
            <a:srgbClr val="A71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prstClr val="white"/>
                </a:solidFill>
                <a:cs typeface="Arial" pitchFamily="34" charset="0"/>
              </a:rPr>
              <a:t>RGB - 167.25.48</a:t>
            </a:r>
          </a:p>
        </p:txBody>
      </p:sp>
      <p:sp>
        <p:nvSpPr>
          <p:cNvPr id="5" name="Rounded Rectangle 4"/>
          <p:cNvSpPr/>
          <p:nvPr userDrawn="1"/>
        </p:nvSpPr>
        <p:spPr>
          <a:xfrm>
            <a:off x="1040191" y="2493645"/>
            <a:ext cx="3048000" cy="685800"/>
          </a:xfrm>
          <a:prstGeom prst="roundRect">
            <a:avLst/>
          </a:prstGeom>
          <a:solidFill>
            <a:srgbClr val="E37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prstClr val="white"/>
                </a:solidFill>
                <a:cs typeface="Arial" pitchFamily="34" charset="0"/>
              </a:rPr>
              <a:t>RGB - 227.114.34</a:t>
            </a:r>
          </a:p>
        </p:txBody>
      </p:sp>
      <p:sp>
        <p:nvSpPr>
          <p:cNvPr id="6" name="Rounded Rectangle 5"/>
          <p:cNvSpPr/>
          <p:nvPr userDrawn="1"/>
        </p:nvSpPr>
        <p:spPr>
          <a:xfrm>
            <a:off x="4368800" y="1634490"/>
            <a:ext cx="3048000" cy="685800"/>
          </a:xfrm>
          <a:prstGeom prst="roundRect">
            <a:avLst/>
          </a:prstGeom>
          <a:solidFill>
            <a:srgbClr val="C7D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4D4F53"/>
                </a:solidFill>
                <a:cs typeface="Arial" pitchFamily="34" charset="0"/>
              </a:rPr>
              <a:t>RGB - 199.210.138</a:t>
            </a:r>
          </a:p>
        </p:txBody>
      </p:sp>
      <p:sp>
        <p:nvSpPr>
          <p:cNvPr id="7" name="Rounded Rectangle 6"/>
          <p:cNvSpPr/>
          <p:nvPr userDrawn="1"/>
        </p:nvSpPr>
        <p:spPr>
          <a:xfrm>
            <a:off x="4368800" y="2493645"/>
            <a:ext cx="3048000" cy="685800"/>
          </a:xfrm>
          <a:prstGeom prst="roundRect">
            <a:avLst/>
          </a:prstGeom>
          <a:solidFill>
            <a:srgbClr val="0066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prstClr val="white"/>
                </a:solidFill>
                <a:cs typeface="Arial" pitchFamily="34" charset="0"/>
              </a:rPr>
              <a:t>RGB – 0.102.161</a:t>
            </a:r>
          </a:p>
        </p:txBody>
      </p:sp>
      <p:sp>
        <p:nvSpPr>
          <p:cNvPr id="8" name="Rounded Rectangle 7"/>
          <p:cNvSpPr/>
          <p:nvPr userDrawn="1"/>
        </p:nvSpPr>
        <p:spPr>
          <a:xfrm>
            <a:off x="4368800" y="3352800"/>
            <a:ext cx="3048000" cy="685800"/>
          </a:xfrm>
          <a:prstGeom prst="roundRect">
            <a:avLst/>
          </a:prstGeom>
          <a:solidFill>
            <a:srgbClr val="4D4F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prstClr val="white"/>
                </a:solidFill>
                <a:cs typeface="Arial" pitchFamily="34" charset="0"/>
              </a:rPr>
              <a:t>RGB - 77.79.83</a:t>
            </a:r>
          </a:p>
        </p:txBody>
      </p:sp>
      <p:sp>
        <p:nvSpPr>
          <p:cNvPr id="9" name="Rounded Rectangle 8"/>
          <p:cNvSpPr/>
          <p:nvPr userDrawn="1"/>
        </p:nvSpPr>
        <p:spPr>
          <a:xfrm>
            <a:off x="1040191" y="3320143"/>
            <a:ext cx="3048000" cy="685800"/>
          </a:xfrm>
          <a:prstGeom prst="roundRect">
            <a:avLst/>
          </a:prstGeom>
          <a:solidFill>
            <a:srgbClr val="830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prstClr val="white"/>
                </a:solidFill>
                <a:cs typeface="Arial" pitchFamily="34" charset="0"/>
              </a:rPr>
              <a:t>RGB - 131.0.81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98223" y="5029200"/>
            <a:ext cx="33986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rgbClr val="4D4F53"/>
                </a:solidFill>
                <a:cs typeface="Arial" pitchFamily="34" charset="0"/>
              </a:rPr>
              <a:t>Guidelines available at </a:t>
            </a:r>
          </a:p>
          <a:p>
            <a:endParaRPr lang="en-US" sz="1400">
              <a:solidFill>
                <a:srgbClr val="4D4F53"/>
              </a:solidFill>
              <a:cs typeface="Arial" pitchFamily="34" charset="0"/>
            </a:endParaRPr>
          </a:p>
          <a:p>
            <a:r>
              <a:rPr lang="en-US" sz="1400">
                <a:solidFill>
                  <a:srgbClr val="4D4F53"/>
                </a:solidFill>
                <a:cs typeface="Arial" pitchFamily="34" charset="0"/>
              </a:rPr>
              <a:t>PeopleHub &gt; Microsites &gt;Marketing Hub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62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176213" indent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85" y="1371605"/>
            <a:ext cx="10972800" cy="4525963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spcBef>
                <a:spcPts val="840"/>
              </a:spcBef>
              <a:defRPr sz="1800"/>
            </a:lvl1pPr>
            <a:lvl2pPr>
              <a:lnSpc>
                <a:spcPct val="120000"/>
              </a:lnSpc>
              <a:spcBef>
                <a:spcPts val="840"/>
              </a:spcBef>
              <a:defRPr sz="1800"/>
            </a:lvl2pPr>
            <a:lvl3pPr>
              <a:lnSpc>
                <a:spcPct val="120000"/>
              </a:lnSpc>
              <a:spcBef>
                <a:spcPts val="840"/>
              </a:spcBef>
              <a:defRPr sz="1800"/>
            </a:lvl3pPr>
            <a:lvl4pPr>
              <a:lnSpc>
                <a:spcPct val="120000"/>
              </a:lnSpc>
              <a:spcBef>
                <a:spcPts val="840"/>
              </a:spcBef>
              <a:defRPr sz="1800"/>
            </a:lvl4pPr>
            <a:lvl5pPr>
              <a:lnSpc>
                <a:spcPct val="120000"/>
              </a:lnSpc>
              <a:spcBef>
                <a:spcPts val="84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41668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22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E39D59-1E4E-3C37-8845-776C134176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8251"/>
            <a:ext cx="12192000" cy="539749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65FAE6A0-A4EE-738D-B5B1-5341427FA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300" y="198438"/>
            <a:ext cx="11595100" cy="70326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8F558C99-E917-1EF6-6F85-FE6BFF5FBC7D}"/>
              </a:ext>
            </a:extLst>
          </p:cNvPr>
          <p:cNvSpPr txBox="1">
            <a:spLocks/>
          </p:cNvSpPr>
          <p:nvPr userDrawn="1"/>
        </p:nvSpPr>
        <p:spPr>
          <a:xfrm>
            <a:off x="9579937" y="6497493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F439014-E629-42E3-A58B-61A0F1C8CFFE}" type="slidenum">
              <a:rPr lang="en-US" sz="1200" b="1" smtClean="0">
                <a:solidFill>
                  <a:schemeClr val="accent3"/>
                </a:solidFill>
                <a:latin typeface="Frutiger 45 Light" pitchFamily="2" charset="0"/>
                <a:cs typeface="Calibri" panose="020F0502020204030204" pitchFamily="34" charset="0"/>
              </a:rPr>
              <a:pPr algn="ctr"/>
              <a:t>‹#›</a:t>
            </a:fld>
            <a:endParaRPr lang="en-US" sz="1200" b="1" dirty="0">
              <a:solidFill>
                <a:schemeClr val="accent3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747E6-F344-52A8-C304-E630E2DECE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22496" y="6319838"/>
            <a:ext cx="1569504" cy="53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405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-30480"/>
            <a:ext cx="12192000" cy="69189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6437942" y="6467768"/>
            <a:ext cx="5418278" cy="3242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871724"/>
            <a:r>
              <a:rPr lang="en-US" sz="1507" b="1">
                <a:solidFill>
                  <a:prstClr val="white"/>
                </a:solidFill>
                <a:latin typeface="Calibri Light" panose="020F0302020204030204" pitchFamily="34" charset="0"/>
                <a:ea typeface="Aller" charset="0"/>
                <a:cs typeface="Aller" charset="0"/>
              </a:rPr>
              <a:t>Agile    |    Digital    |    Enterprise Applications   |    Managed Servic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09600" y="283308"/>
            <a:ext cx="3265114" cy="1012097"/>
            <a:chOff x="2330450" y="-4186361"/>
            <a:chExt cx="8245475" cy="2555875"/>
          </a:xfrm>
        </p:grpSpPr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594225" y="-3840286"/>
              <a:ext cx="4986338" cy="1023938"/>
            </a:xfrm>
            <a:custGeom>
              <a:avLst/>
              <a:gdLst>
                <a:gd name="T0" fmla="*/ 1038 w 1328"/>
                <a:gd name="T1" fmla="*/ 188 h 272"/>
                <a:gd name="T2" fmla="*/ 1125 w 1328"/>
                <a:gd name="T3" fmla="*/ 235 h 272"/>
                <a:gd name="T4" fmla="*/ 1136 w 1328"/>
                <a:gd name="T5" fmla="*/ 259 h 272"/>
                <a:gd name="T6" fmla="*/ 1006 w 1328"/>
                <a:gd name="T7" fmla="*/ 164 h 272"/>
                <a:gd name="T8" fmla="*/ 1149 w 1328"/>
                <a:gd name="T9" fmla="*/ 175 h 272"/>
                <a:gd name="T10" fmla="*/ 1038 w 1328"/>
                <a:gd name="T11" fmla="*/ 159 h 272"/>
                <a:gd name="T12" fmla="*/ 1119 w 1328"/>
                <a:gd name="T13" fmla="*/ 156 h 272"/>
                <a:gd name="T14" fmla="*/ 1216 w 1328"/>
                <a:gd name="T15" fmla="*/ 188 h 272"/>
                <a:gd name="T16" fmla="*/ 1303 w 1328"/>
                <a:gd name="T17" fmla="*/ 235 h 272"/>
                <a:gd name="T18" fmla="*/ 1314 w 1328"/>
                <a:gd name="T19" fmla="*/ 259 h 272"/>
                <a:gd name="T20" fmla="*/ 1184 w 1328"/>
                <a:gd name="T21" fmla="*/ 164 h 272"/>
                <a:gd name="T22" fmla="*/ 1328 w 1328"/>
                <a:gd name="T23" fmla="*/ 175 h 272"/>
                <a:gd name="T24" fmla="*/ 1216 w 1328"/>
                <a:gd name="T25" fmla="*/ 159 h 272"/>
                <a:gd name="T26" fmla="*/ 1297 w 1328"/>
                <a:gd name="T27" fmla="*/ 156 h 272"/>
                <a:gd name="T28" fmla="*/ 194 w 1328"/>
                <a:gd name="T29" fmla="*/ 9 h 272"/>
                <a:gd name="T30" fmla="*/ 15 w 1328"/>
                <a:gd name="T31" fmla="*/ 0 h 272"/>
                <a:gd name="T32" fmla="*/ 15 w 1328"/>
                <a:gd name="T33" fmla="*/ 272 h 272"/>
                <a:gd name="T34" fmla="*/ 97 w 1328"/>
                <a:gd name="T35" fmla="*/ 217 h 272"/>
                <a:gd name="T36" fmla="*/ 194 w 1328"/>
                <a:gd name="T37" fmla="*/ 73 h 272"/>
                <a:gd name="T38" fmla="*/ 225 w 1328"/>
                <a:gd name="T39" fmla="*/ 257 h 272"/>
                <a:gd name="T40" fmla="*/ 297 w 1328"/>
                <a:gd name="T41" fmla="*/ 7 h 272"/>
                <a:gd name="T42" fmla="*/ 316 w 1328"/>
                <a:gd name="T43" fmla="*/ 26 h 272"/>
                <a:gd name="T44" fmla="*/ 297 w 1328"/>
                <a:gd name="T45" fmla="*/ 84 h 272"/>
                <a:gd name="T46" fmla="*/ 297 w 1328"/>
                <a:gd name="T47" fmla="*/ 272 h 272"/>
                <a:gd name="T48" fmla="*/ 512 w 1328"/>
                <a:gd name="T49" fmla="*/ 150 h 272"/>
                <a:gd name="T50" fmla="*/ 368 w 1328"/>
                <a:gd name="T51" fmla="*/ 86 h 272"/>
                <a:gd name="T52" fmla="*/ 370 w 1328"/>
                <a:gd name="T53" fmla="*/ 133 h 272"/>
                <a:gd name="T54" fmla="*/ 402 w 1328"/>
                <a:gd name="T55" fmla="*/ 256 h 272"/>
                <a:gd name="T56" fmla="*/ 480 w 1328"/>
                <a:gd name="T57" fmla="*/ 153 h 272"/>
                <a:gd name="T58" fmla="*/ 512 w 1328"/>
                <a:gd name="T59" fmla="*/ 256 h 272"/>
                <a:gd name="T60" fmla="*/ 625 w 1328"/>
                <a:gd name="T61" fmla="*/ 272 h 272"/>
                <a:gd name="T62" fmla="*/ 622 w 1328"/>
                <a:gd name="T63" fmla="*/ 84 h 272"/>
                <a:gd name="T64" fmla="*/ 682 w 1328"/>
                <a:gd name="T65" fmla="*/ 6 h 272"/>
                <a:gd name="T66" fmla="*/ 714 w 1328"/>
                <a:gd name="T67" fmla="*/ 258 h 272"/>
                <a:gd name="T68" fmla="*/ 628 w 1328"/>
                <a:gd name="T69" fmla="*/ 111 h 272"/>
                <a:gd name="T70" fmla="*/ 629 w 1328"/>
                <a:gd name="T71" fmla="*/ 244 h 272"/>
                <a:gd name="T72" fmla="*/ 837 w 1328"/>
                <a:gd name="T73" fmla="*/ 270 h 272"/>
                <a:gd name="T74" fmla="*/ 829 w 1328"/>
                <a:gd name="T75" fmla="*/ 241 h 272"/>
                <a:gd name="T76" fmla="*/ 837 w 1328"/>
                <a:gd name="T77" fmla="*/ 113 h 272"/>
                <a:gd name="T78" fmla="*/ 794 w 1328"/>
                <a:gd name="T79" fmla="*/ 86 h 272"/>
                <a:gd name="T80" fmla="*/ 762 w 1328"/>
                <a:gd name="T81" fmla="*/ 48 h 272"/>
                <a:gd name="T82" fmla="*/ 734 w 1328"/>
                <a:gd name="T83" fmla="*/ 100 h 272"/>
                <a:gd name="T84" fmla="*/ 762 w 1328"/>
                <a:gd name="T85" fmla="*/ 191 h 272"/>
                <a:gd name="T86" fmla="*/ 887 w 1328"/>
                <a:gd name="T87" fmla="*/ 86 h 272"/>
                <a:gd name="T88" fmla="*/ 889 w 1328"/>
                <a:gd name="T89" fmla="*/ 133 h 272"/>
                <a:gd name="T90" fmla="*/ 921 w 1328"/>
                <a:gd name="T91" fmla="*/ 256 h 272"/>
                <a:gd name="T92" fmla="*/ 961 w 1328"/>
                <a:gd name="T93" fmla="*/ 114 h 272"/>
                <a:gd name="T94" fmla="*/ 999 w 1328"/>
                <a:gd name="T95" fmla="*/ 101 h 272"/>
                <a:gd name="T96" fmla="*/ 887 w 1328"/>
                <a:gd name="T97" fmla="*/ 8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8" h="272">
                  <a:moveTo>
                    <a:pt x="1149" y="175"/>
                  </a:moveTo>
                  <a:cubicBezTo>
                    <a:pt x="1149" y="182"/>
                    <a:pt x="1145" y="188"/>
                    <a:pt x="1137" y="188"/>
                  </a:cubicBezTo>
                  <a:cubicBezTo>
                    <a:pt x="1038" y="188"/>
                    <a:pt x="1038" y="188"/>
                    <a:pt x="1038" y="188"/>
                  </a:cubicBezTo>
                  <a:cubicBezTo>
                    <a:pt x="1038" y="193"/>
                    <a:pt x="1038" y="193"/>
                    <a:pt x="1038" y="193"/>
                  </a:cubicBezTo>
                  <a:cubicBezTo>
                    <a:pt x="1038" y="222"/>
                    <a:pt x="1050" y="245"/>
                    <a:pt x="1079" y="245"/>
                  </a:cubicBezTo>
                  <a:cubicBezTo>
                    <a:pt x="1097" y="245"/>
                    <a:pt x="1109" y="242"/>
                    <a:pt x="1125" y="235"/>
                  </a:cubicBezTo>
                  <a:cubicBezTo>
                    <a:pt x="1126" y="234"/>
                    <a:pt x="1128" y="233"/>
                    <a:pt x="1130" y="233"/>
                  </a:cubicBezTo>
                  <a:cubicBezTo>
                    <a:pt x="1138" y="233"/>
                    <a:pt x="1143" y="240"/>
                    <a:pt x="1143" y="247"/>
                  </a:cubicBezTo>
                  <a:cubicBezTo>
                    <a:pt x="1143" y="253"/>
                    <a:pt x="1140" y="256"/>
                    <a:pt x="1136" y="259"/>
                  </a:cubicBezTo>
                  <a:cubicBezTo>
                    <a:pt x="1120" y="269"/>
                    <a:pt x="1096" y="272"/>
                    <a:pt x="1078" y="272"/>
                  </a:cubicBezTo>
                  <a:cubicBezTo>
                    <a:pt x="1030" y="272"/>
                    <a:pt x="1006" y="238"/>
                    <a:pt x="1006" y="192"/>
                  </a:cubicBezTo>
                  <a:cubicBezTo>
                    <a:pt x="1006" y="164"/>
                    <a:pt x="1006" y="164"/>
                    <a:pt x="1006" y="164"/>
                  </a:cubicBezTo>
                  <a:cubicBezTo>
                    <a:pt x="1006" y="118"/>
                    <a:pt x="1030" y="84"/>
                    <a:pt x="1078" y="84"/>
                  </a:cubicBezTo>
                  <a:cubicBezTo>
                    <a:pt x="1127" y="84"/>
                    <a:pt x="1149" y="114"/>
                    <a:pt x="1149" y="160"/>
                  </a:cubicBezTo>
                  <a:lnTo>
                    <a:pt x="1149" y="175"/>
                  </a:lnTo>
                  <a:close/>
                  <a:moveTo>
                    <a:pt x="1119" y="156"/>
                  </a:moveTo>
                  <a:cubicBezTo>
                    <a:pt x="1119" y="129"/>
                    <a:pt x="1109" y="110"/>
                    <a:pt x="1079" y="110"/>
                  </a:cubicBezTo>
                  <a:cubicBezTo>
                    <a:pt x="1051" y="110"/>
                    <a:pt x="1038" y="132"/>
                    <a:pt x="1038" y="159"/>
                  </a:cubicBezTo>
                  <a:cubicBezTo>
                    <a:pt x="1038" y="162"/>
                    <a:pt x="1038" y="162"/>
                    <a:pt x="1038" y="162"/>
                  </a:cubicBezTo>
                  <a:cubicBezTo>
                    <a:pt x="1119" y="162"/>
                    <a:pt x="1119" y="162"/>
                    <a:pt x="1119" y="162"/>
                  </a:cubicBezTo>
                  <a:lnTo>
                    <a:pt x="1119" y="156"/>
                  </a:lnTo>
                  <a:close/>
                  <a:moveTo>
                    <a:pt x="1328" y="175"/>
                  </a:moveTo>
                  <a:cubicBezTo>
                    <a:pt x="1328" y="182"/>
                    <a:pt x="1323" y="188"/>
                    <a:pt x="1316" y="188"/>
                  </a:cubicBezTo>
                  <a:cubicBezTo>
                    <a:pt x="1216" y="188"/>
                    <a:pt x="1216" y="188"/>
                    <a:pt x="1216" y="188"/>
                  </a:cubicBezTo>
                  <a:cubicBezTo>
                    <a:pt x="1216" y="193"/>
                    <a:pt x="1216" y="193"/>
                    <a:pt x="1216" y="193"/>
                  </a:cubicBezTo>
                  <a:cubicBezTo>
                    <a:pt x="1216" y="222"/>
                    <a:pt x="1228" y="245"/>
                    <a:pt x="1257" y="245"/>
                  </a:cubicBezTo>
                  <a:cubicBezTo>
                    <a:pt x="1275" y="245"/>
                    <a:pt x="1287" y="242"/>
                    <a:pt x="1303" y="235"/>
                  </a:cubicBezTo>
                  <a:cubicBezTo>
                    <a:pt x="1305" y="234"/>
                    <a:pt x="1306" y="233"/>
                    <a:pt x="1308" y="233"/>
                  </a:cubicBezTo>
                  <a:cubicBezTo>
                    <a:pt x="1316" y="233"/>
                    <a:pt x="1321" y="240"/>
                    <a:pt x="1321" y="247"/>
                  </a:cubicBezTo>
                  <a:cubicBezTo>
                    <a:pt x="1321" y="253"/>
                    <a:pt x="1318" y="256"/>
                    <a:pt x="1314" y="259"/>
                  </a:cubicBezTo>
                  <a:cubicBezTo>
                    <a:pt x="1298" y="269"/>
                    <a:pt x="1274" y="272"/>
                    <a:pt x="1256" y="272"/>
                  </a:cubicBezTo>
                  <a:cubicBezTo>
                    <a:pt x="1208" y="272"/>
                    <a:pt x="1184" y="238"/>
                    <a:pt x="1184" y="192"/>
                  </a:cubicBezTo>
                  <a:cubicBezTo>
                    <a:pt x="1184" y="164"/>
                    <a:pt x="1184" y="164"/>
                    <a:pt x="1184" y="164"/>
                  </a:cubicBezTo>
                  <a:cubicBezTo>
                    <a:pt x="1184" y="118"/>
                    <a:pt x="1209" y="84"/>
                    <a:pt x="1256" y="84"/>
                  </a:cubicBezTo>
                  <a:cubicBezTo>
                    <a:pt x="1305" y="84"/>
                    <a:pt x="1328" y="114"/>
                    <a:pt x="1328" y="160"/>
                  </a:cubicBezTo>
                  <a:lnTo>
                    <a:pt x="1328" y="175"/>
                  </a:lnTo>
                  <a:close/>
                  <a:moveTo>
                    <a:pt x="1297" y="156"/>
                  </a:moveTo>
                  <a:cubicBezTo>
                    <a:pt x="1297" y="129"/>
                    <a:pt x="1287" y="110"/>
                    <a:pt x="1257" y="110"/>
                  </a:cubicBezTo>
                  <a:cubicBezTo>
                    <a:pt x="1229" y="110"/>
                    <a:pt x="1216" y="132"/>
                    <a:pt x="1216" y="159"/>
                  </a:cubicBezTo>
                  <a:cubicBezTo>
                    <a:pt x="1216" y="162"/>
                    <a:pt x="1216" y="162"/>
                    <a:pt x="1216" y="162"/>
                  </a:cubicBezTo>
                  <a:cubicBezTo>
                    <a:pt x="1297" y="162"/>
                    <a:pt x="1297" y="162"/>
                    <a:pt x="1297" y="162"/>
                  </a:cubicBezTo>
                  <a:lnTo>
                    <a:pt x="1297" y="156"/>
                  </a:lnTo>
                  <a:close/>
                  <a:moveTo>
                    <a:pt x="225" y="15"/>
                  </a:moveTo>
                  <a:cubicBezTo>
                    <a:pt x="225" y="6"/>
                    <a:pt x="218" y="0"/>
                    <a:pt x="209" y="0"/>
                  </a:cubicBezTo>
                  <a:cubicBezTo>
                    <a:pt x="202" y="0"/>
                    <a:pt x="197" y="3"/>
                    <a:pt x="194" y="9"/>
                  </a:cubicBezTo>
                  <a:cubicBezTo>
                    <a:pt x="113" y="180"/>
                    <a:pt x="113" y="180"/>
                    <a:pt x="113" y="18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8" y="3"/>
                    <a:pt x="23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5"/>
                    <a:pt x="6" y="272"/>
                    <a:pt x="15" y="272"/>
                  </a:cubicBezTo>
                  <a:cubicBezTo>
                    <a:pt x="23" y="272"/>
                    <a:pt x="30" y="265"/>
                    <a:pt x="30" y="257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100" y="223"/>
                    <a:pt x="106" y="226"/>
                    <a:pt x="112" y="226"/>
                  </a:cubicBezTo>
                  <a:cubicBezTo>
                    <a:pt x="119" y="226"/>
                    <a:pt x="124" y="223"/>
                    <a:pt x="127" y="217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4" y="257"/>
                    <a:pt x="194" y="257"/>
                    <a:pt x="194" y="257"/>
                  </a:cubicBezTo>
                  <a:cubicBezTo>
                    <a:pt x="194" y="265"/>
                    <a:pt x="201" y="272"/>
                    <a:pt x="210" y="272"/>
                  </a:cubicBezTo>
                  <a:cubicBezTo>
                    <a:pt x="218" y="272"/>
                    <a:pt x="225" y="265"/>
                    <a:pt x="225" y="257"/>
                  </a:cubicBezTo>
                  <a:lnTo>
                    <a:pt x="225" y="15"/>
                  </a:lnTo>
                  <a:close/>
                  <a:moveTo>
                    <a:pt x="316" y="26"/>
                  </a:moveTo>
                  <a:cubicBezTo>
                    <a:pt x="316" y="15"/>
                    <a:pt x="307" y="7"/>
                    <a:pt x="297" y="7"/>
                  </a:cubicBezTo>
                  <a:cubicBezTo>
                    <a:pt x="287" y="7"/>
                    <a:pt x="278" y="16"/>
                    <a:pt x="278" y="26"/>
                  </a:cubicBezTo>
                  <a:cubicBezTo>
                    <a:pt x="278" y="36"/>
                    <a:pt x="287" y="44"/>
                    <a:pt x="297" y="44"/>
                  </a:cubicBezTo>
                  <a:cubicBezTo>
                    <a:pt x="307" y="44"/>
                    <a:pt x="316" y="36"/>
                    <a:pt x="316" y="26"/>
                  </a:cubicBezTo>
                  <a:close/>
                  <a:moveTo>
                    <a:pt x="313" y="256"/>
                  </a:moveTo>
                  <a:cubicBezTo>
                    <a:pt x="313" y="100"/>
                    <a:pt x="313" y="100"/>
                    <a:pt x="313" y="100"/>
                  </a:cubicBezTo>
                  <a:cubicBezTo>
                    <a:pt x="313" y="91"/>
                    <a:pt x="306" y="84"/>
                    <a:pt x="297" y="84"/>
                  </a:cubicBezTo>
                  <a:cubicBezTo>
                    <a:pt x="288" y="84"/>
                    <a:pt x="281" y="91"/>
                    <a:pt x="281" y="100"/>
                  </a:cubicBezTo>
                  <a:cubicBezTo>
                    <a:pt x="281" y="256"/>
                    <a:pt x="281" y="256"/>
                    <a:pt x="281" y="256"/>
                  </a:cubicBezTo>
                  <a:cubicBezTo>
                    <a:pt x="281" y="265"/>
                    <a:pt x="288" y="272"/>
                    <a:pt x="297" y="272"/>
                  </a:cubicBezTo>
                  <a:cubicBezTo>
                    <a:pt x="306" y="272"/>
                    <a:pt x="313" y="265"/>
                    <a:pt x="313" y="256"/>
                  </a:cubicBezTo>
                  <a:close/>
                  <a:moveTo>
                    <a:pt x="512" y="256"/>
                  </a:moveTo>
                  <a:cubicBezTo>
                    <a:pt x="512" y="150"/>
                    <a:pt x="512" y="150"/>
                    <a:pt x="512" y="150"/>
                  </a:cubicBezTo>
                  <a:cubicBezTo>
                    <a:pt x="512" y="110"/>
                    <a:pt x="496" y="84"/>
                    <a:pt x="452" y="84"/>
                  </a:cubicBezTo>
                  <a:cubicBezTo>
                    <a:pt x="431" y="84"/>
                    <a:pt x="410" y="89"/>
                    <a:pt x="395" y="106"/>
                  </a:cubicBezTo>
                  <a:cubicBezTo>
                    <a:pt x="391" y="94"/>
                    <a:pt x="380" y="86"/>
                    <a:pt x="368" y="86"/>
                  </a:cubicBezTo>
                  <a:cubicBezTo>
                    <a:pt x="359" y="86"/>
                    <a:pt x="353" y="90"/>
                    <a:pt x="352" y="98"/>
                  </a:cubicBezTo>
                  <a:cubicBezTo>
                    <a:pt x="352" y="105"/>
                    <a:pt x="355" y="108"/>
                    <a:pt x="362" y="112"/>
                  </a:cubicBezTo>
                  <a:cubicBezTo>
                    <a:pt x="367" y="116"/>
                    <a:pt x="370" y="123"/>
                    <a:pt x="370" y="133"/>
                  </a:cubicBezTo>
                  <a:cubicBezTo>
                    <a:pt x="370" y="256"/>
                    <a:pt x="370" y="256"/>
                    <a:pt x="370" y="256"/>
                  </a:cubicBezTo>
                  <a:cubicBezTo>
                    <a:pt x="370" y="265"/>
                    <a:pt x="377" y="272"/>
                    <a:pt x="386" y="272"/>
                  </a:cubicBezTo>
                  <a:cubicBezTo>
                    <a:pt x="395" y="272"/>
                    <a:pt x="402" y="265"/>
                    <a:pt x="402" y="256"/>
                  </a:cubicBezTo>
                  <a:cubicBezTo>
                    <a:pt x="402" y="137"/>
                    <a:pt x="402" y="137"/>
                    <a:pt x="402" y="137"/>
                  </a:cubicBezTo>
                  <a:cubicBezTo>
                    <a:pt x="411" y="121"/>
                    <a:pt x="428" y="114"/>
                    <a:pt x="446" y="114"/>
                  </a:cubicBezTo>
                  <a:cubicBezTo>
                    <a:pt x="473" y="114"/>
                    <a:pt x="480" y="129"/>
                    <a:pt x="480" y="153"/>
                  </a:cubicBezTo>
                  <a:cubicBezTo>
                    <a:pt x="480" y="256"/>
                    <a:pt x="480" y="256"/>
                    <a:pt x="480" y="256"/>
                  </a:cubicBezTo>
                  <a:cubicBezTo>
                    <a:pt x="480" y="265"/>
                    <a:pt x="487" y="272"/>
                    <a:pt x="496" y="272"/>
                  </a:cubicBezTo>
                  <a:cubicBezTo>
                    <a:pt x="505" y="272"/>
                    <a:pt x="512" y="265"/>
                    <a:pt x="512" y="256"/>
                  </a:cubicBezTo>
                  <a:close/>
                  <a:moveTo>
                    <a:pt x="699" y="272"/>
                  </a:moveTo>
                  <a:cubicBezTo>
                    <a:pt x="688" y="272"/>
                    <a:pt x="677" y="265"/>
                    <a:pt x="672" y="256"/>
                  </a:cubicBezTo>
                  <a:cubicBezTo>
                    <a:pt x="659" y="266"/>
                    <a:pt x="642" y="272"/>
                    <a:pt x="625" y="272"/>
                  </a:cubicBezTo>
                  <a:cubicBezTo>
                    <a:pt x="576" y="272"/>
                    <a:pt x="557" y="244"/>
                    <a:pt x="557" y="198"/>
                  </a:cubicBezTo>
                  <a:cubicBezTo>
                    <a:pt x="557" y="165"/>
                    <a:pt x="557" y="165"/>
                    <a:pt x="557" y="165"/>
                  </a:cubicBezTo>
                  <a:cubicBezTo>
                    <a:pt x="557" y="121"/>
                    <a:pt x="572" y="84"/>
                    <a:pt x="622" y="84"/>
                  </a:cubicBezTo>
                  <a:cubicBezTo>
                    <a:pt x="638" y="84"/>
                    <a:pt x="654" y="89"/>
                    <a:pt x="666" y="98"/>
                  </a:cubicBezTo>
                  <a:cubicBezTo>
                    <a:pt x="666" y="22"/>
                    <a:pt x="666" y="22"/>
                    <a:pt x="666" y="22"/>
                  </a:cubicBezTo>
                  <a:cubicBezTo>
                    <a:pt x="666" y="13"/>
                    <a:pt x="673" y="6"/>
                    <a:pt x="682" y="6"/>
                  </a:cubicBezTo>
                  <a:cubicBezTo>
                    <a:pt x="691" y="6"/>
                    <a:pt x="698" y="13"/>
                    <a:pt x="698" y="22"/>
                  </a:cubicBezTo>
                  <a:cubicBezTo>
                    <a:pt x="698" y="225"/>
                    <a:pt x="698" y="225"/>
                    <a:pt x="698" y="225"/>
                  </a:cubicBezTo>
                  <a:cubicBezTo>
                    <a:pt x="698" y="254"/>
                    <a:pt x="714" y="242"/>
                    <a:pt x="714" y="258"/>
                  </a:cubicBezTo>
                  <a:cubicBezTo>
                    <a:pt x="714" y="268"/>
                    <a:pt x="707" y="272"/>
                    <a:pt x="699" y="272"/>
                  </a:cubicBezTo>
                  <a:close/>
                  <a:moveTo>
                    <a:pt x="666" y="128"/>
                  </a:moveTo>
                  <a:cubicBezTo>
                    <a:pt x="657" y="118"/>
                    <a:pt x="642" y="111"/>
                    <a:pt x="628" y="111"/>
                  </a:cubicBezTo>
                  <a:cubicBezTo>
                    <a:pt x="598" y="111"/>
                    <a:pt x="589" y="134"/>
                    <a:pt x="589" y="161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28"/>
                    <a:pt x="599" y="244"/>
                    <a:pt x="629" y="244"/>
                  </a:cubicBezTo>
                  <a:cubicBezTo>
                    <a:pt x="643" y="244"/>
                    <a:pt x="656" y="238"/>
                    <a:pt x="666" y="229"/>
                  </a:cubicBezTo>
                  <a:lnTo>
                    <a:pt x="666" y="128"/>
                  </a:lnTo>
                  <a:close/>
                  <a:moveTo>
                    <a:pt x="837" y="270"/>
                  </a:moveTo>
                  <a:cubicBezTo>
                    <a:pt x="845" y="270"/>
                    <a:pt x="851" y="263"/>
                    <a:pt x="851" y="255"/>
                  </a:cubicBezTo>
                  <a:cubicBezTo>
                    <a:pt x="851" y="247"/>
                    <a:pt x="845" y="241"/>
                    <a:pt x="837" y="241"/>
                  </a:cubicBezTo>
                  <a:cubicBezTo>
                    <a:pt x="829" y="241"/>
                    <a:pt x="829" y="241"/>
                    <a:pt x="829" y="241"/>
                  </a:cubicBezTo>
                  <a:cubicBezTo>
                    <a:pt x="796" y="241"/>
                    <a:pt x="794" y="219"/>
                    <a:pt x="794" y="191"/>
                  </a:cubicBezTo>
                  <a:cubicBezTo>
                    <a:pt x="794" y="113"/>
                    <a:pt x="794" y="113"/>
                    <a:pt x="794" y="113"/>
                  </a:cubicBezTo>
                  <a:cubicBezTo>
                    <a:pt x="837" y="113"/>
                    <a:pt x="837" y="113"/>
                    <a:pt x="837" y="113"/>
                  </a:cubicBezTo>
                  <a:cubicBezTo>
                    <a:pt x="844" y="113"/>
                    <a:pt x="850" y="107"/>
                    <a:pt x="850" y="100"/>
                  </a:cubicBezTo>
                  <a:cubicBezTo>
                    <a:pt x="850" y="92"/>
                    <a:pt x="844" y="86"/>
                    <a:pt x="837" y="86"/>
                  </a:cubicBezTo>
                  <a:cubicBezTo>
                    <a:pt x="794" y="86"/>
                    <a:pt x="794" y="86"/>
                    <a:pt x="794" y="86"/>
                  </a:cubicBezTo>
                  <a:cubicBezTo>
                    <a:pt x="794" y="48"/>
                    <a:pt x="794" y="48"/>
                    <a:pt x="794" y="48"/>
                  </a:cubicBezTo>
                  <a:cubicBezTo>
                    <a:pt x="794" y="40"/>
                    <a:pt x="787" y="32"/>
                    <a:pt x="778" y="32"/>
                  </a:cubicBezTo>
                  <a:cubicBezTo>
                    <a:pt x="770" y="32"/>
                    <a:pt x="762" y="40"/>
                    <a:pt x="762" y="48"/>
                  </a:cubicBezTo>
                  <a:cubicBezTo>
                    <a:pt x="762" y="86"/>
                    <a:pt x="762" y="86"/>
                    <a:pt x="762" y="86"/>
                  </a:cubicBezTo>
                  <a:cubicBezTo>
                    <a:pt x="747" y="86"/>
                    <a:pt x="747" y="86"/>
                    <a:pt x="747" y="86"/>
                  </a:cubicBezTo>
                  <a:cubicBezTo>
                    <a:pt x="740" y="86"/>
                    <a:pt x="734" y="92"/>
                    <a:pt x="734" y="100"/>
                  </a:cubicBezTo>
                  <a:cubicBezTo>
                    <a:pt x="734" y="107"/>
                    <a:pt x="740" y="113"/>
                    <a:pt x="747" y="113"/>
                  </a:cubicBezTo>
                  <a:cubicBezTo>
                    <a:pt x="762" y="113"/>
                    <a:pt x="762" y="113"/>
                    <a:pt x="762" y="113"/>
                  </a:cubicBezTo>
                  <a:cubicBezTo>
                    <a:pt x="762" y="191"/>
                    <a:pt x="762" y="191"/>
                    <a:pt x="762" y="191"/>
                  </a:cubicBezTo>
                  <a:cubicBezTo>
                    <a:pt x="762" y="237"/>
                    <a:pt x="774" y="270"/>
                    <a:pt x="826" y="270"/>
                  </a:cubicBezTo>
                  <a:lnTo>
                    <a:pt x="837" y="270"/>
                  </a:lnTo>
                  <a:close/>
                  <a:moveTo>
                    <a:pt x="887" y="86"/>
                  </a:moveTo>
                  <a:cubicBezTo>
                    <a:pt x="878" y="86"/>
                    <a:pt x="872" y="90"/>
                    <a:pt x="871" y="98"/>
                  </a:cubicBezTo>
                  <a:cubicBezTo>
                    <a:pt x="871" y="105"/>
                    <a:pt x="874" y="108"/>
                    <a:pt x="881" y="112"/>
                  </a:cubicBezTo>
                  <a:cubicBezTo>
                    <a:pt x="886" y="116"/>
                    <a:pt x="889" y="123"/>
                    <a:pt x="889" y="133"/>
                  </a:cubicBezTo>
                  <a:cubicBezTo>
                    <a:pt x="889" y="256"/>
                    <a:pt x="889" y="256"/>
                    <a:pt x="889" y="256"/>
                  </a:cubicBezTo>
                  <a:cubicBezTo>
                    <a:pt x="889" y="265"/>
                    <a:pt x="896" y="272"/>
                    <a:pt x="905" y="272"/>
                  </a:cubicBezTo>
                  <a:cubicBezTo>
                    <a:pt x="914" y="272"/>
                    <a:pt x="921" y="265"/>
                    <a:pt x="921" y="256"/>
                  </a:cubicBezTo>
                  <a:cubicBezTo>
                    <a:pt x="921" y="220"/>
                    <a:pt x="921" y="184"/>
                    <a:pt x="921" y="147"/>
                  </a:cubicBezTo>
                  <a:cubicBezTo>
                    <a:pt x="921" y="146"/>
                    <a:pt x="923" y="139"/>
                    <a:pt x="924" y="138"/>
                  </a:cubicBezTo>
                  <a:cubicBezTo>
                    <a:pt x="930" y="121"/>
                    <a:pt x="944" y="114"/>
                    <a:pt x="961" y="114"/>
                  </a:cubicBezTo>
                  <a:cubicBezTo>
                    <a:pt x="968" y="114"/>
                    <a:pt x="973" y="115"/>
                    <a:pt x="979" y="117"/>
                  </a:cubicBezTo>
                  <a:cubicBezTo>
                    <a:pt x="981" y="117"/>
                    <a:pt x="982" y="117"/>
                    <a:pt x="984" y="117"/>
                  </a:cubicBezTo>
                  <a:cubicBezTo>
                    <a:pt x="992" y="117"/>
                    <a:pt x="999" y="109"/>
                    <a:pt x="999" y="101"/>
                  </a:cubicBezTo>
                  <a:cubicBezTo>
                    <a:pt x="999" y="85"/>
                    <a:pt x="978" y="84"/>
                    <a:pt x="967" y="84"/>
                  </a:cubicBezTo>
                  <a:cubicBezTo>
                    <a:pt x="946" y="84"/>
                    <a:pt x="929" y="92"/>
                    <a:pt x="916" y="109"/>
                  </a:cubicBezTo>
                  <a:cubicBezTo>
                    <a:pt x="912" y="96"/>
                    <a:pt x="901" y="86"/>
                    <a:pt x="887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871724"/>
              <a:endParaRPr lang="en-US" sz="1453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2330450" y="-4186361"/>
              <a:ext cx="1754188" cy="1712913"/>
            </a:xfrm>
            <a:custGeom>
              <a:avLst/>
              <a:gdLst>
                <a:gd name="T0" fmla="*/ 227 w 467"/>
                <a:gd name="T1" fmla="*/ 162 h 455"/>
                <a:gd name="T2" fmla="*/ 112 w 467"/>
                <a:gd name="T3" fmla="*/ 33 h 455"/>
                <a:gd name="T4" fmla="*/ 139 w 467"/>
                <a:gd name="T5" fmla="*/ 23 h 455"/>
                <a:gd name="T6" fmla="*/ 368 w 467"/>
                <a:gd name="T7" fmla="*/ 40 h 455"/>
                <a:gd name="T8" fmla="*/ 229 w 467"/>
                <a:gd name="T9" fmla="*/ 335 h 455"/>
                <a:gd name="T10" fmla="*/ 360 w 467"/>
                <a:gd name="T11" fmla="*/ 265 h 455"/>
                <a:gd name="T12" fmla="*/ 235 w 467"/>
                <a:gd name="T13" fmla="*/ 382 h 455"/>
                <a:gd name="T14" fmla="*/ 248 w 467"/>
                <a:gd name="T15" fmla="*/ 397 h 455"/>
                <a:gd name="T16" fmla="*/ 346 w 467"/>
                <a:gd name="T17" fmla="*/ 361 h 455"/>
                <a:gd name="T18" fmla="*/ 452 w 467"/>
                <a:gd name="T19" fmla="*/ 201 h 455"/>
                <a:gd name="T20" fmla="*/ 324 w 467"/>
                <a:gd name="T21" fmla="*/ 433 h 455"/>
                <a:gd name="T22" fmla="*/ 254 w 467"/>
                <a:gd name="T23" fmla="*/ 1 h 455"/>
                <a:gd name="T24" fmla="*/ 254 w 467"/>
                <a:gd name="T25" fmla="*/ 1 h 455"/>
                <a:gd name="T26" fmla="*/ 334 w 467"/>
                <a:gd name="T27" fmla="*/ 22 h 455"/>
                <a:gd name="T28" fmla="*/ 227 w 467"/>
                <a:gd name="T29" fmla="*/ 119 h 455"/>
                <a:gd name="T30" fmla="*/ 265 w 467"/>
                <a:gd name="T31" fmla="*/ 87 h 455"/>
                <a:gd name="T32" fmla="*/ 355 w 467"/>
                <a:gd name="T33" fmla="*/ 176 h 455"/>
                <a:gd name="T34" fmla="*/ 355 w 467"/>
                <a:gd name="T35" fmla="*/ 176 h 455"/>
                <a:gd name="T36" fmla="*/ 333 w 467"/>
                <a:gd name="T37" fmla="*/ 61 h 455"/>
                <a:gd name="T38" fmla="*/ 340 w 467"/>
                <a:gd name="T39" fmla="*/ 120 h 455"/>
                <a:gd name="T40" fmla="*/ 315 w 467"/>
                <a:gd name="T41" fmla="*/ 214 h 455"/>
                <a:gd name="T42" fmla="*/ 329 w 467"/>
                <a:gd name="T43" fmla="*/ 227 h 455"/>
                <a:gd name="T44" fmla="*/ 319 w 467"/>
                <a:gd name="T45" fmla="*/ 135 h 455"/>
                <a:gd name="T46" fmla="*/ 324 w 467"/>
                <a:gd name="T47" fmla="*/ 153 h 455"/>
                <a:gd name="T48" fmla="*/ 332 w 467"/>
                <a:gd name="T49" fmla="*/ 128 h 455"/>
                <a:gd name="T50" fmla="*/ 173 w 467"/>
                <a:gd name="T51" fmla="*/ 418 h 455"/>
                <a:gd name="T52" fmla="*/ 201 w 467"/>
                <a:gd name="T53" fmla="*/ 401 h 455"/>
                <a:gd name="T54" fmla="*/ 186 w 467"/>
                <a:gd name="T55" fmla="*/ 371 h 455"/>
                <a:gd name="T56" fmla="*/ 309 w 467"/>
                <a:gd name="T57" fmla="*/ 393 h 455"/>
                <a:gd name="T58" fmla="*/ 315 w 467"/>
                <a:gd name="T59" fmla="*/ 404 h 455"/>
                <a:gd name="T60" fmla="*/ 238 w 467"/>
                <a:gd name="T61" fmla="*/ 430 h 455"/>
                <a:gd name="T62" fmla="*/ 267 w 467"/>
                <a:gd name="T63" fmla="*/ 425 h 455"/>
                <a:gd name="T64" fmla="*/ 132 w 467"/>
                <a:gd name="T65" fmla="*/ 429 h 455"/>
                <a:gd name="T66" fmla="*/ 149 w 467"/>
                <a:gd name="T67" fmla="*/ 419 h 455"/>
                <a:gd name="T68" fmla="*/ 197 w 467"/>
                <a:gd name="T69" fmla="*/ 455 h 455"/>
                <a:gd name="T70" fmla="*/ 257 w 467"/>
                <a:gd name="T71" fmla="*/ 144 h 455"/>
                <a:gd name="T72" fmla="*/ 248 w 467"/>
                <a:gd name="T73" fmla="*/ 161 h 455"/>
                <a:gd name="T74" fmla="*/ 285 w 467"/>
                <a:gd name="T75" fmla="*/ 441 h 455"/>
                <a:gd name="T76" fmla="*/ 308 w 467"/>
                <a:gd name="T77" fmla="*/ 441 h 455"/>
                <a:gd name="T78" fmla="*/ 110 w 467"/>
                <a:gd name="T79" fmla="*/ 423 h 455"/>
                <a:gd name="T80" fmla="*/ 163 w 467"/>
                <a:gd name="T81" fmla="*/ 342 h 455"/>
                <a:gd name="T82" fmla="*/ 296 w 467"/>
                <a:gd name="T83" fmla="*/ 237 h 455"/>
                <a:gd name="T84" fmla="*/ 93 w 467"/>
                <a:gd name="T85" fmla="*/ 394 h 455"/>
                <a:gd name="T86" fmla="*/ 298 w 467"/>
                <a:gd name="T87" fmla="*/ 160 h 455"/>
                <a:gd name="T88" fmla="*/ 80 w 467"/>
                <a:gd name="T89" fmla="*/ 382 h 455"/>
                <a:gd name="T90" fmla="*/ 185 w 467"/>
                <a:gd name="T91" fmla="*/ 192 h 455"/>
                <a:gd name="T92" fmla="*/ 67 w 467"/>
                <a:gd name="T93" fmla="*/ 367 h 455"/>
                <a:gd name="T94" fmla="*/ 197 w 467"/>
                <a:gd name="T95" fmla="*/ 122 h 455"/>
                <a:gd name="T96" fmla="*/ 54 w 467"/>
                <a:gd name="T97" fmla="*/ 351 h 455"/>
                <a:gd name="T98" fmla="*/ 272 w 467"/>
                <a:gd name="T99" fmla="*/ 48 h 455"/>
                <a:gd name="T100" fmla="*/ 95 w 467"/>
                <a:gd name="T101" fmla="*/ 161 h 455"/>
                <a:gd name="T102" fmla="*/ 191 w 467"/>
                <a:gd name="T103" fmla="*/ 45 h 455"/>
                <a:gd name="T104" fmla="*/ 59 w 467"/>
                <a:gd name="T105" fmla="*/ 145 h 455"/>
                <a:gd name="T106" fmla="*/ 29 w 467"/>
                <a:gd name="T107" fmla="*/ 159 h 455"/>
                <a:gd name="T108" fmla="*/ 100 w 467"/>
                <a:gd name="T109" fmla="*/ 43 h 455"/>
                <a:gd name="T110" fmla="*/ 168 w 467"/>
                <a:gd name="T111" fmla="*/ 9 h 455"/>
                <a:gd name="T112" fmla="*/ 151 w 467"/>
                <a:gd name="T113" fmla="*/ 2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7" h="455">
                  <a:moveTo>
                    <a:pt x="235" y="168"/>
                  </a:moveTo>
                  <a:cubicBezTo>
                    <a:pt x="235" y="178"/>
                    <a:pt x="216" y="189"/>
                    <a:pt x="207" y="189"/>
                  </a:cubicBezTo>
                  <a:cubicBezTo>
                    <a:pt x="204" y="189"/>
                    <a:pt x="200" y="188"/>
                    <a:pt x="200" y="183"/>
                  </a:cubicBezTo>
                  <a:cubicBezTo>
                    <a:pt x="200" y="174"/>
                    <a:pt x="218" y="162"/>
                    <a:pt x="227" y="162"/>
                  </a:cubicBezTo>
                  <a:cubicBezTo>
                    <a:pt x="231" y="162"/>
                    <a:pt x="235" y="163"/>
                    <a:pt x="235" y="168"/>
                  </a:cubicBezTo>
                  <a:close/>
                  <a:moveTo>
                    <a:pt x="139" y="23"/>
                  </a:moveTo>
                  <a:cubicBezTo>
                    <a:pt x="138" y="21"/>
                    <a:pt x="135" y="20"/>
                    <a:pt x="131" y="20"/>
                  </a:cubicBezTo>
                  <a:cubicBezTo>
                    <a:pt x="123" y="21"/>
                    <a:pt x="114" y="27"/>
                    <a:pt x="112" y="33"/>
                  </a:cubicBezTo>
                  <a:cubicBezTo>
                    <a:pt x="111" y="35"/>
                    <a:pt x="111" y="37"/>
                    <a:pt x="112" y="39"/>
                  </a:cubicBezTo>
                  <a:cubicBezTo>
                    <a:pt x="113" y="40"/>
                    <a:pt x="115" y="41"/>
                    <a:pt x="117" y="41"/>
                  </a:cubicBezTo>
                  <a:cubicBezTo>
                    <a:pt x="124" y="41"/>
                    <a:pt x="135" y="36"/>
                    <a:pt x="138" y="29"/>
                  </a:cubicBezTo>
                  <a:cubicBezTo>
                    <a:pt x="139" y="27"/>
                    <a:pt x="140" y="25"/>
                    <a:pt x="139" y="23"/>
                  </a:cubicBezTo>
                  <a:close/>
                  <a:moveTo>
                    <a:pt x="467" y="226"/>
                  </a:moveTo>
                  <a:cubicBezTo>
                    <a:pt x="467" y="161"/>
                    <a:pt x="438" y="92"/>
                    <a:pt x="375" y="42"/>
                  </a:cubicBezTo>
                  <a:cubicBezTo>
                    <a:pt x="373" y="41"/>
                    <a:pt x="371" y="40"/>
                    <a:pt x="369" y="39"/>
                  </a:cubicBezTo>
                  <a:cubicBezTo>
                    <a:pt x="369" y="39"/>
                    <a:pt x="368" y="39"/>
                    <a:pt x="368" y="40"/>
                  </a:cubicBezTo>
                  <a:cubicBezTo>
                    <a:pt x="367" y="40"/>
                    <a:pt x="367" y="41"/>
                    <a:pt x="368" y="42"/>
                  </a:cubicBezTo>
                  <a:cubicBezTo>
                    <a:pt x="422" y="103"/>
                    <a:pt x="400" y="192"/>
                    <a:pt x="360" y="238"/>
                  </a:cubicBezTo>
                  <a:cubicBezTo>
                    <a:pt x="325" y="278"/>
                    <a:pt x="280" y="307"/>
                    <a:pt x="239" y="329"/>
                  </a:cubicBezTo>
                  <a:cubicBezTo>
                    <a:pt x="236" y="331"/>
                    <a:pt x="231" y="333"/>
                    <a:pt x="229" y="335"/>
                  </a:cubicBezTo>
                  <a:cubicBezTo>
                    <a:pt x="225" y="339"/>
                    <a:pt x="224" y="343"/>
                    <a:pt x="226" y="346"/>
                  </a:cubicBezTo>
                  <a:cubicBezTo>
                    <a:pt x="227" y="350"/>
                    <a:pt x="231" y="351"/>
                    <a:pt x="236" y="351"/>
                  </a:cubicBezTo>
                  <a:cubicBezTo>
                    <a:pt x="239" y="350"/>
                    <a:pt x="246" y="348"/>
                    <a:pt x="251" y="346"/>
                  </a:cubicBezTo>
                  <a:cubicBezTo>
                    <a:pt x="289" y="326"/>
                    <a:pt x="329" y="299"/>
                    <a:pt x="360" y="265"/>
                  </a:cubicBezTo>
                  <a:cubicBezTo>
                    <a:pt x="398" y="223"/>
                    <a:pt x="422" y="169"/>
                    <a:pt x="412" y="104"/>
                  </a:cubicBezTo>
                  <a:cubicBezTo>
                    <a:pt x="413" y="105"/>
                    <a:pt x="413" y="106"/>
                    <a:pt x="414" y="107"/>
                  </a:cubicBezTo>
                  <a:cubicBezTo>
                    <a:pt x="434" y="158"/>
                    <a:pt x="417" y="222"/>
                    <a:pt x="371" y="279"/>
                  </a:cubicBezTo>
                  <a:cubicBezTo>
                    <a:pt x="339" y="320"/>
                    <a:pt x="293" y="356"/>
                    <a:pt x="235" y="382"/>
                  </a:cubicBezTo>
                  <a:cubicBezTo>
                    <a:pt x="231" y="384"/>
                    <a:pt x="224" y="388"/>
                    <a:pt x="222" y="392"/>
                  </a:cubicBezTo>
                  <a:cubicBezTo>
                    <a:pt x="220" y="395"/>
                    <a:pt x="220" y="398"/>
                    <a:pt x="222" y="400"/>
                  </a:cubicBezTo>
                  <a:cubicBezTo>
                    <a:pt x="223" y="402"/>
                    <a:pt x="225" y="403"/>
                    <a:pt x="227" y="404"/>
                  </a:cubicBezTo>
                  <a:cubicBezTo>
                    <a:pt x="234" y="404"/>
                    <a:pt x="241" y="400"/>
                    <a:pt x="248" y="397"/>
                  </a:cubicBezTo>
                  <a:cubicBezTo>
                    <a:pt x="340" y="352"/>
                    <a:pt x="441" y="268"/>
                    <a:pt x="435" y="145"/>
                  </a:cubicBezTo>
                  <a:cubicBezTo>
                    <a:pt x="436" y="147"/>
                    <a:pt x="436" y="148"/>
                    <a:pt x="436" y="149"/>
                  </a:cubicBezTo>
                  <a:cubicBezTo>
                    <a:pt x="446" y="199"/>
                    <a:pt x="435" y="244"/>
                    <a:pt x="414" y="282"/>
                  </a:cubicBezTo>
                  <a:cubicBezTo>
                    <a:pt x="396" y="314"/>
                    <a:pt x="371" y="340"/>
                    <a:pt x="346" y="361"/>
                  </a:cubicBezTo>
                  <a:cubicBezTo>
                    <a:pt x="332" y="372"/>
                    <a:pt x="327" y="379"/>
                    <a:pt x="330" y="384"/>
                  </a:cubicBezTo>
                  <a:cubicBezTo>
                    <a:pt x="333" y="390"/>
                    <a:pt x="342" y="387"/>
                    <a:pt x="347" y="384"/>
                  </a:cubicBezTo>
                  <a:cubicBezTo>
                    <a:pt x="357" y="378"/>
                    <a:pt x="366" y="369"/>
                    <a:pt x="373" y="363"/>
                  </a:cubicBezTo>
                  <a:cubicBezTo>
                    <a:pt x="414" y="321"/>
                    <a:pt x="445" y="276"/>
                    <a:pt x="452" y="201"/>
                  </a:cubicBezTo>
                  <a:cubicBezTo>
                    <a:pt x="453" y="205"/>
                    <a:pt x="453" y="209"/>
                    <a:pt x="453" y="211"/>
                  </a:cubicBezTo>
                  <a:cubicBezTo>
                    <a:pt x="455" y="249"/>
                    <a:pt x="447" y="284"/>
                    <a:pt x="433" y="314"/>
                  </a:cubicBezTo>
                  <a:cubicBezTo>
                    <a:pt x="412" y="359"/>
                    <a:pt x="376" y="395"/>
                    <a:pt x="334" y="417"/>
                  </a:cubicBezTo>
                  <a:cubicBezTo>
                    <a:pt x="325" y="422"/>
                    <a:pt x="322" y="427"/>
                    <a:pt x="324" y="433"/>
                  </a:cubicBezTo>
                  <a:cubicBezTo>
                    <a:pt x="325" y="436"/>
                    <a:pt x="327" y="437"/>
                    <a:pt x="331" y="437"/>
                  </a:cubicBezTo>
                  <a:cubicBezTo>
                    <a:pt x="335" y="438"/>
                    <a:pt x="338" y="437"/>
                    <a:pt x="341" y="435"/>
                  </a:cubicBezTo>
                  <a:cubicBezTo>
                    <a:pt x="419" y="393"/>
                    <a:pt x="467" y="315"/>
                    <a:pt x="467" y="226"/>
                  </a:cubicBezTo>
                  <a:close/>
                  <a:moveTo>
                    <a:pt x="254" y="1"/>
                  </a:moveTo>
                  <a:cubicBezTo>
                    <a:pt x="245" y="0"/>
                    <a:pt x="228" y="6"/>
                    <a:pt x="228" y="13"/>
                  </a:cubicBezTo>
                  <a:cubicBezTo>
                    <a:pt x="229" y="17"/>
                    <a:pt x="232" y="18"/>
                    <a:pt x="235" y="19"/>
                  </a:cubicBezTo>
                  <a:cubicBezTo>
                    <a:pt x="242" y="19"/>
                    <a:pt x="260" y="15"/>
                    <a:pt x="260" y="7"/>
                  </a:cubicBezTo>
                  <a:cubicBezTo>
                    <a:pt x="260" y="3"/>
                    <a:pt x="257" y="2"/>
                    <a:pt x="254" y="1"/>
                  </a:cubicBezTo>
                  <a:close/>
                  <a:moveTo>
                    <a:pt x="326" y="17"/>
                  </a:moveTo>
                  <a:cubicBezTo>
                    <a:pt x="320" y="16"/>
                    <a:pt x="306" y="20"/>
                    <a:pt x="306" y="27"/>
                  </a:cubicBezTo>
                  <a:cubicBezTo>
                    <a:pt x="305" y="31"/>
                    <a:pt x="311" y="33"/>
                    <a:pt x="314" y="33"/>
                  </a:cubicBezTo>
                  <a:cubicBezTo>
                    <a:pt x="320" y="33"/>
                    <a:pt x="333" y="30"/>
                    <a:pt x="334" y="22"/>
                  </a:cubicBezTo>
                  <a:cubicBezTo>
                    <a:pt x="334" y="18"/>
                    <a:pt x="329" y="17"/>
                    <a:pt x="326" y="17"/>
                  </a:cubicBezTo>
                  <a:close/>
                  <a:moveTo>
                    <a:pt x="250" y="92"/>
                  </a:moveTo>
                  <a:cubicBezTo>
                    <a:pt x="241" y="91"/>
                    <a:pt x="221" y="103"/>
                    <a:pt x="221" y="113"/>
                  </a:cubicBezTo>
                  <a:cubicBezTo>
                    <a:pt x="220" y="117"/>
                    <a:pt x="224" y="119"/>
                    <a:pt x="227" y="119"/>
                  </a:cubicBezTo>
                  <a:cubicBezTo>
                    <a:pt x="237" y="119"/>
                    <a:pt x="257" y="108"/>
                    <a:pt x="257" y="97"/>
                  </a:cubicBezTo>
                  <a:cubicBezTo>
                    <a:pt x="257" y="93"/>
                    <a:pt x="254" y="92"/>
                    <a:pt x="250" y="92"/>
                  </a:cubicBezTo>
                  <a:close/>
                  <a:moveTo>
                    <a:pt x="291" y="71"/>
                  </a:moveTo>
                  <a:cubicBezTo>
                    <a:pt x="283" y="71"/>
                    <a:pt x="266" y="78"/>
                    <a:pt x="265" y="87"/>
                  </a:cubicBezTo>
                  <a:cubicBezTo>
                    <a:pt x="265" y="90"/>
                    <a:pt x="268" y="92"/>
                    <a:pt x="271" y="92"/>
                  </a:cubicBezTo>
                  <a:cubicBezTo>
                    <a:pt x="279" y="93"/>
                    <a:pt x="296" y="86"/>
                    <a:pt x="296" y="77"/>
                  </a:cubicBezTo>
                  <a:cubicBezTo>
                    <a:pt x="297" y="73"/>
                    <a:pt x="294" y="71"/>
                    <a:pt x="291" y="71"/>
                  </a:cubicBezTo>
                  <a:close/>
                  <a:moveTo>
                    <a:pt x="355" y="176"/>
                  </a:moveTo>
                  <a:cubicBezTo>
                    <a:pt x="348" y="176"/>
                    <a:pt x="341" y="184"/>
                    <a:pt x="341" y="190"/>
                  </a:cubicBezTo>
                  <a:cubicBezTo>
                    <a:pt x="341" y="194"/>
                    <a:pt x="343" y="197"/>
                    <a:pt x="347" y="197"/>
                  </a:cubicBezTo>
                  <a:cubicBezTo>
                    <a:pt x="354" y="197"/>
                    <a:pt x="360" y="188"/>
                    <a:pt x="360" y="182"/>
                  </a:cubicBezTo>
                  <a:cubicBezTo>
                    <a:pt x="360" y="178"/>
                    <a:pt x="358" y="176"/>
                    <a:pt x="355" y="176"/>
                  </a:cubicBezTo>
                  <a:close/>
                  <a:moveTo>
                    <a:pt x="327" y="56"/>
                  </a:moveTo>
                  <a:cubicBezTo>
                    <a:pt x="321" y="55"/>
                    <a:pt x="310" y="60"/>
                    <a:pt x="309" y="67"/>
                  </a:cubicBezTo>
                  <a:cubicBezTo>
                    <a:pt x="309" y="70"/>
                    <a:pt x="312" y="71"/>
                    <a:pt x="315" y="72"/>
                  </a:cubicBezTo>
                  <a:cubicBezTo>
                    <a:pt x="321" y="72"/>
                    <a:pt x="332" y="68"/>
                    <a:pt x="333" y="61"/>
                  </a:cubicBezTo>
                  <a:cubicBezTo>
                    <a:pt x="333" y="58"/>
                    <a:pt x="330" y="56"/>
                    <a:pt x="327" y="56"/>
                  </a:cubicBezTo>
                  <a:close/>
                  <a:moveTo>
                    <a:pt x="348" y="99"/>
                  </a:moveTo>
                  <a:cubicBezTo>
                    <a:pt x="342" y="99"/>
                    <a:pt x="336" y="109"/>
                    <a:pt x="336" y="115"/>
                  </a:cubicBezTo>
                  <a:cubicBezTo>
                    <a:pt x="336" y="117"/>
                    <a:pt x="337" y="120"/>
                    <a:pt x="340" y="120"/>
                  </a:cubicBezTo>
                  <a:cubicBezTo>
                    <a:pt x="347" y="120"/>
                    <a:pt x="353" y="110"/>
                    <a:pt x="353" y="105"/>
                  </a:cubicBezTo>
                  <a:cubicBezTo>
                    <a:pt x="353" y="102"/>
                    <a:pt x="351" y="99"/>
                    <a:pt x="348" y="99"/>
                  </a:cubicBezTo>
                  <a:close/>
                  <a:moveTo>
                    <a:pt x="326" y="206"/>
                  </a:moveTo>
                  <a:cubicBezTo>
                    <a:pt x="322" y="208"/>
                    <a:pt x="319" y="210"/>
                    <a:pt x="315" y="214"/>
                  </a:cubicBezTo>
                  <a:cubicBezTo>
                    <a:pt x="312" y="217"/>
                    <a:pt x="310" y="221"/>
                    <a:pt x="308" y="224"/>
                  </a:cubicBezTo>
                  <a:cubicBezTo>
                    <a:pt x="308" y="227"/>
                    <a:pt x="308" y="230"/>
                    <a:pt x="309" y="232"/>
                  </a:cubicBezTo>
                  <a:cubicBezTo>
                    <a:pt x="311" y="234"/>
                    <a:pt x="314" y="235"/>
                    <a:pt x="317" y="234"/>
                  </a:cubicBezTo>
                  <a:cubicBezTo>
                    <a:pt x="321" y="234"/>
                    <a:pt x="325" y="231"/>
                    <a:pt x="329" y="227"/>
                  </a:cubicBezTo>
                  <a:cubicBezTo>
                    <a:pt x="333" y="223"/>
                    <a:pt x="336" y="218"/>
                    <a:pt x="337" y="213"/>
                  </a:cubicBezTo>
                  <a:cubicBezTo>
                    <a:pt x="338" y="209"/>
                    <a:pt x="337" y="207"/>
                    <a:pt x="335" y="206"/>
                  </a:cubicBezTo>
                  <a:cubicBezTo>
                    <a:pt x="333" y="204"/>
                    <a:pt x="330" y="204"/>
                    <a:pt x="326" y="206"/>
                  </a:cubicBezTo>
                  <a:close/>
                  <a:moveTo>
                    <a:pt x="319" y="135"/>
                  </a:moveTo>
                  <a:cubicBezTo>
                    <a:pt x="317" y="137"/>
                    <a:pt x="315" y="140"/>
                    <a:pt x="314" y="142"/>
                  </a:cubicBezTo>
                  <a:cubicBezTo>
                    <a:pt x="313" y="144"/>
                    <a:pt x="312" y="147"/>
                    <a:pt x="312" y="149"/>
                  </a:cubicBezTo>
                  <a:cubicBezTo>
                    <a:pt x="312" y="152"/>
                    <a:pt x="314" y="155"/>
                    <a:pt x="317" y="155"/>
                  </a:cubicBezTo>
                  <a:cubicBezTo>
                    <a:pt x="319" y="155"/>
                    <a:pt x="321" y="154"/>
                    <a:pt x="324" y="153"/>
                  </a:cubicBezTo>
                  <a:cubicBezTo>
                    <a:pt x="326" y="151"/>
                    <a:pt x="328" y="149"/>
                    <a:pt x="330" y="147"/>
                  </a:cubicBezTo>
                  <a:cubicBezTo>
                    <a:pt x="332" y="145"/>
                    <a:pt x="334" y="142"/>
                    <a:pt x="335" y="140"/>
                  </a:cubicBezTo>
                  <a:cubicBezTo>
                    <a:pt x="336" y="138"/>
                    <a:pt x="337" y="135"/>
                    <a:pt x="337" y="133"/>
                  </a:cubicBezTo>
                  <a:cubicBezTo>
                    <a:pt x="337" y="130"/>
                    <a:pt x="335" y="128"/>
                    <a:pt x="332" y="128"/>
                  </a:cubicBezTo>
                  <a:cubicBezTo>
                    <a:pt x="327" y="128"/>
                    <a:pt x="323" y="131"/>
                    <a:pt x="319" y="135"/>
                  </a:cubicBezTo>
                  <a:close/>
                  <a:moveTo>
                    <a:pt x="201" y="401"/>
                  </a:moveTo>
                  <a:cubicBezTo>
                    <a:pt x="196" y="401"/>
                    <a:pt x="182" y="405"/>
                    <a:pt x="176" y="410"/>
                  </a:cubicBezTo>
                  <a:cubicBezTo>
                    <a:pt x="173" y="412"/>
                    <a:pt x="172" y="416"/>
                    <a:pt x="173" y="418"/>
                  </a:cubicBezTo>
                  <a:cubicBezTo>
                    <a:pt x="174" y="422"/>
                    <a:pt x="177" y="422"/>
                    <a:pt x="180" y="422"/>
                  </a:cubicBezTo>
                  <a:cubicBezTo>
                    <a:pt x="185" y="423"/>
                    <a:pt x="199" y="419"/>
                    <a:pt x="205" y="413"/>
                  </a:cubicBezTo>
                  <a:cubicBezTo>
                    <a:pt x="207" y="412"/>
                    <a:pt x="209" y="409"/>
                    <a:pt x="208" y="406"/>
                  </a:cubicBezTo>
                  <a:cubicBezTo>
                    <a:pt x="207" y="403"/>
                    <a:pt x="204" y="402"/>
                    <a:pt x="201" y="401"/>
                  </a:cubicBezTo>
                  <a:close/>
                  <a:moveTo>
                    <a:pt x="208" y="348"/>
                  </a:moveTo>
                  <a:cubicBezTo>
                    <a:pt x="202" y="348"/>
                    <a:pt x="188" y="353"/>
                    <a:pt x="182" y="358"/>
                  </a:cubicBezTo>
                  <a:cubicBezTo>
                    <a:pt x="179" y="361"/>
                    <a:pt x="178" y="364"/>
                    <a:pt x="179" y="367"/>
                  </a:cubicBezTo>
                  <a:cubicBezTo>
                    <a:pt x="180" y="371"/>
                    <a:pt x="183" y="371"/>
                    <a:pt x="186" y="371"/>
                  </a:cubicBezTo>
                  <a:cubicBezTo>
                    <a:pt x="192" y="371"/>
                    <a:pt x="206" y="367"/>
                    <a:pt x="213" y="360"/>
                  </a:cubicBezTo>
                  <a:cubicBezTo>
                    <a:pt x="215" y="358"/>
                    <a:pt x="216" y="355"/>
                    <a:pt x="215" y="352"/>
                  </a:cubicBezTo>
                  <a:cubicBezTo>
                    <a:pt x="214" y="349"/>
                    <a:pt x="211" y="348"/>
                    <a:pt x="208" y="348"/>
                  </a:cubicBezTo>
                  <a:close/>
                  <a:moveTo>
                    <a:pt x="309" y="393"/>
                  </a:moveTo>
                  <a:cubicBezTo>
                    <a:pt x="304" y="393"/>
                    <a:pt x="291" y="400"/>
                    <a:pt x="286" y="406"/>
                  </a:cubicBezTo>
                  <a:cubicBezTo>
                    <a:pt x="284" y="409"/>
                    <a:pt x="283" y="412"/>
                    <a:pt x="284" y="414"/>
                  </a:cubicBezTo>
                  <a:cubicBezTo>
                    <a:pt x="286" y="418"/>
                    <a:pt x="289" y="418"/>
                    <a:pt x="292" y="417"/>
                  </a:cubicBezTo>
                  <a:cubicBezTo>
                    <a:pt x="297" y="416"/>
                    <a:pt x="310" y="411"/>
                    <a:pt x="315" y="404"/>
                  </a:cubicBezTo>
                  <a:cubicBezTo>
                    <a:pt x="317" y="401"/>
                    <a:pt x="318" y="398"/>
                    <a:pt x="317" y="396"/>
                  </a:cubicBezTo>
                  <a:cubicBezTo>
                    <a:pt x="316" y="393"/>
                    <a:pt x="312" y="392"/>
                    <a:pt x="309" y="393"/>
                  </a:cubicBezTo>
                  <a:close/>
                  <a:moveTo>
                    <a:pt x="261" y="421"/>
                  </a:moveTo>
                  <a:cubicBezTo>
                    <a:pt x="255" y="421"/>
                    <a:pt x="243" y="425"/>
                    <a:pt x="238" y="430"/>
                  </a:cubicBezTo>
                  <a:cubicBezTo>
                    <a:pt x="236" y="432"/>
                    <a:pt x="235" y="435"/>
                    <a:pt x="236" y="437"/>
                  </a:cubicBezTo>
                  <a:cubicBezTo>
                    <a:pt x="237" y="440"/>
                    <a:pt x="239" y="440"/>
                    <a:pt x="242" y="440"/>
                  </a:cubicBezTo>
                  <a:cubicBezTo>
                    <a:pt x="247" y="440"/>
                    <a:pt x="259" y="437"/>
                    <a:pt x="265" y="431"/>
                  </a:cubicBezTo>
                  <a:cubicBezTo>
                    <a:pt x="266" y="430"/>
                    <a:pt x="267" y="427"/>
                    <a:pt x="267" y="425"/>
                  </a:cubicBezTo>
                  <a:cubicBezTo>
                    <a:pt x="266" y="422"/>
                    <a:pt x="263" y="421"/>
                    <a:pt x="261" y="421"/>
                  </a:cubicBezTo>
                  <a:close/>
                  <a:moveTo>
                    <a:pt x="149" y="419"/>
                  </a:moveTo>
                  <a:cubicBezTo>
                    <a:pt x="147" y="419"/>
                    <a:pt x="141" y="420"/>
                    <a:pt x="136" y="423"/>
                  </a:cubicBezTo>
                  <a:cubicBezTo>
                    <a:pt x="134" y="424"/>
                    <a:pt x="132" y="426"/>
                    <a:pt x="132" y="429"/>
                  </a:cubicBezTo>
                  <a:cubicBezTo>
                    <a:pt x="132" y="432"/>
                    <a:pt x="135" y="433"/>
                    <a:pt x="138" y="434"/>
                  </a:cubicBezTo>
                  <a:cubicBezTo>
                    <a:pt x="142" y="434"/>
                    <a:pt x="148" y="433"/>
                    <a:pt x="152" y="431"/>
                  </a:cubicBezTo>
                  <a:cubicBezTo>
                    <a:pt x="155" y="429"/>
                    <a:pt x="157" y="427"/>
                    <a:pt x="156" y="424"/>
                  </a:cubicBezTo>
                  <a:cubicBezTo>
                    <a:pt x="156" y="420"/>
                    <a:pt x="153" y="419"/>
                    <a:pt x="149" y="419"/>
                  </a:cubicBezTo>
                  <a:close/>
                  <a:moveTo>
                    <a:pt x="207" y="440"/>
                  </a:moveTo>
                  <a:cubicBezTo>
                    <a:pt x="205" y="440"/>
                    <a:pt x="199" y="441"/>
                    <a:pt x="195" y="444"/>
                  </a:cubicBezTo>
                  <a:cubicBezTo>
                    <a:pt x="193" y="446"/>
                    <a:pt x="191" y="448"/>
                    <a:pt x="191" y="450"/>
                  </a:cubicBezTo>
                  <a:cubicBezTo>
                    <a:pt x="192" y="453"/>
                    <a:pt x="194" y="455"/>
                    <a:pt x="197" y="455"/>
                  </a:cubicBezTo>
                  <a:cubicBezTo>
                    <a:pt x="202" y="455"/>
                    <a:pt x="207" y="454"/>
                    <a:pt x="211" y="451"/>
                  </a:cubicBezTo>
                  <a:cubicBezTo>
                    <a:pt x="213" y="450"/>
                    <a:pt x="214" y="447"/>
                    <a:pt x="214" y="445"/>
                  </a:cubicBezTo>
                  <a:cubicBezTo>
                    <a:pt x="214" y="441"/>
                    <a:pt x="210" y="440"/>
                    <a:pt x="207" y="440"/>
                  </a:cubicBezTo>
                  <a:close/>
                  <a:moveTo>
                    <a:pt x="257" y="144"/>
                  </a:moveTo>
                  <a:cubicBezTo>
                    <a:pt x="255" y="144"/>
                    <a:pt x="253" y="145"/>
                    <a:pt x="251" y="146"/>
                  </a:cubicBezTo>
                  <a:cubicBezTo>
                    <a:pt x="251" y="146"/>
                    <a:pt x="251" y="146"/>
                    <a:pt x="251" y="146"/>
                  </a:cubicBezTo>
                  <a:cubicBezTo>
                    <a:pt x="247" y="147"/>
                    <a:pt x="242" y="152"/>
                    <a:pt x="242" y="157"/>
                  </a:cubicBezTo>
                  <a:cubicBezTo>
                    <a:pt x="242" y="160"/>
                    <a:pt x="245" y="161"/>
                    <a:pt x="248" y="161"/>
                  </a:cubicBezTo>
                  <a:cubicBezTo>
                    <a:pt x="254" y="161"/>
                    <a:pt x="263" y="156"/>
                    <a:pt x="263" y="149"/>
                  </a:cubicBezTo>
                  <a:cubicBezTo>
                    <a:pt x="263" y="146"/>
                    <a:pt x="260" y="144"/>
                    <a:pt x="257" y="144"/>
                  </a:cubicBezTo>
                  <a:close/>
                  <a:moveTo>
                    <a:pt x="301" y="436"/>
                  </a:moveTo>
                  <a:cubicBezTo>
                    <a:pt x="297" y="436"/>
                    <a:pt x="290" y="437"/>
                    <a:pt x="285" y="441"/>
                  </a:cubicBezTo>
                  <a:cubicBezTo>
                    <a:pt x="282" y="443"/>
                    <a:pt x="280" y="446"/>
                    <a:pt x="280" y="449"/>
                  </a:cubicBezTo>
                  <a:cubicBezTo>
                    <a:pt x="281" y="452"/>
                    <a:pt x="284" y="453"/>
                    <a:pt x="288" y="453"/>
                  </a:cubicBezTo>
                  <a:cubicBezTo>
                    <a:pt x="293" y="453"/>
                    <a:pt x="300" y="451"/>
                    <a:pt x="304" y="449"/>
                  </a:cubicBezTo>
                  <a:cubicBezTo>
                    <a:pt x="307" y="447"/>
                    <a:pt x="309" y="444"/>
                    <a:pt x="308" y="441"/>
                  </a:cubicBezTo>
                  <a:cubicBezTo>
                    <a:pt x="307" y="437"/>
                    <a:pt x="303" y="436"/>
                    <a:pt x="301" y="436"/>
                  </a:cubicBezTo>
                  <a:close/>
                  <a:moveTo>
                    <a:pt x="96" y="416"/>
                  </a:moveTo>
                  <a:cubicBezTo>
                    <a:pt x="99" y="419"/>
                    <a:pt x="104" y="422"/>
                    <a:pt x="108" y="423"/>
                  </a:cubicBezTo>
                  <a:cubicBezTo>
                    <a:pt x="109" y="424"/>
                    <a:pt x="110" y="423"/>
                    <a:pt x="110" y="423"/>
                  </a:cubicBezTo>
                  <a:cubicBezTo>
                    <a:pt x="111" y="422"/>
                    <a:pt x="111" y="421"/>
                    <a:pt x="110" y="421"/>
                  </a:cubicBezTo>
                  <a:cubicBezTo>
                    <a:pt x="107" y="417"/>
                    <a:pt x="105" y="415"/>
                    <a:pt x="104" y="412"/>
                  </a:cubicBezTo>
                  <a:cubicBezTo>
                    <a:pt x="103" y="409"/>
                    <a:pt x="104" y="406"/>
                    <a:pt x="104" y="405"/>
                  </a:cubicBezTo>
                  <a:cubicBezTo>
                    <a:pt x="110" y="378"/>
                    <a:pt x="136" y="361"/>
                    <a:pt x="163" y="342"/>
                  </a:cubicBezTo>
                  <a:cubicBezTo>
                    <a:pt x="180" y="330"/>
                    <a:pt x="253" y="290"/>
                    <a:pt x="286" y="263"/>
                  </a:cubicBezTo>
                  <a:cubicBezTo>
                    <a:pt x="297" y="255"/>
                    <a:pt x="301" y="250"/>
                    <a:pt x="302" y="245"/>
                  </a:cubicBezTo>
                  <a:cubicBezTo>
                    <a:pt x="302" y="243"/>
                    <a:pt x="301" y="240"/>
                    <a:pt x="300" y="239"/>
                  </a:cubicBezTo>
                  <a:cubicBezTo>
                    <a:pt x="299" y="238"/>
                    <a:pt x="297" y="237"/>
                    <a:pt x="296" y="237"/>
                  </a:cubicBezTo>
                  <a:cubicBezTo>
                    <a:pt x="290" y="236"/>
                    <a:pt x="284" y="238"/>
                    <a:pt x="276" y="244"/>
                  </a:cubicBezTo>
                  <a:cubicBezTo>
                    <a:pt x="238" y="275"/>
                    <a:pt x="181" y="305"/>
                    <a:pt x="140" y="337"/>
                  </a:cubicBezTo>
                  <a:cubicBezTo>
                    <a:pt x="117" y="355"/>
                    <a:pt x="99" y="375"/>
                    <a:pt x="94" y="395"/>
                  </a:cubicBezTo>
                  <a:cubicBezTo>
                    <a:pt x="94" y="395"/>
                    <a:pt x="93" y="394"/>
                    <a:pt x="93" y="394"/>
                  </a:cubicBezTo>
                  <a:cubicBezTo>
                    <a:pt x="99" y="319"/>
                    <a:pt x="199" y="269"/>
                    <a:pt x="250" y="227"/>
                  </a:cubicBezTo>
                  <a:cubicBezTo>
                    <a:pt x="263" y="216"/>
                    <a:pt x="302" y="186"/>
                    <a:pt x="308" y="172"/>
                  </a:cubicBezTo>
                  <a:cubicBezTo>
                    <a:pt x="310" y="168"/>
                    <a:pt x="309" y="163"/>
                    <a:pt x="306" y="162"/>
                  </a:cubicBezTo>
                  <a:cubicBezTo>
                    <a:pt x="304" y="160"/>
                    <a:pt x="301" y="160"/>
                    <a:pt x="298" y="160"/>
                  </a:cubicBezTo>
                  <a:cubicBezTo>
                    <a:pt x="292" y="162"/>
                    <a:pt x="285" y="167"/>
                    <a:pt x="277" y="175"/>
                  </a:cubicBezTo>
                  <a:cubicBezTo>
                    <a:pt x="214" y="235"/>
                    <a:pt x="161" y="262"/>
                    <a:pt x="125" y="300"/>
                  </a:cubicBezTo>
                  <a:cubicBezTo>
                    <a:pt x="105" y="322"/>
                    <a:pt x="90" y="347"/>
                    <a:pt x="81" y="383"/>
                  </a:cubicBezTo>
                  <a:cubicBezTo>
                    <a:pt x="81" y="383"/>
                    <a:pt x="80" y="382"/>
                    <a:pt x="80" y="382"/>
                  </a:cubicBezTo>
                  <a:cubicBezTo>
                    <a:pt x="83" y="327"/>
                    <a:pt x="119" y="273"/>
                    <a:pt x="161" y="235"/>
                  </a:cubicBezTo>
                  <a:cubicBezTo>
                    <a:pt x="175" y="222"/>
                    <a:pt x="185" y="214"/>
                    <a:pt x="191" y="209"/>
                  </a:cubicBezTo>
                  <a:cubicBezTo>
                    <a:pt x="195" y="205"/>
                    <a:pt x="197" y="200"/>
                    <a:pt x="195" y="195"/>
                  </a:cubicBezTo>
                  <a:cubicBezTo>
                    <a:pt x="193" y="192"/>
                    <a:pt x="189" y="191"/>
                    <a:pt x="185" y="192"/>
                  </a:cubicBezTo>
                  <a:cubicBezTo>
                    <a:pt x="179" y="193"/>
                    <a:pt x="175" y="196"/>
                    <a:pt x="170" y="199"/>
                  </a:cubicBezTo>
                  <a:cubicBezTo>
                    <a:pt x="141" y="223"/>
                    <a:pt x="116" y="252"/>
                    <a:pt x="97" y="285"/>
                  </a:cubicBezTo>
                  <a:cubicBezTo>
                    <a:pt x="83" y="311"/>
                    <a:pt x="73" y="339"/>
                    <a:pt x="68" y="369"/>
                  </a:cubicBezTo>
                  <a:cubicBezTo>
                    <a:pt x="68" y="369"/>
                    <a:pt x="67" y="368"/>
                    <a:pt x="67" y="367"/>
                  </a:cubicBezTo>
                  <a:cubicBezTo>
                    <a:pt x="70" y="284"/>
                    <a:pt x="108" y="222"/>
                    <a:pt x="162" y="174"/>
                  </a:cubicBezTo>
                  <a:cubicBezTo>
                    <a:pt x="175" y="162"/>
                    <a:pt x="187" y="155"/>
                    <a:pt x="200" y="144"/>
                  </a:cubicBezTo>
                  <a:cubicBezTo>
                    <a:pt x="211" y="136"/>
                    <a:pt x="213" y="129"/>
                    <a:pt x="210" y="124"/>
                  </a:cubicBezTo>
                  <a:cubicBezTo>
                    <a:pt x="207" y="120"/>
                    <a:pt x="203" y="120"/>
                    <a:pt x="197" y="122"/>
                  </a:cubicBezTo>
                  <a:cubicBezTo>
                    <a:pt x="186" y="125"/>
                    <a:pt x="174" y="136"/>
                    <a:pt x="160" y="149"/>
                  </a:cubicBezTo>
                  <a:cubicBezTo>
                    <a:pt x="126" y="179"/>
                    <a:pt x="99" y="211"/>
                    <a:pt x="81" y="250"/>
                  </a:cubicBezTo>
                  <a:cubicBezTo>
                    <a:pt x="67" y="279"/>
                    <a:pt x="58" y="313"/>
                    <a:pt x="56" y="353"/>
                  </a:cubicBezTo>
                  <a:cubicBezTo>
                    <a:pt x="55" y="352"/>
                    <a:pt x="55" y="351"/>
                    <a:pt x="54" y="351"/>
                  </a:cubicBezTo>
                  <a:cubicBezTo>
                    <a:pt x="53" y="341"/>
                    <a:pt x="54" y="328"/>
                    <a:pt x="54" y="318"/>
                  </a:cubicBezTo>
                  <a:cubicBezTo>
                    <a:pt x="57" y="279"/>
                    <a:pt x="63" y="197"/>
                    <a:pt x="175" y="106"/>
                  </a:cubicBezTo>
                  <a:cubicBezTo>
                    <a:pt x="195" y="90"/>
                    <a:pt x="228" y="71"/>
                    <a:pt x="251" y="59"/>
                  </a:cubicBezTo>
                  <a:cubicBezTo>
                    <a:pt x="258" y="55"/>
                    <a:pt x="265" y="52"/>
                    <a:pt x="272" y="48"/>
                  </a:cubicBezTo>
                  <a:cubicBezTo>
                    <a:pt x="276" y="45"/>
                    <a:pt x="278" y="41"/>
                    <a:pt x="277" y="37"/>
                  </a:cubicBezTo>
                  <a:cubicBezTo>
                    <a:pt x="276" y="33"/>
                    <a:pt x="272" y="33"/>
                    <a:pt x="268" y="33"/>
                  </a:cubicBezTo>
                  <a:cubicBezTo>
                    <a:pt x="261" y="33"/>
                    <a:pt x="255" y="36"/>
                    <a:pt x="248" y="39"/>
                  </a:cubicBezTo>
                  <a:cubicBezTo>
                    <a:pt x="196" y="65"/>
                    <a:pt x="137" y="103"/>
                    <a:pt x="95" y="161"/>
                  </a:cubicBezTo>
                  <a:cubicBezTo>
                    <a:pt x="63" y="205"/>
                    <a:pt x="42" y="260"/>
                    <a:pt x="41" y="329"/>
                  </a:cubicBezTo>
                  <a:cubicBezTo>
                    <a:pt x="40" y="328"/>
                    <a:pt x="40" y="328"/>
                    <a:pt x="40" y="327"/>
                  </a:cubicBezTo>
                  <a:cubicBezTo>
                    <a:pt x="37" y="310"/>
                    <a:pt x="36" y="293"/>
                    <a:pt x="37" y="281"/>
                  </a:cubicBezTo>
                  <a:cubicBezTo>
                    <a:pt x="39" y="172"/>
                    <a:pt x="103" y="97"/>
                    <a:pt x="191" y="45"/>
                  </a:cubicBezTo>
                  <a:cubicBezTo>
                    <a:pt x="198" y="41"/>
                    <a:pt x="206" y="36"/>
                    <a:pt x="206" y="29"/>
                  </a:cubicBezTo>
                  <a:cubicBezTo>
                    <a:pt x="206" y="25"/>
                    <a:pt x="203" y="23"/>
                    <a:pt x="199" y="23"/>
                  </a:cubicBezTo>
                  <a:cubicBezTo>
                    <a:pt x="195" y="23"/>
                    <a:pt x="191" y="24"/>
                    <a:pt x="185" y="27"/>
                  </a:cubicBezTo>
                  <a:cubicBezTo>
                    <a:pt x="131" y="56"/>
                    <a:pt x="87" y="96"/>
                    <a:pt x="59" y="145"/>
                  </a:cubicBezTo>
                  <a:cubicBezTo>
                    <a:pt x="35" y="186"/>
                    <a:pt x="22" y="234"/>
                    <a:pt x="24" y="287"/>
                  </a:cubicBezTo>
                  <a:cubicBezTo>
                    <a:pt x="24" y="286"/>
                    <a:pt x="24" y="285"/>
                    <a:pt x="23" y="283"/>
                  </a:cubicBezTo>
                  <a:cubicBezTo>
                    <a:pt x="19" y="266"/>
                    <a:pt x="16" y="248"/>
                    <a:pt x="16" y="230"/>
                  </a:cubicBezTo>
                  <a:cubicBezTo>
                    <a:pt x="16" y="205"/>
                    <a:pt x="21" y="181"/>
                    <a:pt x="29" y="159"/>
                  </a:cubicBezTo>
                  <a:cubicBezTo>
                    <a:pt x="40" y="130"/>
                    <a:pt x="57" y="103"/>
                    <a:pt x="79" y="80"/>
                  </a:cubicBezTo>
                  <a:cubicBezTo>
                    <a:pt x="85" y="73"/>
                    <a:pt x="100" y="61"/>
                    <a:pt x="103" y="57"/>
                  </a:cubicBezTo>
                  <a:cubicBezTo>
                    <a:pt x="106" y="53"/>
                    <a:pt x="108" y="49"/>
                    <a:pt x="106" y="46"/>
                  </a:cubicBezTo>
                  <a:cubicBezTo>
                    <a:pt x="105" y="44"/>
                    <a:pt x="103" y="43"/>
                    <a:pt x="100" y="43"/>
                  </a:cubicBezTo>
                  <a:cubicBezTo>
                    <a:pt x="88" y="43"/>
                    <a:pt x="71" y="61"/>
                    <a:pt x="63" y="69"/>
                  </a:cubicBezTo>
                  <a:cubicBezTo>
                    <a:pt x="23" y="112"/>
                    <a:pt x="0" y="168"/>
                    <a:pt x="0" y="226"/>
                  </a:cubicBezTo>
                  <a:cubicBezTo>
                    <a:pt x="0" y="295"/>
                    <a:pt x="30" y="367"/>
                    <a:pt x="96" y="416"/>
                  </a:cubicBezTo>
                  <a:close/>
                  <a:moveTo>
                    <a:pt x="168" y="9"/>
                  </a:moveTo>
                  <a:cubicBezTo>
                    <a:pt x="168" y="8"/>
                    <a:pt x="166" y="7"/>
                    <a:pt x="164" y="7"/>
                  </a:cubicBezTo>
                  <a:cubicBezTo>
                    <a:pt x="157" y="7"/>
                    <a:pt x="150" y="10"/>
                    <a:pt x="148" y="14"/>
                  </a:cubicBezTo>
                  <a:cubicBezTo>
                    <a:pt x="148" y="15"/>
                    <a:pt x="148" y="17"/>
                    <a:pt x="148" y="18"/>
                  </a:cubicBezTo>
                  <a:cubicBezTo>
                    <a:pt x="149" y="20"/>
                    <a:pt x="150" y="20"/>
                    <a:pt x="151" y="20"/>
                  </a:cubicBezTo>
                  <a:cubicBezTo>
                    <a:pt x="156" y="21"/>
                    <a:pt x="165" y="18"/>
                    <a:pt x="167" y="14"/>
                  </a:cubicBezTo>
                  <a:cubicBezTo>
                    <a:pt x="168" y="13"/>
                    <a:pt x="169" y="11"/>
                    <a:pt x="16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871724"/>
              <a:endParaRPr lang="en-US" sz="1453">
                <a:solidFill>
                  <a:prstClr val="black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4591050" y="-2305174"/>
              <a:ext cx="5984875" cy="674688"/>
            </a:xfrm>
            <a:custGeom>
              <a:avLst/>
              <a:gdLst>
                <a:gd name="T0" fmla="*/ 85 w 1594"/>
                <a:gd name="T1" fmla="*/ 3 h 179"/>
                <a:gd name="T2" fmla="*/ 77 w 1594"/>
                <a:gd name="T3" fmla="*/ 135 h 179"/>
                <a:gd name="T4" fmla="*/ 184 w 1594"/>
                <a:gd name="T5" fmla="*/ 122 h 179"/>
                <a:gd name="T6" fmla="*/ 151 w 1594"/>
                <a:gd name="T7" fmla="*/ 127 h 179"/>
                <a:gd name="T8" fmla="*/ 207 w 1594"/>
                <a:gd name="T9" fmla="*/ 85 h 179"/>
                <a:gd name="T10" fmla="*/ 192 w 1594"/>
                <a:gd name="T11" fmla="*/ 53 h 179"/>
                <a:gd name="T12" fmla="*/ 253 w 1594"/>
                <a:gd name="T13" fmla="*/ 1 h 179"/>
                <a:gd name="T14" fmla="*/ 269 w 1594"/>
                <a:gd name="T15" fmla="*/ 31 h 179"/>
                <a:gd name="T16" fmla="*/ 271 w 1594"/>
                <a:gd name="T17" fmla="*/ 133 h 179"/>
                <a:gd name="T18" fmla="*/ 249 w 1594"/>
                <a:gd name="T19" fmla="*/ 39 h 179"/>
                <a:gd name="T20" fmla="*/ 318 w 1594"/>
                <a:gd name="T21" fmla="*/ 44 h 179"/>
                <a:gd name="T22" fmla="*/ 308 w 1594"/>
                <a:gd name="T23" fmla="*/ 82 h 179"/>
                <a:gd name="T24" fmla="*/ 381 w 1594"/>
                <a:gd name="T25" fmla="*/ 60 h 179"/>
                <a:gd name="T26" fmla="*/ 419 w 1594"/>
                <a:gd name="T27" fmla="*/ 118 h 179"/>
                <a:gd name="T28" fmla="*/ 391 w 1594"/>
                <a:gd name="T29" fmla="*/ 117 h 179"/>
                <a:gd name="T30" fmla="*/ 497 w 1594"/>
                <a:gd name="T31" fmla="*/ 41 h 179"/>
                <a:gd name="T32" fmla="*/ 583 w 1594"/>
                <a:gd name="T33" fmla="*/ 39 h 179"/>
                <a:gd name="T34" fmla="*/ 585 w 1594"/>
                <a:gd name="T35" fmla="*/ 73 h 179"/>
                <a:gd name="T36" fmla="*/ 529 w 1594"/>
                <a:gd name="T37" fmla="*/ 136 h 179"/>
                <a:gd name="T38" fmla="*/ 497 w 1594"/>
                <a:gd name="T39" fmla="*/ 75 h 179"/>
                <a:gd name="T40" fmla="*/ 662 w 1594"/>
                <a:gd name="T41" fmla="*/ 122 h 179"/>
                <a:gd name="T42" fmla="*/ 629 w 1594"/>
                <a:gd name="T43" fmla="*/ 127 h 179"/>
                <a:gd name="T44" fmla="*/ 685 w 1594"/>
                <a:gd name="T45" fmla="*/ 85 h 179"/>
                <a:gd name="T46" fmla="*/ 670 w 1594"/>
                <a:gd name="T47" fmla="*/ 53 h 179"/>
                <a:gd name="T48" fmla="*/ 772 w 1594"/>
                <a:gd name="T49" fmla="*/ 41 h 179"/>
                <a:gd name="T50" fmla="*/ 813 w 1594"/>
                <a:gd name="T51" fmla="*/ 41 h 179"/>
                <a:gd name="T52" fmla="*/ 799 w 1594"/>
                <a:gd name="T53" fmla="*/ 120 h 179"/>
                <a:gd name="T54" fmla="*/ 759 w 1594"/>
                <a:gd name="T55" fmla="*/ 116 h 179"/>
                <a:gd name="T56" fmla="*/ 869 w 1594"/>
                <a:gd name="T57" fmla="*/ 39 h 179"/>
                <a:gd name="T58" fmla="*/ 883 w 1594"/>
                <a:gd name="T59" fmla="*/ 91 h 179"/>
                <a:gd name="T60" fmla="*/ 955 w 1594"/>
                <a:gd name="T61" fmla="*/ 81 h 179"/>
                <a:gd name="T62" fmla="*/ 977 w 1594"/>
                <a:gd name="T63" fmla="*/ 49 h 179"/>
                <a:gd name="T64" fmla="*/ 973 w 1594"/>
                <a:gd name="T65" fmla="*/ 137 h 179"/>
                <a:gd name="T66" fmla="*/ 971 w 1594"/>
                <a:gd name="T67" fmla="*/ 122 h 179"/>
                <a:gd name="T68" fmla="*/ 976 w 1594"/>
                <a:gd name="T69" fmla="*/ 75 h 179"/>
                <a:gd name="T70" fmla="*/ 1127 w 1594"/>
                <a:gd name="T71" fmla="*/ 48 h 179"/>
                <a:gd name="T72" fmla="*/ 1118 w 1594"/>
                <a:gd name="T73" fmla="*/ 75 h 179"/>
                <a:gd name="T74" fmla="*/ 1168 w 1594"/>
                <a:gd name="T75" fmla="*/ 88 h 179"/>
                <a:gd name="T76" fmla="*/ 1213 w 1594"/>
                <a:gd name="T77" fmla="*/ 58 h 179"/>
                <a:gd name="T78" fmla="*/ 1209 w 1594"/>
                <a:gd name="T79" fmla="*/ 94 h 179"/>
                <a:gd name="T80" fmla="*/ 1158 w 1594"/>
                <a:gd name="T81" fmla="*/ 121 h 179"/>
                <a:gd name="T82" fmla="*/ 1247 w 1594"/>
                <a:gd name="T83" fmla="*/ 88 h 179"/>
                <a:gd name="T84" fmla="*/ 1293 w 1594"/>
                <a:gd name="T85" fmla="*/ 58 h 179"/>
                <a:gd name="T86" fmla="*/ 1288 w 1594"/>
                <a:gd name="T87" fmla="*/ 94 h 179"/>
                <a:gd name="T88" fmla="*/ 1238 w 1594"/>
                <a:gd name="T89" fmla="*/ 121 h 179"/>
                <a:gd name="T90" fmla="*/ 1315 w 1594"/>
                <a:gd name="T91" fmla="*/ 56 h 179"/>
                <a:gd name="T92" fmla="*/ 1326 w 1594"/>
                <a:gd name="T93" fmla="*/ 22 h 179"/>
                <a:gd name="T94" fmla="*/ 1336 w 1594"/>
                <a:gd name="T95" fmla="*/ 22 h 179"/>
                <a:gd name="T96" fmla="*/ 1395 w 1594"/>
                <a:gd name="T97" fmla="*/ 0 h 179"/>
                <a:gd name="T98" fmla="*/ 1423 w 1594"/>
                <a:gd name="T99" fmla="*/ 39 h 179"/>
                <a:gd name="T100" fmla="*/ 1381 w 1594"/>
                <a:gd name="T101" fmla="*/ 121 h 179"/>
                <a:gd name="T102" fmla="*/ 1397 w 1594"/>
                <a:gd name="T103" fmla="*/ 63 h 179"/>
                <a:gd name="T104" fmla="*/ 1491 w 1594"/>
                <a:gd name="T105" fmla="*/ 0 h 179"/>
                <a:gd name="T106" fmla="*/ 1482 w 1594"/>
                <a:gd name="T107" fmla="*/ 113 h 179"/>
                <a:gd name="T108" fmla="*/ 1493 w 1594"/>
                <a:gd name="T109" fmla="*/ 136 h 179"/>
                <a:gd name="T110" fmla="*/ 1538 w 1594"/>
                <a:gd name="T111" fmla="*/ 116 h 179"/>
                <a:gd name="T112" fmla="*/ 1535 w 1594"/>
                <a:gd name="T113" fmla="*/ 134 h 179"/>
                <a:gd name="T114" fmla="*/ 1590 w 1594"/>
                <a:gd name="T115" fmla="*/ 75 h 179"/>
                <a:gd name="T116" fmla="*/ 1573 w 1594"/>
                <a:gd name="T117" fmla="*/ 5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4" h="179">
                  <a:moveTo>
                    <a:pt x="0" y="3"/>
                  </a:moveTo>
                  <a:cubicBezTo>
                    <a:pt x="2" y="3"/>
                    <a:pt x="4" y="3"/>
                    <a:pt x="6" y="3"/>
                  </a:cubicBezTo>
                  <a:cubicBezTo>
                    <a:pt x="8" y="3"/>
                    <a:pt x="10" y="3"/>
                    <a:pt x="12" y="3"/>
                  </a:cubicBezTo>
                  <a:cubicBezTo>
                    <a:pt x="15" y="3"/>
                    <a:pt x="18" y="3"/>
                    <a:pt x="20" y="3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7" y="3"/>
                    <a:pt x="69" y="3"/>
                    <a:pt x="71" y="3"/>
                  </a:cubicBezTo>
                  <a:cubicBezTo>
                    <a:pt x="73" y="3"/>
                    <a:pt x="74" y="3"/>
                    <a:pt x="76" y="3"/>
                  </a:cubicBezTo>
                  <a:cubicBezTo>
                    <a:pt x="77" y="3"/>
                    <a:pt x="79" y="3"/>
                    <a:pt x="81" y="3"/>
                  </a:cubicBezTo>
                  <a:cubicBezTo>
                    <a:pt x="82" y="3"/>
                    <a:pt x="84" y="3"/>
                    <a:pt x="85" y="3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4" y="3"/>
                    <a:pt x="138" y="3"/>
                    <a:pt x="141" y="3"/>
                  </a:cubicBezTo>
                  <a:cubicBezTo>
                    <a:pt x="143" y="3"/>
                    <a:pt x="144" y="3"/>
                    <a:pt x="146" y="3"/>
                  </a:cubicBezTo>
                  <a:cubicBezTo>
                    <a:pt x="148" y="3"/>
                    <a:pt x="149" y="3"/>
                    <a:pt x="151" y="3"/>
                  </a:cubicBezTo>
                  <a:cubicBezTo>
                    <a:pt x="99" y="135"/>
                    <a:pt x="99" y="135"/>
                    <a:pt x="99" y="135"/>
                  </a:cubicBezTo>
                  <a:cubicBezTo>
                    <a:pt x="97" y="135"/>
                    <a:pt x="95" y="135"/>
                    <a:pt x="93" y="135"/>
                  </a:cubicBezTo>
                  <a:cubicBezTo>
                    <a:pt x="91" y="136"/>
                    <a:pt x="89" y="136"/>
                    <a:pt x="88" y="136"/>
                  </a:cubicBezTo>
                  <a:cubicBezTo>
                    <a:pt x="86" y="136"/>
                    <a:pt x="84" y="136"/>
                    <a:pt x="82" y="135"/>
                  </a:cubicBezTo>
                  <a:cubicBezTo>
                    <a:pt x="80" y="135"/>
                    <a:pt x="79" y="135"/>
                    <a:pt x="77" y="135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6" y="135"/>
                    <a:pt x="24" y="135"/>
                    <a:pt x="22" y="135"/>
                  </a:cubicBezTo>
                  <a:cubicBezTo>
                    <a:pt x="20" y="136"/>
                    <a:pt x="18" y="136"/>
                    <a:pt x="16" y="136"/>
                  </a:cubicBezTo>
                  <a:cubicBezTo>
                    <a:pt x="15" y="136"/>
                    <a:pt x="13" y="136"/>
                    <a:pt x="11" y="135"/>
                  </a:cubicBezTo>
                  <a:cubicBezTo>
                    <a:pt x="10" y="135"/>
                    <a:pt x="8" y="135"/>
                    <a:pt x="7" y="135"/>
                  </a:cubicBezTo>
                  <a:lnTo>
                    <a:pt x="0" y="3"/>
                  </a:lnTo>
                  <a:close/>
                  <a:moveTo>
                    <a:pt x="160" y="98"/>
                  </a:moveTo>
                  <a:cubicBezTo>
                    <a:pt x="161" y="106"/>
                    <a:pt x="163" y="112"/>
                    <a:pt x="166" y="116"/>
                  </a:cubicBezTo>
                  <a:cubicBezTo>
                    <a:pt x="170" y="120"/>
                    <a:pt x="176" y="122"/>
                    <a:pt x="184" y="122"/>
                  </a:cubicBezTo>
                  <a:cubicBezTo>
                    <a:pt x="189" y="122"/>
                    <a:pt x="194" y="122"/>
                    <a:pt x="198" y="121"/>
                  </a:cubicBezTo>
                  <a:cubicBezTo>
                    <a:pt x="202" y="120"/>
                    <a:pt x="206" y="118"/>
                    <a:pt x="210" y="117"/>
                  </a:cubicBezTo>
                  <a:cubicBezTo>
                    <a:pt x="211" y="119"/>
                    <a:pt x="212" y="121"/>
                    <a:pt x="212" y="124"/>
                  </a:cubicBezTo>
                  <a:cubicBezTo>
                    <a:pt x="213" y="126"/>
                    <a:pt x="213" y="129"/>
                    <a:pt x="213" y="131"/>
                  </a:cubicBezTo>
                  <a:cubicBezTo>
                    <a:pt x="211" y="132"/>
                    <a:pt x="209" y="133"/>
                    <a:pt x="206" y="134"/>
                  </a:cubicBezTo>
                  <a:cubicBezTo>
                    <a:pt x="204" y="134"/>
                    <a:pt x="201" y="135"/>
                    <a:pt x="198" y="135"/>
                  </a:cubicBezTo>
                  <a:cubicBezTo>
                    <a:pt x="195" y="136"/>
                    <a:pt x="192" y="136"/>
                    <a:pt x="189" y="137"/>
                  </a:cubicBezTo>
                  <a:cubicBezTo>
                    <a:pt x="186" y="137"/>
                    <a:pt x="184" y="137"/>
                    <a:pt x="181" y="137"/>
                  </a:cubicBezTo>
                  <a:cubicBezTo>
                    <a:pt x="174" y="137"/>
                    <a:pt x="168" y="136"/>
                    <a:pt x="163" y="134"/>
                  </a:cubicBezTo>
                  <a:cubicBezTo>
                    <a:pt x="158" y="132"/>
                    <a:pt x="154" y="130"/>
                    <a:pt x="151" y="127"/>
                  </a:cubicBezTo>
                  <a:cubicBezTo>
                    <a:pt x="148" y="123"/>
                    <a:pt x="146" y="119"/>
                    <a:pt x="144" y="115"/>
                  </a:cubicBezTo>
                  <a:cubicBezTo>
                    <a:pt x="143" y="110"/>
                    <a:pt x="142" y="105"/>
                    <a:pt x="142" y="100"/>
                  </a:cubicBezTo>
                  <a:cubicBezTo>
                    <a:pt x="142" y="92"/>
                    <a:pt x="143" y="85"/>
                    <a:pt x="146" y="78"/>
                  </a:cubicBezTo>
                  <a:cubicBezTo>
                    <a:pt x="148" y="70"/>
                    <a:pt x="152" y="64"/>
                    <a:pt x="157" y="58"/>
                  </a:cubicBezTo>
                  <a:cubicBezTo>
                    <a:pt x="161" y="52"/>
                    <a:pt x="167" y="48"/>
                    <a:pt x="174" y="44"/>
                  </a:cubicBezTo>
                  <a:cubicBezTo>
                    <a:pt x="180" y="41"/>
                    <a:pt x="187" y="39"/>
                    <a:pt x="195" y="39"/>
                  </a:cubicBezTo>
                  <a:cubicBezTo>
                    <a:pt x="203" y="39"/>
                    <a:pt x="210" y="41"/>
                    <a:pt x="215" y="45"/>
                  </a:cubicBezTo>
                  <a:cubicBezTo>
                    <a:pt x="219" y="49"/>
                    <a:pt x="222" y="54"/>
                    <a:pt x="222" y="61"/>
                  </a:cubicBezTo>
                  <a:cubicBezTo>
                    <a:pt x="222" y="66"/>
                    <a:pt x="220" y="71"/>
                    <a:pt x="218" y="75"/>
                  </a:cubicBezTo>
                  <a:cubicBezTo>
                    <a:pt x="215" y="79"/>
                    <a:pt x="211" y="82"/>
                    <a:pt x="207" y="85"/>
                  </a:cubicBezTo>
                  <a:cubicBezTo>
                    <a:pt x="202" y="88"/>
                    <a:pt x="197" y="90"/>
                    <a:pt x="190" y="92"/>
                  </a:cubicBezTo>
                  <a:cubicBezTo>
                    <a:pt x="184" y="94"/>
                    <a:pt x="177" y="95"/>
                    <a:pt x="170" y="96"/>
                  </a:cubicBezTo>
                  <a:lnTo>
                    <a:pt x="160" y="98"/>
                  </a:lnTo>
                  <a:close/>
                  <a:moveTo>
                    <a:pt x="172" y="82"/>
                  </a:moveTo>
                  <a:cubicBezTo>
                    <a:pt x="178" y="81"/>
                    <a:pt x="183" y="80"/>
                    <a:pt x="187" y="79"/>
                  </a:cubicBezTo>
                  <a:cubicBezTo>
                    <a:pt x="191" y="77"/>
                    <a:pt x="195" y="76"/>
                    <a:pt x="197" y="74"/>
                  </a:cubicBezTo>
                  <a:cubicBezTo>
                    <a:pt x="199" y="72"/>
                    <a:pt x="201" y="71"/>
                    <a:pt x="202" y="69"/>
                  </a:cubicBezTo>
                  <a:cubicBezTo>
                    <a:pt x="203" y="67"/>
                    <a:pt x="204" y="65"/>
                    <a:pt x="204" y="63"/>
                  </a:cubicBezTo>
                  <a:cubicBezTo>
                    <a:pt x="204" y="60"/>
                    <a:pt x="203" y="58"/>
                    <a:pt x="201" y="56"/>
                  </a:cubicBezTo>
                  <a:cubicBezTo>
                    <a:pt x="199" y="54"/>
                    <a:pt x="196" y="53"/>
                    <a:pt x="192" y="53"/>
                  </a:cubicBezTo>
                  <a:cubicBezTo>
                    <a:pt x="188" y="53"/>
                    <a:pt x="185" y="54"/>
                    <a:pt x="182" y="56"/>
                  </a:cubicBezTo>
                  <a:cubicBezTo>
                    <a:pt x="178" y="58"/>
                    <a:pt x="175" y="60"/>
                    <a:pt x="173" y="63"/>
                  </a:cubicBezTo>
                  <a:cubicBezTo>
                    <a:pt x="170" y="66"/>
                    <a:pt x="168" y="69"/>
                    <a:pt x="166" y="73"/>
                  </a:cubicBezTo>
                  <a:cubicBezTo>
                    <a:pt x="164" y="76"/>
                    <a:pt x="163" y="80"/>
                    <a:pt x="162" y="84"/>
                  </a:cubicBezTo>
                  <a:lnTo>
                    <a:pt x="172" y="82"/>
                  </a:lnTo>
                  <a:close/>
                  <a:moveTo>
                    <a:pt x="249" y="39"/>
                  </a:moveTo>
                  <a:cubicBezTo>
                    <a:pt x="250" y="32"/>
                    <a:pt x="251" y="26"/>
                    <a:pt x="252" y="21"/>
                  </a:cubicBezTo>
                  <a:cubicBezTo>
                    <a:pt x="253" y="16"/>
                    <a:pt x="253" y="11"/>
                    <a:pt x="253" y="8"/>
                  </a:cubicBezTo>
                  <a:cubicBezTo>
                    <a:pt x="253" y="6"/>
                    <a:pt x="253" y="5"/>
                    <a:pt x="253" y="4"/>
                  </a:cubicBezTo>
                  <a:cubicBezTo>
                    <a:pt x="253" y="3"/>
                    <a:pt x="253" y="2"/>
                    <a:pt x="253" y="1"/>
                  </a:cubicBezTo>
                  <a:cubicBezTo>
                    <a:pt x="254" y="1"/>
                    <a:pt x="256" y="0"/>
                    <a:pt x="258" y="0"/>
                  </a:cubicBezTo>
                  <a:cubicBezTo>
                    <a:pt x="260" y="0"/>
                    <a:pt x="261" y="0"/>
                    <a:pt x="263" y="0"/>
                  </a:cubicBezTo>
                  <a:cubicBezTo>
                    <a:pt x="264" y="0"/>
                    <a:pt x="265" y="0"/>
                    <a:pt x="267" y="0"/>
                  </a:cubicBezTo>
                  <a:cubicBezTo>
                    <a:pt x="268" y="0"/>
                    <a:pt x="270" y="1"/>
                    <a:pt x="271" y="1"/>
                  </a:cubicBezTo>
                  <a:cubicBezTo>
                    <a:pt x="271" y="2"/>
                    <a:pt x="271" y="3"/>
                    <a:pt x="271" y="4"/>
                  </a:cubicBezTo>
                  <a:cubicBezTo>
                    <a:pt x="271" y="5"/>
                    <a:pt x="271" y="6"/>
                    <a:pt x="271" y="8"/>
                  </a:cubicBezTo>
                  <a:cubicBezTo>
                    <a:pt x="271" y="9"/>
                    <a:pt x="271" y="11"/>
                    <a:pt x="271" y="12"/>
                  </a:cubicBezTo>
                  <a:cubicBezTo>
                    <a:pt x="271" y="14"/>
                    <a:pt x="271" y="16"/>
                    <a:pt x="271" y="18"/>
                  </a:cubicBezTo>
                  <a:cubicBezTo>
                    <a:pt x="270" y="20"/>
                    <a:pt x="270" y="23"/>
                    <a:pt x="270" y="25"/>
                  </a:cubicBezTo>
                  <a:cubicBezTo>
                    <a:pt x="269" y="27"/>
                    <a:pt x="269" y="29"/>
                    <a:pt x="269" y="31"/>
                  </a:cubicBezTo>
                  <a:cubicBezTo>
                    <a:pt x="254" y="108"/>
                    <a:pt x="254" y="108"/>
                    <a:pt x="254" y="108"/>
                  </a:cubicBezTo>
                  <a:cubicBezTo>
                    <a:pt x="254" y="110"/>
                    <a:pt x="254" y="112"/>
                    <a:pt x="254" y="113"/>
                  </a:cubicBezTo>
                  <a:cubicBezTo>
                    <a:pt x="254" y="115"/>
                    <a:pt x="254" y="117"/>
                    <a:pt x="254" y="118"/>
                  </a:cubicBezTo>
                  <a:cubicBezTo>
                    <a:pt x="255" y="119"/>
                    <a:pt x="256" y="120"/>
                    <a:pt x="257" y="120"/>
                  </a:cubicBezTo>
                  <a:cubicBezTo>
                    <a:pt x="257" y="121"/>
                    <a:pt x="258" y="121"/>
                    <a:pt x="259" y="122"/>
                  </a:cubicBezTo>
                  <a:cubicBezTo>
                    <a:pt x="260" y="122"/>
                    <a:pt x="261" y="122"/>
                    <a:pt x="262" y="122"/>
                  </a:cubicBezTo>
                  <a:cubicBezTo>
                    <a:pt x="264" y="122"/>
                    <a:pt x="265" y="122"/>
                    <a:pt x="266" y="121"/>
                  </a:cubicBezTo>
                  <a:cubicBezTo>
                    <a:pt x="268" y="121"/>
                    <a:pt x="269" y="121"/>
                    <a:pt x="270" y="121"/>
                  </a:cubicBezTo>
                  <a:cubicBezTo>
                    <a:pt x="271" y="124"/>
                    <a:pt x="271" y="128"/>
                    <a:pt x="271" y="132"/>
                  </a:cubicBezTo>
                  <a:cubicBezTo>
                    <a:pt x="271" y="132"/>
                    <a:pt x="271" y="133"/>
                    <a:pt x="271" y="133"/>
                  </a:cubicBezTo>
                  <a:cubicBezTo>
                    <a:pt x="271" y="134"/>
                    <a:pt x="271" y="134"/>
                    <a:pt x="271" y="134"/>
                  </a:cubicBezTo>
                  <a:cubicBezTo>
                    <a:pt x="269" y="135"/>
                    <a:pt x="267" y="136"/>
                    <a:pt x="265" y="136"/>
                  </a:cubicBezTo>
                  <a:cubicBezTo>
                    <a:pt x="262" y="136"/>
                    <a:pt x="259" y="136"/>
                    <a:pt x="257" y="136"/>
                  </a:cubicBezTo>
                  <a:cubicBezTo>
                    <a:pt x="254" y="136"/>
                    <a:pt x="251" y="136"/>
                    <a:pt x="248" y="135"/>
                  </a:cubicBezTo>
                  <a:cubicBezTo>
                    <a:pt x="245" y="135"/>
                    <a:pt x="243" y="134"/>
                    <a:pt x="241" y="132"/>
                  </a:cubicBezTo>
                  <a:cubicBezTo>
                    <a:pt x="239" y="131"/>
                    <a:pt x="238" y="128"/>
                    <a:pt x="237" y="126"/>
                  </a:cubicBezTo>
                  <a:cubicBezTo>
                    <a:pt x="236" y="123"/>
                    <a:pt x="235" y="120"/>
                    <a:pt x="235" y="116"/>
                  </a:cubicBezTo>
                  <a:cubicBezTo>
                    <a:pt x="235" y="114"/>
                    <a:pt x="236" y="111"/>
                    <a:pt x="236" y="109"/>
                  </a:cubicBezTo>
                  <a:cubicBezTo>
                    <a:pt x="237" y="106"/>
                    <a:pt x="237" y="104"/>
                    <a:pt x="238" y="101"/>
                  </a:cubicBezTo>
                  <a:lnTo>
                    <a:pt x="249" y="39"/>
                  </a:lnTo>
                  <a:close/>
                  <a:moveTo>
                    <a:pt x="348" y="119"/>
                  </a:moveTo>
                  <a:cubicBezTo>
                    <a:pt x="349" y="120"/>
                    <a:pt x="349" y="122"/>
                    <a:pt x="350" y="125"/>
                  </a:cubicBezTo>
                  <a:cubicBezTo>
                    <a:pt x="351" y="127"/>
                    <a:pt x="351" y="130"/>
                    <a:pt x="351" y="133"/>
                  </a:cubicBezTo>
                  <a:cubicBezTo>
                    <a:pt x="347" y="134"/>
                    <a:pt x="343" y="135"/>
                    <a:pt x="339" y="136"/>
                  </a:cubicBezTo>
                  <a:cubicBezTo>
                    <a:pt x="334" y="137"/>
                    <a:pt x="330" y="137"/>
                    <a:pt x="326" y="137"/>
                  </a:cubicBezTo>
                  <a:cubicBezTo>
                    <a:pt x="312" y="137"/>
                    <a:pt x="303" y="134"/>
                    <a:pt x="296" y="127"/>
                  </a:cubicBezTo>
                  <a:cubicBezTo>
                    <a:pt x="290" y="121"/>
                    <a:pt x="287" y="112"/>
                    <a:pt x="287" y="100"/>
                  </a:cubicBezTo>
                  <a:cubicBezTo>
                    <a:pt x="287" y="92"/>
                    <a:pt x="288" y="85"/>
                    <a:pt x="290" y="78"/>
                  </a:cubicBezTo>
                  <a:cubicBezTo>
                    <a:pt x="293" y="71"/>
                    <a:pt x="296" y="64"/>
                    <a:pt x="301" y="58"/>
                  </a:cubicBezTo>
                  <a:cubicBezTo>
                    <a:pt x="306" y="52"/>
                    <a:pt x="311" y="48"/>
                    <a:pt x="318" y="44"/>
                  </a:cubicBezTo>
                  <a:cubicBezTo>
                    <a:pt x="325" y="41"/>
                    <a:pt x="333" y="39"/>
                    <a:pt x="341" y="39"/>
                  </a:cubicBezTo>
                  <a:cubicBezTo>
                    <a:pt x="345" y="39"/>
                    <a:pt x="349" y="39"/>
                    <a:pt x="353" y="40"/>
                  </a:cubicBezTo>
                  <a:cubicBezTo>
                    <a:pt x="357" y="41"/>
                    <a:pt x="360" y="42"/>
                    <a:pt x="363" y="43"/>
                  </a:cubicBezTo>
                  <a:cubicBezTo>
                    <a:pt x="362" y="45"/>
                    <a:pt x="362" y="47"/>
                    <a:pt x="361" y="50"/>
                  </a:cubicBezTo>
                  <a:cubicBezTo>
                    <a:pt x="360" y="53"/>
                    <a:pt x="359" y="55"/>
                    <a:pt x="358" y="57"/>
                  </a:cubicBezTo>
                  <a:cubicBezTo>
                    <a:pt x="355" y="56"/>
                    <a:pt x="353" y="56"/>
                    <a:pt x="350" y="55"/>
                  </a:cubicBezTo>
                  <a:cubicBezTo>
                    <a:pt x="347" y="54"/>
                    <a:pt x="344" y="54"/>
                    <a:pt x="341" y="54"/>
                  </a:cubicBezTo>
                  <a:cubicBezTo>
                    <a:pt x="335" y="54"/>
                    <a:pt x="330" y="55"/>
                    <a:pt x="325" y="58"/>
                  </a:cubicBezTo>
                  <a:cubicBezTo>
                    <a:pt x="321" y="60"/>
                    <a:pt x="317" y="64"/>
                    <a:pt x="314" y="68"/>
                  </a:cubicBezTo>
                  <a:cubicBezTo>
                    <a:pt x="311" y="72"/>
                    <a:pt x="309" y="77"/>
                    <a:pt x="308" y="82"/>
                  </a:cubicBezTo>
                  <a:cubicBezTo>
                    <a:pt x="306" y="88"/>
                    <a:pt x="306" y="93"/>
                    <a:pt x="306" y="98"/>
                  </a:cubicBezTo>
                  <a:cubicBezTo>
                    <a:pt x="306" y="106"/>
                    <a:pt x="308" y="112"/>
                    <a:pt x="312" y="116"/>
                  </a:cubicBezTo>
                  <a:cubicBezTo>
                    <a:pt x="316" y="120"/>
                    <a:pt x="321" y="122"/>
                    <a:pt x="329" y="122"/>
                  </a:cubicBezTo>
                  <a:cubicBezTo>
                    <a:pt x="332" y="122"/>
                    <a:pt x="335" y="122"/>
                    <a:pt x="338" y="121"/>
                  </a:cubicBezTo>
                  <a:cubicBezTo>
                    <a:pt x="341" y="121"/>
                    <a:pt x="344" y="120"/>
                    <a:pt x="348" y="119"/>
                  </a:cubicBezTo>
                  <a:close/>
                  <a:moveTo>
                    <a:pt x="402" y="137"/>
                  </a:moveTo>
                  <a:cubicBezTo>
                    <a:pt x="391" y="137"/>
                    <a:pt x="382" y="134"/>
                    <a:pt x="377" y="128"/>
                  </a:cubicBezTo>
                  <a:cubicBezTo>
                    <a:pt x="371" y="122"/>
                    <a:pt x="368" y="113"/>
                    <a:pt x="368" y="101"/>
                  </a:cubicBezTo>
                  <a:cubicBezTo>
                    <a:pt x="368" y="94"/>
                    <a:pt x="369" y="87"/>
                    <a:pt x="371" y="80"/>
                  </a:cubicBezTo>
                  <a:cubicBezTo>
                    <a:pt x="373" y="73"/>
                    <a:pt x="377" y="66"/>
                    <a:pt x="381" y="60"/>
                  </a:cubicBezTo>
                  <a:cubicBezTo>
                    <a:pt x="385" y="54"/>
                    <a:pt x="391" y="49"/>
                    <a:pt x="397" y="45"/>
                  </a:cubicBezTo>
                  <a:cubicBezTo>
                    <a:pt x="404" y="41"/>
                    <a:pt x="411" y="39"/>
                    <a:pt x="420" y="39"/>
                  </a:cubicBezTo>
                  <a:cubicBezTo>
                    <a:pt x="432" y="39"/>
                    <a:pt x="440" y="42"/>
                    <a:pt x="446" y="48"/>
                  </a:cubicBezTo>
                  <a:cubicBezTo>
                    <a:pt x="452" y="55"/>
                    <a:pt x="455" y="64"/>
                    <a:pt x="455" y="75"/>
                  </a:cubicBezTo>
                  <a:cubicBezTo>
                    <a:pt x="455" y="82"/>
                    <a:pt x="454" y="89"/>
                    <a:pt x="452" y="96"/>
                  </a:cubicBezTo>
                  <a:cubicBezTo>
                    <a:pt x="450" y="104"/>
                    <a:pt x="446" y="110"/>
                    <a:pt x="442" y="116"/>
                  </a:cubicBezTo>
                  <a:cubicBezTo>
                    <a:pt x="438" y="123"/>
                    <a:pt x="432" y="127"/>
                    <a:pt x="426" y="131"/>
                  </a:cubicBezTo>
                  <a:cubicBezTo>
                    <a:pt x="419" y="135"/>
                    <a:pt x="411" y="137"/>
                    <a:pt x="402" y="137"/>
                  </a:cubicBezTo>
                  <a:close/>
                  <a:moveTo>
                    <a:pt x="404" y="123"/>
                  </a:moveTo>
                  <a:cubicBezTo>
                    <a:pt x="410" y="123"/>
                    <a:pt x="415" y="121"/>
                    <a:pt x="419" y="118"/>
                  </a:cubicBezTo>
                  <a:cubicBezTo>
                    <a:pt x="423" y="115"/>
                    <a:pt x="426" y="111"/>
                    <a:pt x="429" y="106"/>
                  </a:cubicBezTo>
                  <a:cubicBezTo>
                    <a:pt x="431" y="102"/>
                    <a:pt x="433" y="96"/>
                    <a:pt x="435" y="91"/>
                  </a:cubicBezTo>
                  <a:cubicBezTo>
                    <a:pt x="436" y="85"/>
                    <a:pt x="436" y="80"/>
                    <a:pt x="436" y="75"/>
                  </a:cubicBezTo>
                  <a:cubicBezTo>
                    <a:pt x="436" y="68"/>
                    <a:pt x="435" y="63"/>
                    <a:pt x="432" y="59"/>
                  </a:cubicBezTo>
                  <a:cubicBezTo>
                    <a:pt x="429" y="56"/>
                    <a:pt x="424" y="54"/>
                    <a:pt x="418" y="54"/>
                  </a:cubicBezTo>
                  <a:cubicBezTo>
                    <a:pt x="413" y="54"/>
                    <a:pt x="408" y="55"/>
                    <a:pt x="404" y="58"/>
                  </a:cubicBezTo>
                  <a:cubicBezTo>
                    <a:pt x="400" y="62"/>
                    <a:pt x="397" y="66"/>
                    <a:pt x="394" y="70"/>
                  </a:cubicBezTo>
                  <a:cubicBezTo>
                    <a:pt x="391" y="75"/>
                    <a:pt x="390" y="80"/>
                    <a:pt x="388" y="86"/>
                  </a:cubicBezTo>
                  <a:cubicBezTo>
                    <a:pt x="387" y="91"/>
                    <a:pt x="387" y="97"/>
                    <a:pt x="387" y="101"/>
                  </a:cubicBezTo>
                  <a:cubicBezTo>
                    <a:pt x="387" y="108"/>
                    <a:pt x="388" y="114"/>
                    <a:pt x="391" y="117"/>
                  </a:cubicBezTo>
                  <a:cubicBezTo>
                    <a:pt x="394" y="121"/>
                    <a:pt x="398" y="123"/>
                    <a:pt x="404" y="123"/>
                  </a:cubicBezTo>
                  <a:close/>
                  <a:moveTo>
                    <a:pt x="476" y="81"/>
                  </a:moveTo>
                  <a:cubicBezTo>
                    <a:pt x="478" y="73"/>
                    <a:pt x="479" y="67"/>
                    <a:pt x="480" y="62"/>
                  </a:cubicBezTo>
                  <a:cubicBezTo>
                    <a:pt x="480" y="57"/>
                    <a:pt x="481" y="52"/>
                    <a:pt x="481" y="48"/>
                  </a:cubicBezTo>
                  <a:cubicBezTo>
                    <a:pt x="481" y="46"/>
                    <a:pt x="481" y="45"/>
                    <a:pt x="481" y="44"/>
                  </a:cubicBezTo>
                  <a:cubicBezTo>
                    <a:pt x="481" y="43"/>
                    <a:pt x="481" y="42"/>
                    <a:pt x="480" y="41"/>
                  </a:cubicBezTo>
                  <a:cubicBezTo>
                    <a:pt x="482" y="41"/>
                    <a:pt x="483" y="40"/>
                    <a:pt x="485" y="40"/>
                  </a:cubicBezTo>
                  <a:cubicBezTo>
                    <a:pt x="486" y="40"/>
                    <a:pt x="488" y="40"/>
                    <a:pt x="489" y="40"/>
                  </a:cubicBezTo>
                  <a:cubicBezTo>
                    <a:pt x="490" y="40"/>
                    <a:pt x="492" y="40"/>
                    <a:pt x="493" y="40"/>
                  </a:cubicBezTo>
                  <a:cubicBezTo>
                    <a:pt x="495" y="40"/>
                    <a:pt x="496" y="41"/>
                    <a:pt x="497" y="41"/>
                  </a:cubicBezTo>
                  <a:cubicBezTo>
                    <a:pt x="498" y="42"/>
                    <a:pt x="498" y="43"/>
                    <a:pt x="498" y="44"/>
                  </a:cubicBezTo>
                  <a:cubicBezTo>
                    <a:pt x="498" y="45"/>
                    <a:pt x="498" y="47"/>
                    <a:pt x="498" y="49"/>
                  </a:cubicBezTo>
                  <a:cubicBezTo>
                    <a:pt x="498" y="50"/>
                    <a:pt x="498" y="52"/>
                    <a:pt x="498" y="53"/>
                  </a:cubicBezTo>
                  <a:cubicBezTo>
                    <a:pt x="498" y="55"/>
                    <a:pt x="498" y="56"/>
                    <a:pt x="497" y="57"/>
                  </a:cubicBezTo>
                  <a:cubicBezTo>
                    <a:pt x="501" y="52"/>
                    <a:pt x="505" y="48"/>
                    <a:pt x="510" y="44"/>
                  </a:cubicBezTo>
                  <a:cubicBezTo>
                    <a:pt x="516" y="41"/>
                    <a:pt x="522" y="39"/>
                    <a:pt x="529" y="39"/>
                  </a:cubicBezTo>
                  <a:cubicBezTo>
                    <a:pt x="536" y="39"/>
                    <a:pt x="541" y="41"/>
                    <a:pt x="544" y="44"/>
                  </a:cubicBezTo>
                  <a:cubicBezTo>
                    <a:pt x="548" y="47"/>
                    <a:pt x="550" y="52"/>
                    <a:pt x="550" y="58"/>
                  </a:cubicBezTo>
                  <a:cubicBezTo>
                    <a:pt x="554" y="52"/>
                    <a:pt x="558" y="48"/>
                    <a:pt x="564" y="44"/>
                  </a:cubicBezTo>
                  <a:cubicBezTo>
                    <a:pt x="570" y="41"/>
                    <a:pt x="576" y="39"/>
                    <a:pt x="583" y="39"/>
                  </a:cubicBezTo>
                  <a:cubicBezTo>
                    <a:pt x="597" y="39"/>
                    <a:pt x="604" y="47"/>
                    <a:pt x="604" y="63"/>
                  </a:cubicBezTo>
                  <a:cubicBezTo>
                    <a:pt x="604" y="65"/>
                    <a:pt x="604" y="67"/>
                    <a:pt x="604" y="69"/>
                  </a:cubicBezTo>
                  <a:cubicBezTo>
                    <a:pt x="604" y="71"/>
                    <a:pt x="603" y="73"/>
                    <a:pt x="603" y="76"/>
                  </a:cubicBezTo>
                  <a:cubicBezTo>
                    <a:pt x="592" y="135"/>
                    <a:pt x="592" y="135"/>
                    <a:pt x="592" y="135"/>
                  </a:cubicBezTo>
                  <a:cubicBezTo>
                    <a:pt x="591" y="135"/>
                    <a:pt x="590" y="135"/>
                    <a:pt x="588" y="136"/>
                  </a:cubicBezTo>
                  <a:cubicBezTo>
                    <a:pt x="586" y="136"/>
                    <a:pt x="585" y="136"/>
                    <a:pt x="583" y="136"/>
                  </a:cubicBezTo>
                  <a:cubicBezTo>
                    <a:pt x="582" y="136"/>
                    <a:pt x="580" y="136"/>
                    <a:pt x="579" y="136"/>
                  </a:cubicBezTo>
                  <a:cubicBezTo>
                    <a:pt x="577" y="135"/>
                    <a:pt x="576" y="135"/>
                    <a:pt x="575" y="135"/>
                  </a:cubicBezTo>
                  <a:cubicBezTo>
                    <a:pt x="584" y="79"/>
                    <a:pt x="584" y="79"/>
                    <a:pt x="584" y="79"/>
                  </a:cubicBezTo>
                  <a:cubicBezTo>
                    <a:pt x="585" y="77"/>
                    <a:pt x="585" y="75"/>
                    <a:pt x="585" y="73"/>
                  </a:cubicBezTo>
                  <a:cubicBezTo>
                    <a:pt x="585" y="71"/>
                    <a:pt x="586" y="69"/>
                    <a:pt x="586" y="68"/>
                  </a:cubicBezTo>
                  <a:cubicBezTo>
                    <a:pt x="586" y="63"/>
                    <a:pt x="585" y="60"/>
                    <a:pt x="583" y="58"/>
                  </a:cubicBezTo>
                  <a:cubicBezTo>
                    <a:pt x="581" y="56"/>
                    <a:pt x="578" y="55"/>
                    <a:pt x="574" y="55"/>
                  </a:cubicBezTo>
                  <a:cubicBezTo>
                    <a:pt x="571" y="55"/>
                    <a:pt x="569" y="55"/>
                    <a:pt x="566" y="56"/>
                  </a:cubicBezTo>
                  <a:cubicBezTo>
                    <a:pt x="563" y="58"/>
                    <a:pt x="561" y="60"/>
                    <a:pt x="558" y="63"/>
                  </a:cubicBezTo>
                  <a:cubicBezTo>
                    <a:pt x="556" y="66"/>
                    <a:pt x="553" y="69"/>
                    <a:pt x="551" y="74"/>
                  </a:cubicBezTo>
                  <a:cubicBezTo>
                    <a:pt x="549" y="79"/>
                    <a:pt x="548" y="85"/>
                    <a:pt x="546" y="92"/>
                  </a:cubicBezTo>
                  <a:cubicBezTo>
                    <a:pt x="539" y="135"/>
                    <a:pt x="539" y="135"/>
                    <a:pt x="539" y="135"/>
                  </a:cubicBezTo>
                  <a:cubicBezTo>
                    <a:pt x="537" y="135"/>
                    <a:pt x="536" y="135"/>
                    <a:pt x="534" y="136"/>
                  </a:cubicBezTo>
                  <a:cubicBezTo>
                    <a:pt x="532" y="136"/>
                    <a:pt x="531" y="136"/>
                    <a:pt x="529" y="136"/>
                  </a:cubicBezTo>
                  <a:cubicBezTo>
                    <a:pt x="528" y="136"/>
                    <a:pt x="527" y="136"/>
                    <a:pt x="525" y="136"/>
                  </a:cubicBezTo>
                  <a:cubicBezTo>
                    <a:pt x="523" y="135"/>
                    <a:pt x="522" y="135"/>
                    <a:pt x="521" y="135"/>
                  </a:cubicBezTo>
                  <a:cubicBezTo>
                    <a:pt x="531" y="79"/>
                    <a:pt x="531" y="79"/>
                    <a:pt x="531" y="79"/>
                  </a:cubicBezTo>
                  <a:cubicBezTo>
                    <a:pt x="531" y="77"/>
                    <a:pt x="531" y="75"/>
                    <a:pt x="531" y="73"/>
                  </a:cubicBezTo>
                  <a:cubicBezTo>
                    <a:pt x="532" y="71"/>
                    <a:pt x="532" y="69"/>
                    <a:pt x="532" y="68"/>
                  </a:cubicBezTo>
                  <a:cubicBezTo>
                    <a:pt x="532" y="63"/>
                    <a:pt x="531" y="60"/>
                    <a:pt x="529" y="58"/>
                  </a:cubicBezTo>
                  <a:cubicBezTo>
                    <a:pt x="527" y="56"/>
                    <a:pt x="524" y="55"/>
                    <a:pt x="520" y="55"/>
                  </a:cubicBezTo>
                  <a:cubicBezTo>
                    <a:pt x="518" y="55"/>
                    <a:pt x="515" y="55"/>
                    <a:pt x="512" y="56"/>
                  </a:cubicBezTo>
                  <a:cubicBezTo>
                    <a:pt x="509" y="58"/>
                    <a:pt x="507" y="60"/>
                    <a:pt x="504" y="63"/>
                  </a:cubicBezTo>
                  <a:cubicBezTo>
                    <a:pt x="502" y="66"/>
                    <a:pt x="499" y="70"/>
                    <a:pt x="497" y="75"/>
                  </a:cubicBezTo>
                  <a:cubicBezTo>
                    <a:pt x="495" y="80"/>
                    <a:pt x="493" y="87"/>
                    <a:pt x="492" y="94"/>
                  </a:cubicBezTo>
                  <a:cubicBezTo>
                    <a:pt x="485" y="135"/>
                    <a:pt x="485" y="135"/>
                    <a:pt x="485" y="135"/>
                  </a:cubicBezTo>
                  <a:cubicBezTo>
                    <a:pt x="483" y="135"/>
                    <a:pt x="482" y="135"/>
                    <a:pt x="480" y="136"/>
                  </a:cubicBezTo>
                  <a:cubicBezTo>
                    <a:pt x="478" y="136"/>
                    <a:pt x="477" y="136"/>
                    <a:pt x="475" y="136"/>
                  </a:cubicBezTo>
                  <a:cubicBezTo>
                    <a:pt x="474" y="136"/>
                    <a:pt x="473" y="136"/>
                    <a:pt x="471" y="136"/>
                  </a:cubicBezTo>
                  <a:cubicBezTo>
                    <a:pt x="469" y="135"/>
                    <a:pt x="468" y="135"/>
                    <a:pt x="467" y="135"/>
                  </a:cubicBezTo>
                  <a:lnTo>
                    <a:pt x="476" y="81"/>
                  </a:lnTo>
                  <a:close/>
                  <a:moveTo>
                    <a:pt x="638" y="98"/>
                  </a:moveTo>
                  <a:cubicBezTo>
                    <a:pt x="639" y="106"/>
                    <a:pt x="641" y="112"/>
                    <a:pt x="644" y="116"/>
                  </a:cubicBezTo>
                  <a:cubicBezTo>
                    <a:pt x="648" y="120"/>
                    <a:pt x="654" y="122"/>
                    <a:pt x="662" y="122"/>
                  </a:cubicBezTo>
                  <a:cubicBezTo>
                    <a:pt x="667" y="122"/>
                    <a:pt x="672" y="122"/>
                    <a:pt x="676" y="121"/>
                  </a:cubicBezTo>
                  <a:cubicBezTo>
                    <a:pt x="680" y="120"/>
                    <a:pt x="684" y="118"/>
                    <a:pt x="688" y="117"/>
                  </a:cubicBezTo>
                  <a:cubicBezTo>
                    <a:pt x="689" y="119"/>
                    <a:pt x="690" y="121"/>
                    <a:pt x="690" y="124"/>
                  </a:cubicBezTo>
                  <a:cubicBezTo>
                    <a:pt x="691" y="126"/>
                    <a:pt x="691" y="129"/>
                    <a:pt x="691" y="131"/>
                  </a:cubicBezTo>
                  <a:cubicBezTo>
                    <a:pt x="689" y="132"/>
                    <a:pt x="687" y="133"/>
                    <a:pt x="684" y="134"/>
                  </a:cubicBezTo>
                  <a:cubicBezTo>
                    <a:pt x="682" y="134"/>
                    <a:pt x="679" y="135"/>
                    <a:pt x="676" y="135"/>
                  </a:cubicBezTo>
                  <a:cubicBezTo>
                    <a:pt x="673" y="136"/>
                    <a:pt x="670" y="136"/>
                    <a:pt x="667" y="137"/>
                  </a:cubicBezTo>
                  <a:cubicBezTo>
                    <a:pt x="664" y="137"/>
                    <a:pt x="662" y="137"/>
                    <a:pt x="659" y="137"/>
                  </a:cubicBezTo>
                  <a:cubicBezTo>
                    <a:pt x="652" y="137"/>
                    <a:pt x="646" y="136"/>
                    <a:pt x="641" y="134"/>
                  </a:cubicBezTo>
                  <a:cubicBezTo>
                    <a:pt x="636" y="132"/>
                    <a:pt x="632" y="130"/>
                    <a:pt x="629" y="127"/>
                  </a:cubicBezTo>
                  <a:cubicBezTo>
                    <a:pt x="626" y="123"/>
                    <a:pt x="624" y="119"/>
                    <a:pt x="622" y="115"/>
                  </a:cubicBezTo>
                  <a:cubicBezTo>
                    <a:pt x="621" y="110"/>
                    <a:pt x="620" y="105"/>
                    <a:pt x="620" y="100"/>
                  </a:cubicBezTo>
                  <a:cubicBezTo>
                    <a:pt x="620" y="92"/>
                    <a:pt x="621" y="85"/>
                    <a:pt x="624" y="78"/>
                  </a:cubicBezTo>
                  <a:cubicBezTo>
                    <a:pt x="626" y="70"/>
                    <a:pt x="630" y="64"/>
                    <a:pt x="635" y="58"/>
                  </a:cubicBezTo>
                  <a:cubicBezTo>
                    <a:pt x="639" y="52"/>
                    <a:pt x="645" y="48"/>
                    <a:pt x="652" y="44"/>
                  </a:cubicBezTo>
                  <a:cubicBezTo>
                    <a:pt x="658" y="41"/>
                    <a:pt x="665" y="39"/>
                    <a:pt x="673" y="39"/>
                  </a:cubicBezTo>
                  <a:cubicBezTo>
                    <a:pt x="681" y="39"/>
                    <a:pt x="688" y="41"/>
                    <a:pt x="693" y="45"/>
                  </a:cubicBezTo>
                  <a:cubicBezTo>
                    <a:pt x="697" y="49"/>
                    <a:pt x="700" y="54"/>
                    <a:pt x="700" y="61"/>
                  </a:cubicBezTo>
                  <a:cubicBezTo>
                    <a:pt x="700" y="66"/>
                    <a:pt x="698" y="71"/>
                    <a:pt x="696" y="75"/>
                  </a:cubicBezTo>
                  <a:cubicBezTo>
                    <a:pt x="693" y="79"/>
                    <a:pt x="689" y="82"/>
                    <a:pt x="685" y="85"/>
                  </a:cubicBezTo>
                  <a:cubicBezTo>
                    <a:pt x="680" y="88"/>
                    <a:pt x="675" y="90"/>
                    <a:pt x="668" y="92"/>
                  </a:cubicBezTo>
                  <a:cubicBezTo>
                    <a:pt x="662" y="94"/>
                    <a:pt x="655" y="95"/>
                    <a:pt x="648" y="96"/>
                  </a:cubicBezTo>
                  <a:lnTo>
                    <a:pt x="638" y="98"/>
                  </a:lnTo>
                  <a:close/>
                  <a:moveTo>
                    <a:pt x="650" y="82"/>
                  </a:moveTo>
                  <a:cubicBezTo>
                    <a:pt x="656" y="81"/>
                    <a:pt x="661" y="80"/>
                    <a:pt x="665" y="79"/>
                  </a:cubicBezTo>
                  <a:cubicBezTo>
                    <a:pt x="669" y="77"/>
                    <a:pt x="673" y="76"/>
                    <a:pt x="675" y="74"/>
                  </a:cubicBezTo>
                  <a:cubicBezTo>
                    <a:pt x="678" y="72"/>
                    <a:pt x="679" y="71"/>
                    <a:pt x="680" y="69"/>
                  </a:cubicBezTo>
                  <a:cubicBezTo>
                    <a:pt x="681" y="67"/>
                    <a:pt x="682" y="65"/>
                    <a:pt x="682" y="63"/>
                  </a:cubicBezTo>
                  <a:cubicBezTo>
                    <a:pt x="682" y="60"/>
                    <a:pt x="681" y="58"/>
                    <a:pt x="679" y="56"/>
                  </a:cubicBezTo>
                  <a:cubicBezTo>
                    <a:pt x="677" y="54"/>
                    <a:pt x="674" y="53"/>
                    <a:pt x="670" y="53"/>
                  </a:cubicBezTo>
                  <a:cubicBezTo>
                    <a:pt x="666" y="53"/>
                    <a:pt x="663" y="54"/>
                    <a:pt x="660" y="56"/>
                  </a:cubicBezTo>
                  <a:cubicBezTo>
                    <a:pt x="656" y="58"/>
                    <a:pt x="653" y="60"/>
                    <a:pt x="651" y="63"/>
                  </a:cubicBezTo>
                  <a:cubicBezTo>
                    <a:pt x="648" y="66"/>
                    <a:pt x="646" y="69"/>
                    <a:pt x="644" y="73"/>
                  </a:cubicBezTo>
                  <a:cubicBezTo>
                    <a:pt x="642" y="76"/>
                    <a:pt x="641" y="80"/>
                    <a:pt x="640" y="84"/>
                  </a:cubicBezTo>
                  <a:lnTo>
                    <a:pt x="650" y="82"/>
                  </a:lnTo>
                  <a:close/>
                  <a:moveTo>
                    <a:pt x="770" y="56"/>
                  </a:moveTo>
                  <a:cubicBezTo>
                    <a:pt x="755" y="56"/>
                    <a:pt x="755" y="56"/>
                    <a:pt x="755" y="56"/>
                  </a:cubicBezTo>
                  <a:cubicBezTo>
                    <a:pt x="755" y="53"/>
                    <a:pt x="755" y="51"/>
                    <a:pt x="755" y="49"/>
                  </a:cubicBezTo>
                  <a:cubicBezTo>
                    <a:pt x="756" y="46"/>
                    <a:pt x="756" y="44"/>
                    <a:pt x="757" y="41"/>
                  </a:cubicBezTo>
                  <a:cubicBezTo>
                    <a:pt x="772" y="41"/>
                    <a:pt x="772" y="41"/>
                    <a:pt x="772" y="41"/>
                  </a:cubicBezTo>
                  <a:cubicBezTo>
                    <a:pt x="773" y="38"/>
                    <a:pt x="773" y="35"/>
                    <a:pt x="774" y="31"/>
                  </a:cubicBezTo>
                  <a:cubicBezTo>
                    <a:pt x="774" y="28"/>
                    <a:pt x="774" y="25"/>
                    <a:pt x="774" y="21"/>
                  </a:cubicBezTo>
                  <a:cubicBezTo>
                    <a:pt x="774" y="18"/>
                    <a:pt x="774" y="18"/>
                    <a:pt x="774" y="18"/>
                  </a:cubicBezTo>
                  <a:cubicBezTo>
                    <a:pt x="777" y="17"/>
                    <a:pt x="780" y="16"/>
                    <a:pt x="783" y="15"/>
                  </a:cubicBezTo>
                  <a:cubicBezTo>
                    <a:pt x="787" y="15"/>
                    <a:pt x="789" y="15"/>
                    <a:pt x="792" y="15"/>
                  </a:cubicBezTo>
                  <a:cubicBezTo>
                    <a:pt x="792" y="16"/>
                    <a:pt x="792" y="17"/>
                    <a:pt x="792" y="18"/>
                  </a:cubicBezTo>
                  <a:cubicBezTo>
                    <a:pt x="792" y="19"/>
                    <a:pt x="792" y="20"/>
                    <a:pt x="792" y="21"/>
                  </a:cubicBezTo>
                  <a:cubicBezTo>
                    <a:pt x="792" y="25"/>
                    <a:pt x="792" y="30"/>
                    <a:pt x="791" y="35"/>
                  </a:cubicBezTo>
                  <a:cubicBezTo>
                    <a:pt x="790" y="41"/>
                    <a:pt x="790" y="41"/>
                    <a:pt x="790" y="41"/>
                  </a:cubicBezTo>
                  <a:cubicBezTo>
                    <a:pt x="813" y="41"/>
                    <a:pt x="813" y="41"/>
                    <a:pt x="813" y="41"/>
                  </a:cubicBezTo>
                  <a:cubicBezTo>
                    <a:pt x="813" y="44"/>
                    <a:pt x="813" y="46"/>
                    <a:pt x="813" y="49"/>
                  </a:cubicBezTo>
                  <a:cubicBezTo>
                    <a:pt x="812" y="51"/>
                    <a:pt x="812" y="53"/>
                    <a:pt x="811" y="56"/>
                  </a:cubicBezTo>
                  <a:cubicBezTo>
                    <a:pt x="787" y="56"/>
                    <a:pt x="787" y="56"/>
                    <a:pt x="787" y="56"/>
                  </a:cubicBezTo>
                  <a:cubicBezTo>
                    <a:pt x="780" y="95"/>
                    <a:pt x="780" y="95"/>
                    <a:pt x="780" y="95"/>
                  </a:cubicBezTo>
                  <a:cubicBezTo>
                    <a:pt x="780" y="98"/>
                    <a:pt x="779" y="101"/>
                    <a:pt x="779" y="104"/>
                  </a:cubicBezTo>
                  <a:cubicBezTo>
                    <a:pt x="778" y="107"/>
                    <a:pt x="778" y="110"/>
                    <a:pt x="778" y="112"/>
                  </a:cubicBezTo>
                  <a:cubicBezTo>
                    <a:pt x="778" y="116"/>
                    <a:pt x="779" y="118"/>
                    <a:pt x="781" y="120"/>
                  </a:cubicBezTo>
                  <a:cubicBezTo>
                    <a:pt x="783" y="121"/>
                    <a:pt x="785" y="122"/>
                    <a:pt x="788" y="122"/>
                  </a:cubicBezTo>
                  <a:cubicBezTo>
                    <a:pt x="790" y="122"/>
                    <a:pt x="792" y="122"/>
                    <a:pt x="794" y="121"/>
                  </a:cubicBezTo>
                  <a:cubicBezTo>
                    <a:pt x="796" y="121"/>
                    <a:pt x="797" y="121"/>
                    <a:pt x="799" y="120"/>
                  </a:cubicBezTo>
                  <a:cubicBezTo>
                    <a:pt x="800" y="121"/>
                    <a:pt x="800" y="123"/>
                    <a:pt x="800" y="124"/>
                  </a:cubicBezTo>
                  <a:cubicBezTo>
                    <a:pt x="800" y="126"/>
                    <a:pt x="800" y="127"/>
                    <a:pt x="800" y="129"/>
                  </a:cubicBezTo>
                  <a:cubicBezTo>
                    <a:pt x="800" y="130"/>
                    <a:pt x="800" y="131"/>
                    <a:pt x="800" y="132"/>
                  </a:cubicBezTo>
                  <a:cubicBezTo>
                    <a:pt x="800" y="133"/>
                    <a:pt x="800" y="134"/>
                    <a:pt x="800" y="134"/>
                  </a:cubicBezTo>
                  <a:cubicBezTo>
                    <a:pt x="799" y="135"/>
                    <a:pt x="797" y="135"/>
                    <a:pt x="794" y="136"/>
                  </a:cubicBezTo>
                  <a:cubicBezTo>
                    <a:pt x="792" y="136"/>
                    <a:pt x="789" y="137"/>
                    <a:pt x="786" y="137"/>
                  </a:cubicBezTo>
                  <a:cubicBezTo>
                    <a:pt x="782" y="137"/>
                    <a:pt x="778" y="136"/>
                    <a:pt x="775" y="136"/>
                  </a:cubicBezTo>
                  <a:cubicBezTo>
                    <a:pt x="772" y="135"/>
                    <a:pt x="769" y="134"/>
                    <a:pt x="767" y="133"/>
                  </a:cubicBezTo>
                  <a:cubicBezTo>
                    <a:pt x="764" y="131"/>
                    <a:pt x="763" y="129"/>
                    <a:pt x="761" y="126"/>
                  </a:cubicBezTo>
                  <a:cubicBezTo>
                    <a:pt x="760" y="124"/>
                    <a:pt x="759" y="120"/>
                    <a:pt x="759" y="116"/>
                  </a:cubicBezTo>
                  <a:cubicBezTo>
                    <a:pt x="759" y="114"/>
                    <a:pt x="760" y="111"/>
                    <a:pt x="760" y="109"/>
                  </a:cubicBezTo>
                  <a:cubicBezTo>
                    <a:pt x="761" y="106"/>
                    <a:pt x="761" y="103"/>
                    <a:pt x="761" y="100"/>
                  </a:cubicBezTo>
                  <a:lnTo>
                    <a:pt x="770" y="56"/>
                  </a:lnTo>
                  <a:close/>
                  <a:moveTo>
                    <a:pt x="851" y="137"/>
                  </a:moveTo>
                  <a:cubicBezTo>
                    <a:pt x="840" y="137"/>
                    <a:pt x="831" y="134"/>
                    <a:pt x="826" y="128"/>
                  </a:cubicBezTo>
                  <a:cubicBezTo>
                    <a:pt x="820" y="122"/>
                    <a:pt x="817" y="113"/>
                    <a:pt x="817" y="101"/>
                  </a:cubicBezTo>
                  <a:cubicBezTo>
                    <a:pt x="817" y="94"/>
                    <a:pt x="818" y="87"/>
                    <a:pt x="820" y="80"/>
                  </a:cubicBezTo>
                  <a:cubicBezTo>
                    <a:pt x="822" y="73"/>
                    <a:pt x="825" y="66"/>
                    <a:pt x="830" y="60"/>
                  </a:cubicBezTo>
                  <a:cubicBezTo>
                    <a:pt x="834" y="54"/>
                    <a:pt x="839" y="49"/>
                    <a:pt x="846" y="45"/>
                  </a:cubicBezTo>
                  <a:cubicBezTo>
                    <a:pt x="853" y="41"/>
                    <a:pt x="860" y="39"/>
                    <a:pt x="869" y="39"/>
                  </a:cubicBezTo>
                  <a:cubicBezTo>
                    <a:pt x="881" y="39"/>
                    <a:pt x="889" y="42"/>
                    <a:pt x="895" y="48"/>
                  </a:cubicBezTo>
                  <a:cubicBezTo>
                    <a:pt x="901" y="55"/>
                    <a:pt x="904" y="64"/>
                    <a:pt x="904" y="75"/>
                  </a:cubicBezTo>
                  <a:cubicBezTo>
                    <a:pt x="904" y="82"/>
                    <a:pt x="903" y="89"/>
                    <a:pt x="901" y="96"/>
                  </a:cubicBezTo>
                  <a:cubicBezTo>
                    <a:pt x="898" y="104"/>
                    <a:pt x="895" y="110"/>
                    <a:pt x="891" y="116"/>
                  </a:cubicBezTo>
                  <a:cubicBezTo>
                    <a:pt x="887" y="123"/>
                    <a:pt x="881" y="127"/>
                    <a:pt x="875" y="131"/>
                  </a:cubicBezTo>
                  <a:cubicBezTo>
                    <a:pt x="868" y="135"/>
                    <a:pt x="860" y="137"/>
                    <a:pt x="851" y="137"/>
                  </a:cubicBezTo>
                  <a:close/>
                  <a:moveTo>
                    <a:pt x="853" y="123"/>
                  </a:moveTo>
                  <a:cubicBezTo>
                    <a:pt x="859" y="123"/>
                    <a:pt x="864" y="121"/>
                    <a:pt x="868" y="118"/>
                  </a:cubicBezTo>
                  <a:cubicBezTo>
                    <a:pt x="872" y="115"/>
                    <a:pt x="875" y="111"/>
                    <a:pt x="878" y="106"/>
                  </a:cubicBezTo>
                  <a:cubicBezTo>
                    <a:pt x="880" y="102"/>
                    <a:pt x="882" y="96"/>
                    <a:pt x="883" y="91"/>
                  </a:cubicBezTo>
                  <a:cubicBezTo>
                    <a:pt x="885" y="85"/>
                    <a:pt x="885" y="80"/>
                    <a:pt x="885" y="75"/>
                  </a:cubicBezTo>
                  <a:cubicBezTo>
                    <a:pt x="885" y="68"/>
                    <a:pt x="884" y="63"/>
                    <a:pt x="881" y="59"/>
                  </a:cubicBezTo>
                  <a:cubicBezTo>
                    <a:pt x="878" y="56"/>
                    <a:pt x="873" y="54"/>
                    <a:pt x="867" y="54"/>
                  </a:cubicBezTo>
                  <a:cubicBezTo>
                    <a:pt x="862" y="54"/>
                    <a:pt x="857" y="55"/>
                    <a:pt x="853" y="58"/>
                  </a:cubicBezTo>
                  <a:cubicBezTo>
                    <a:pt x="849" y="62"/>
                    <a:pt x="845" y="66"/>
                    <a:pt x="843" y="70"/>
                  </a:cubicBezTo>
                  <a:cubicBezTo>
                    <a:pt x="840" y="75"/>
                    <a:pt x="838" y="80"/>
                    <a:pt x="837" y="86"/>
                  </a:cubicBezTo>
                  <a:cubicBezTo>
                    <a:pt x="836" y="91"/>
                    <a:pt x="836" y="97"/>
                    <a:pt x="836" y="101"/>
                  </a:cubicBezTo>
                  <a:cubicBezTo>
                    <a:pt x="836" y="108"/>
                    <a:pt x="837" y="114"/>
                    <a:pt x="840" y="117"/>
                  </a:cubicBezTo>
                  <a:cubicBezTo>
                    <a:pt x="843" y="121"/>
                    <a:pt x="847" y="123"/>
                    <a:pt x="853" y="123"/>
                  </a:cubicBezTo>
                  <a:close/>
                  <a:moveTo>
                    <a:pt x="955" y="81"/>
                  </a:moveTo>
                  <a:cubicBezTo>
                    <a:pt x="956" y="73"/>
                    <a:pt x="958" y="67"/>
                    <a:pt x="958" y="62"/>
                  </a:cubicBezTo>
                  <a:cubicBezTo>
                    <a:pt x="959" y="57"/>
                    <a:pt x="960" y="52"/>
                    <a:pt x="960" y="48"/>
                  </a:cubicBezTo>
                  <a:cubicBezTo>
                    <a:pt x="960" y="46"/>
                    <a:pt x="960" y="45"/>
                    <a:pt x="959" y="44"/>
                  </a:cubicBezTo>
                  <a:cubicBezTo>
                    <a:pt x="959" y="43"/>
                    <a:pt x="959" y="42"/>
                    <a:pt x="959" y="41"/>
                  </a:cubicBezTo>
                  <a:cubicBezTo>
                    <a:pt x="961" y="41"/>
                    <a:pt x="962" y="40"/>
                    <a:pt x="963" y="40"/>
                  </a:cubicBezTo>
                  <a:cubicBezTo>
                    <a:pt x="965" y="40"/>
                    <a:pt x="966" y="40"/>
                    <a:pt x="968" y="40"/>
                  </a:cubicBezTo>
                  <a:cubicBezTo>
                    <a:pt x="969" y="40"/>
                    <a:pt x="970" y="40"/>
                    <a:pt x="972" y="40"/>
                  </a:cubicBezTo>
                  <a:cubicBezTo>
                    <a:pt x="973" y="40"/>
                    <a:pt x="975" y="41"/>
                    <a:pt x="976" y="41"/>
                  </a:cubicBezTo>
                  <a:cubicBezTo>
                    <a:pt x="976" y="42"/>
                    <a:pt x="977" y="43"/>
                    <a:pt x="977" y="44"/>
                  </a:cubicBezTo>
                  <a:cubicBezTo>
                    <a:pt x="977" y="45"/>
                    <a:pt x="977" y="47"/>
                    <a:pt x="977" y="49"/>
                  </a:cubicBezTo>
                  <a:cubicBezTo>
                    <a:pt x="977" y="50"/>
                    <a:pt x="977" y="52"/>
                    <a:pt x="977" y="53"/>
                  </a:cubicBezTo>
                  <a:cubicBezTo>
                    <a:pt x="977" y="54"/>
                    <a:pt x="976" y="55"/>
                    <a:pt x="976" y="57"/>
                  </a:cubicBezTo>
                  <a:cubicBezTo>
                    <a:pt x="979" y="52"/>
                    <a:pt x="984" y="47"/>
                    <a:pt x="989" y="44"/>
                  </a:cubicBezTo>
                  <a:cubicBezTo>
                    <a:pt x="994" y="41"/>
                    <a:pt x="1001" y="39"/>
                    <a:pt x="1008" y="39"/>
                  </a:cubicBezTo>
                  <a:cubicBezTo>
                    <a:pt x="1017" y="39"/>
                    <a:pt x="1023" y="42"/>
                    <a:pt x="1028" y="48"/>
                  </a:cubicBezTo>
                  <a:cubicBezTo>
                    <a:pt x="1033" y="54"/>
                    <a:pt x="1035" y="62"/>
                    <a:pt x="1035" y="73"/>
                  </a:cubicBezTo>
                  <a:cubicBezTo>
                    <a:pt x="1035" y="81"/>
                    <a:pt x="1034" y="90"/>
                    <a:pt x="1031" y="97"/>
                  </a:cubicBezTo>
                  <a:cubicBezTo>
                    <a:pt x="1029" y="105"/>
                    <a:pt x="1025" y="112"/>
                    <a:pt x="1020" y="118"/>
                  </a:cubicBezTo>
                  <a:cubicBezTo>
                    <a:pt x="1014" y="124"/>
                    <a:pt x="1008" y="129"/>
                    <a:pt x="1000" y="132"/>
                  </a:cubicBezTo>
                  <a:cubicBezTo>
                    <a:pt x="992" y="135"/>
                    <a:pt x="983" y="137"/>
                    <a:pt x="973" y="137"/>
                  </a:cubicBezTo>
                  <a:cubicBezTo>
                    <a:pt x="971" y="137"/>
                    <a:pt x="969" y="137"/>
                    <a:pt x="968" y="137"/>
                  </a:cubicBezTo>
                  <a:cubicBezTo>
                    <a:pt x="966" y="137"/>
                    <a:pt x="965" y="137"/>
                    <a:pt x="963" y="137"/>
                  </a:cubicBezTo>
                  <a:cubicBezTo>
                    <a:pt x="956" y="178"/>
                    <a:pt x="956" y="178"/>
                    <a:pt x="956" y="178"/>
                  </a:cubicBezTo>
                  <a:cubicBezTo>
                    <a:pt x="955" y="179"/>
                    <a:pt x="953" y="179"/>
                    <a:pt x="951" y="179"/>
                  </a:cubicBezTo>
                  <a:cubicBezTo>
                    <a:pt x="950" y="179"/>
                    <a:pt x="948" y="179"/>
                    <a:pt x="947" y="179"/>
                  </a:cubicBezTo>
                  <a:cubicBezTo>
                    <a:pt x="946" y="179"/>
                    <a:pt x="944" y="179"/>
                    <a:pt x="942" y="179"/>
                  </a:cubicBezTo>
                  <a:cubicBezTo>
                    <a:pt x="941" y="179"/>
                    <a:pt x="939" y="179"/>
                    <a:pt x="938" y="178"/>
                  </a:cubicBezTo>
                  <a:lnTo>
                    <a:pt x="955" y="81"/>
                  </a:lnTo>
                  <a:close/>
                  <a:moveTo>
                    <a:pt x="966" y="121"/>
                  </a:moveTo>
                  <a:cubicBezTo>
                    <a:pt x="967" y="121"/>
                    <a:pt x="969" y="122"/>
                    <a:pt x="971" y="122"/>
                  </a:cubicBezTo>
                  <a:cubicBezTo>
                    <a:pt x="973" y="122"/>
                    <a:pt x="975" y="122"/>
                    <a:pt x="977" y="122"/>
                  </a:cubicBezTo>
                  <a:cubicBezTo>
                    <a:pt x="982" y="122"/>
                    <a:pt x="987" y="121"/>
                    <a:pt x="992" y="119"/>
                  </a:cubicBezTo>
                  <a:cubicBezTo>
                    <a:pt x="997" y="116"/>
                    <a:pt x="1001" y="113"/>
                    <a:pt x="1005" y="109"/>
                  </a:cubicBezTo>
                  <a:cubicBezTo>
                    <a:pt x="1008" y="105"/>
                    <a:pt x="1011" y="100"/>
                    <a:pt x="1013" y="94"/>
                  </a:cubicBezTo>
                  <a:cubicBezTo>
                    <a:pt x="1015" y="89"/>
                    <a:pt x="1016" y="83"/>
                    <a:pt x="1016" y="76"/>
                  </a:cubicBezTo>
                  <a:cubicBezTo>
                    <a:pt x="1016" y="69"/>
                    <a:pt x="1015" y="64"/>
                    <a:pt x="1012" y="60"/>
                  </a:cubicBezTo>
                  <a:cubicBezTo>
                    <a:pt x="1009" y="57"/>
                    <a:pt x="1005" y="55"/>
                    <a:pt x="1000" y="55"/>
                  </a:cubicBezTo>
                  <a:cubicBezTo>
                    <a:pt x="996" y="55"/>
                    <a:pt x="993" y="55"/>
                    <a:pt x="990" y="57"/>
                  </a:cubicBezTo>
                  <a:cubicBezTo>
                    <a:pt x="988" y="58"/>
                    <a:pt x="985" y="60"/>
                    <a:pt x="982" y="63"/>
                  </a:cubicBezTo>
                  <a:cubicBezTo>
                    <a:pt x="980" y="66"/>
                    <a:pt x="978" y="70"/>
                    <a:pt x="976" y="75"/>
                  </a:cubicBezTo>
                  <a:cubicBezTo>
                    <a:pt x="974" y="79"/>
                    <a:pt x="972" y="85"/>
                    <a:pt x="971" y="92"/>
                  </a:cubicBezTo>
                  <a:lnTo>
                    <a:pt x="966" y="121"/>
                  </a:lnTo>
                  <a:close/>
                  <a:moveTo>
                    <a:pt x="1084" y="137"/>
                  </a:moveTo>
                  <a:cubicBezTo>
                    <a:pt x="1072" y="137"/>
                    <a:pt x="1064" y="134"/>
                    <a:pt x="1058" y="128"/>
                  </a:cubicBezTo>
                  <a:cubicBezTo>
                    <a:pt x="1052" y="122"/>
                    <a:pt x="1049" y="113"/>
                    <a:pt x="1049" y="101"/>
                  </a:cubicBezTo>
                  <a:cubicBezTo>
                    <a:pt x="1049" y="94"/>
                    <a:pt x="1051" y="87"/>
                    <a:pt x="1053" y="80"/>
                  </a:cubicBezTo>
                  <a:cubicBezTo>
                    <a:pt x="1055" y="73"/>
                    <a:pt x="1058" y="66"/>
                    <a:pt x="1062" y="60"/>
                  </a:cubicBezTo>
                  <a:cubicBezTo>
                    <a:pt x="1067" y="54"/>
                    <a:pt x="1072" y="49"/>
                    <a:pt x="1079" y="45"/>
                  </a:cubicBezTo>
                  <a:cubicBezTo>
                    <a:pt x="1085" y="41"/>
                    <a:pt x="1093" y="39"/>
                    <a:pt x="1102" y="39"/>
                  </a:cubicBezTo>
                  <a:cubicBezTo>
                    <a:pt x="1113" y="39"/>
                    <a:pt x="1122" y="42"/>
                    <a:pt x="1127" y="48"/>
                  </a:cubicBezTo>
                  <a:cubicBezTo>
                    <a:pt x="1133" y="55"/>
                    <a:pt x="1136" y="64"/>
                    <a:pt x="1136" y="75"/>
                  </a:cubicBezTo>
                  <a:cubicBezTo>
                    <a:pt x="1136" y="82"/>
                    <a:pt x="1135" y="89"/>
                    <a:pt x="1133" y="96"/>
                  </a:cubicBezTo>
                  <a:cubicBezTo>
                    <a:pt x="1131" y="104"/>
                    <a:pt x="1128" y="110"/>
                    <a:pt x="1123" y="116"/>
                  </a:cubicBezTo>
                  <a:cubicBezTo>
                    <a:pt x="1119" y="123"/>
                    <a:pt x="1114" y="127"/>
                    <a:pt x="1107" y="131"/>
                  </a:cubicBezTo>
                  <a:cubicBezTo>
                    <a:pt x="1101" y="135"/>
                    <a:pt x="1093" y="137"/>
                    <a:pt x="1084" y="137"/>
                  </a:cubicBezTo>
                  <a:close/>
                  <a:moveTo>
                    <a:pt x="1086" y="123"/>
                  </a:moveTo>
                  <a:cubicBezTo>
                    <a:pt x="1091" y="123"/>
                    <a:pt x="1096" y="121"/>
                    <a:pt x="1100" y="118"/>
                  </a:cubicBezTo>
                  <a:cubicBezTo>
                    <a:pt x="1104" y="115"/>
                    <a:pt x="1108" y="111"/>
                    <a:pt x="1110" y="106"/>
                  </a:cubicBezTo>
                  <a:cubicBezTo>
                    <a:pt x="1113" y="102"/>
                    <a:pt x="1115" y="96"/>
                    <a:pt x="1116" y="91"/>
                  </a:cubicBezTo>
                  <a:cubicBezTo>
                    <a:pt x="1117" y="85"/>
                    <a:pt x="1118" y="80"/>
                    <a:pt x="1118" y="75"/>
                  </a:cubicBezTo>
                  <a:cubicBezTo>
                    <a:pt x="1118" y="68"/>
                    <a:pt x="1116" y="63"/>
                    <a:pt x="1113" y="59"/>
                  </a:cubicBezTo>
                  <a:cubicBezTo>
                    <a:pt x="1110" y="56"/>
                    <a:pt x="1106" y="54"/>
                    <a:pt x="1100" y="54"/>
                  </a:cubicBezTo>
                  <a:cubicBezTo>
                    <a:pt x="1094" y="54"/>
                    <a:pt x="1089" y="55"/>
                    <a:pt x="1085" y="58"/>
                  </a:cubicBezTo>
                  <a:cubicBezTo>
                    <a:pt x="1081" y="62"/>
                    <a:pt x="1078" y="66"/>
                    <a:pt x="1075" y="70"/>
                  </a:cubicBezTo>
                  <a:cubicBezTo>
                    <a:pt x="1073" y="75"/>
                    <a:pt x="1071" y="80"/>
                    <a:pt x="1070" y="86"/>
                  </a:cubicBezTo>
                  <a:cubicBezTo>
                    <a:pt x="1069" y="91"/>
                    <a:pt x="1068" y="97"/>
                    <a:pt x="1068" y="101"/>
                  </a:cubicBezTo>
                  <a:cubicBezTo>
                    <a:pt x="1068" y="108"/>
                    <a:pt x="1069" y="114"/>
                    <a:pt x="1072" y="117"/>
                  </a:cubicBezTo>
                  <a:cubicBezTo>
                    <a:pt x="1075" y="121"/>
                    <a:pt x="1080" y="123"/>
                    <a:pt x="1086" y="123"/>
                  </a:cubicBezTo>
                  <a:close/>
                  <a:moveTo>
                    <a:pt x="1174" y="91"/>
                  </a:moveTo>
                  <a:cubicBezTo>
                    <a:pt x="1172" y="90"/>
                    <a:pt x="1170" y="89"/>
                    <a:pt x="1168" y="88"/>
                  </a:cubicBezTo>
                  <a:cubicBezTo>
                    <a:pt x="1166" y="87"/>
                    <a:pt x="1164" y="86"/>
                    <a:pt x="1162" y="84"/>
                  </a:cubicBezTo>
                  <a:cubicBezTo>
                    <a:pt x="1160" y="82"/>
                    <a:pt x="1159" y="80"/>
                    <a:pt x="1158" y="77"/>
                  </a:cubicBezTo>
                  <a:cubicBezTo>
                    <a:pt x="1157" y="75"/>
                    <a:pt x="1156" y="72"/>
                    <a:pt x="1156" y="68"/>
                  </a:cubicBezTo>
                  <a:cubicBezTo>
                    <a:pt x="1156" y="63"/>
                    <a:pt x="1157" y="59"/>
                    <a:pt x="1159" y="56"/>
                  </a:cubicBezTo>
                  <a:cubicBezTo>
                    <a:pt x="1161" y="52"/>
                    <a:pt x="1163" y="49"/>
                    <a:pt x="1167" y="47"/>
                  </a:cubicBezTo>
                  <a:cubicBezTo>
                    <a:pt x="1170" y="44"/>
                    <a:pt x="1174" y="42"/>
                    <a:pt x="1178" y="41"/>
                  </a:cubicBezTo>
                  <a:cubicBezTo>
                    <a:pt x="1183" y="40"/>
                    <a:pt x="1188" y="39"/>
                    <a:pt x="1194" y="39"/>
                  </a:cubicBezTo>
                  <a:cubicBezTo>
                    <a:pt x="1199" y="39"/>
                    <a:pt x="1203" y="39"/>
                    <a:pt x="1208" y="41"/>
                  </a:cubicBezTo>
                  <a:cubicBezTo>
                    <a:pt x="1212" y="42"/>
                    <a:pt x="1216" y="43"/>
                    <a:pt x="1219" y="44"/>
                  </a:cubicBezTo>
                  <a:cubicBezTo>
                    <a:pt x="1218" y="49"/>
                    <a:pt x="1216" y="54"/>
                    <a:pt x="1213" y="58"/>
                  </a:cubicBezTo>
                  <a:cubicBezTo>
                    <a:pt x="1211" y="57"/>
                    <a:pt x="1208" y="56"/>
                    <a:pt x="1205" y="55"/>
                  </a:cubicBezTo>
                  <a:cubicBezTo>
                    <a:pt x="1201" y="54"/>
                    <a:pt x="1197" y="53"/>
                    <a:pt x="1193" y="53"/>
                  </a:cubicBezTo>
                  <a:cubicBezTo>
                    <a:pt x="1188" y="53"/>
                    <a:pt x="1183" y="54"/>
                    <a:pt x="1180" y="56"/>
                  </a:cubicBezTo>
                  <a:cubicBezTo>
                    <a:pt x="1176" y="58"/>
                    <a:pt x="1175" y="61"/>
                    <a:pt x="1175" y="66"/>
                  </a:cubicBezTo>
                  <a:cubicBezTo>
                    <a:pt x="1175" y="68"/>
                    <a:pt x="1175" y="71"/>
                    <a:pt x="1177" y="73"/>
                  </a:cubicBezTo>
                  <a:cubicBezTo>
                    <a:pt x="1179" y="75"/>
                    <a:pt x="1182" y="76"/>
                    <a:pt x="1186" y="78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1"/>
                    <a:pt x="1195" y="82"/>
                    <a:pt x="1197" y="83"/>
                  </a:cubicBezTo>
                  <a:cubicBezTo>
                    <a:pt x="1200" y="85"/>
                    <a:pt x="1202" y="86"/>
                    <a:pt x="1204" y="88"/>
                  </a:cubicBezTo>
                  <a:cubicBezTo>
                    <a:pt x="1206" y="90"/>
                    <a:pt x="1208" y="92"/>
                    <a:pt x="1209" y="94"/>
                  </a:cubicBezTo>
                  <a:cubicBezTo>
                    <a:pt x="1210" y="97"/>
                    <a:pt x="1211" y="100"/>
                    <a:pt x="1211" y="104"/>
                  </a:cubicBezTo>
                  <a:cubicBezTo>
                    <a:pt x="1211" y="109"/>
                    <a:pt x="1210" y="114"/>
                    <a:pt x="1208" y="119"/>
                  </a:cubicBezTo>
                  <a:cubicBezTo>
                    <a:pt x="1205" y="123"/>
                    <a:pt x="1202" y="126"/>
                    <a:pt x="1198" y="129"/>
                  </a:cubicBezTo>
                  <a:cubicBezTo>
                    <a:pt x="1195" y="132"/>
                    <a:pt x="1190" y="134"/>
                    <a:pt x="1185" y="135"/>
                  </a:cubicBezTo>
                  <a:cubicBezTo>
                    <a:pt x="1180" y="137"/>
                    <a:pt x="1175" y="137"/>
                    <a:pt x="1169" y="137"/>
                  </a:cubicBezTo>
                  <a:cubicBezTo>
                    <a:pt x="1164" y="137"/>
                    <a:pt x="1159" y="137"/>
                    <a:pt x="1154" y="136"/>
                  </a:cubicBezTo>
                  <a:cubicBezTo>
                    <a:pt x="1150" y="135"/>
                    <a:pt x="1146" y="134"/>
                    <a:pt x="1143" y="133"/>
                  </a:cubicBezTo>
                  <a:cubicBezTo>
                    <a:pt x="1143" y="130"/>
                    <a:pt x="1143" y="127"/>
                    <a:pt x="1144" y="125"/>
                  </a:cubicBezTo>
                  <a:cubicBezTo>
                    <a:pt x="1145" y="123"/>
                    <a:pt x="1146" y="120"/>
                    <a:pt x="1147" y="118"/>
                  </a:cubicBezTo>
                  <a:cubicBezTo>
                    <a:pt x="1150" y="119"/>
                    <a:pt x="1154" y="120"/>
                    <a:pt x="1158" y="121"/>
                  </a:cubicBezTo>
                  <a:cubicBezTo>
                    <a:pt x="1163" y="122"/>
                    <a:pt x="1167" y="122"/>
                    <a:pt x="1170" y="122"/>
                  </a:cubicBezTo>
                  <a:cubicBezTo>
                    <a:pt x="1173" y="122"/>
                    <a:pt x="1176" y="122"/>
                    <a:pt x="1179" y="122"/>
                  </a:cubicBezTo>
                  <a:cubicBezTo>
                    <a:pt x="1181" y="121"/>
                    <a:pt x="1184" y="120"/>
                    <a:pt x="1186" y="119"/>
                  </a:cubicBezTo>
                  <a:cubicBezTo>
                    <a:pt x="1188" y="118"/>
                    <a:pt x="1189" y="116"/>
                    <a:pt x="1190" y="114"/>
                  </a:cubicBezTo>
                  <a:cubicBezTo>
                    <a:pt x="1192" y="112"/>
                    <a:pt x="1192" y="110"/>
                    <a:pt x="1192" y="107"/>
                  </a:cubicBezTo>
                  <a:cubicBezTo>
                    <a:pt x="1192" y="103"/>
                    <a:pt x="1191" y="100"/>
                    <a:pt x="1189" y="99"/>
                  </a:cubicBezTo>
                  <a:cubicBezTo>
                    <a:pt x="1187" y="97"/>
                    <a:pt x="1184" y="95"/>
                    <a:pt x="1180" y="93"/>
                  </a:cubicBezTo>
                  <a:lnTo>
                    <a:pt x="1174" y="91"/>
                  </a:lnTo>
                  <a:close/>
                  <a:moveTo>
                    <a:pt x="1253" y="91"/>
                  </a:moveTo>
                  <a:cubicBezTo>
                    <a:pt x="1251" y="90"/>
                    <a:pt x="1249" y="89"/>
                    <a:pt x="1247" y="88"/>
                  </a:cubicBezTo>
                  <a:cubicBezTo>
                    <a:pt x="1245" y="87"/>
                    <a:pt x="1243" y="86"/>
                    <a:pt x="1242" y="84"/>
                  </a:cubicBezTo>
                  <a:cubicBezTo>
                    <a:pt x="1240" y="82"/>
                    <a:pt x="1238" y="80"/>
                    <a:pt x="1237" y="77"/>
                  </a:cubicBezTo>
                  <a:cubicBezTo>
                    <a:pt x="1236" y="75"/>
                    <a:pt x="1236" y="72"/>
                    <a:pt x="1236" y="68"/>
                  </a:cubicBezTo>
                  <a:cubicBezTo>
                    <a:pt x="1236" y="63"/>
                    <a:pt x="1236" y="59"/>
                    <a:pt x="1238" y="56"/>
                  </a:cubicBezTo>
                  <a:cubicBezTo>
                    <a:pt x="1240" y="52"/>
                    <a:pt x="1243" y="49"/>
                    <a:pt x="1246" y="47"/>
                  </a:cubicBezTo>
                  <a:cubicBezTo>
                    <a:pt x="1249" y="44"/>
                    <a:pt x="1253" y="42"/>
                    <a:pt x="1258" y="41"/>
                  </a:cubicBezTo>
                  <a:cubicBezTo>
                    <a:pt x="1262" y="40"/>
                    <a:pt x="1267" y="39"/>
                    <a:pt x="1273" y="39"/>
                  </a:cubicBezTo>
                  <a:cubicBezTo>
                    <a:pt x="1278" y="39"/>
                    <a:pt x="1283" y="39"/>
                    <a:pt x="1287" y="41"/>
                  </a:cubicBezTo>
                  <a:cubicBezTo>
                    <a:pt x="1292" y="42"/>
                    <a:pt x="1295" y="43"/>
                    <a:pt x="1298" y="44"/>
                  </a:cubicBezTo>
                  <a:cubicBezTo>
                    <a:pt x="1297" y="49"/>
                    <a:pt x="1295" y="54"/>
                    <a:pt x="1293" y="58"/>
                  </a:cubicBezTo>
                  <a:cubicBezTo>
                    <a:pt x="1291" y="57"/>
                    <a:pt x="1288" y="56"/>
                    <a:pt x="1284" y="55"/>
                  </a:cubicBezTo>
                  <a:cubicBezTo>
                    <a:pt x="1280" y="54"/>
                    <a:pt x="1276" y="53"/>
                    <a:pt x="1272" y="53"/>
                  </a:cubicBezTo>
                  <a:cubicBezTo>
                    <a:pt x="1267" y="53"/>
                    <a:pt x="1263" y="54"/>
                    <a:pt x="1259" y="56"/>
                  </a:cubicBezTo>
                  <a:cubicBezTo>
                    <a:pt x="1256" y="58"/>
                    <a:pt x="1254" y="61"/>
                    <a:pt x="1254" y="66"/>
                  </a:cubicBezTo>
                  <a:cubicBezTo>
                    <a:pt x="1254" y="68"/>
                    <a:pt x="1255" y="71"/>
                    <a:pt x="1257" y="73"/>
                  </a:cubicBezTo>
                  <a:cubicBezTo>
                    <a:pt x="1258" y="75"/>
                    <a:pt x="1261" y="76"/>
                    <a:pt x="1265" y="78"/>
                  </a:cubicBezTo>
                  <a:cubicBezTo>
                    <a:pt x="1269" y="80"/>
                    <a:pt x="1269" y="80"/>
                    <a:pt x="1269" y="80"/>
                  </a:cubicBezTo>
                  <a:cubicBezTo>
                    <a:pt x="1272" y="81"/>
                    <a:pt x="1274" y="82"/>
                    <a:pt x="1277" y="83"/>
                  </a:cubicBezTo>
                  <a:cubicBezTo>
                    <a:pt x="1279" y="85"/>
                    <a:pt x="1281" y="86"/>
                    <a:pt x="1283" y="88"/>
                  </a:cubicBezTo>
                  <a:cubicBezTo>
                    <a:pt x="1285" y="90"/>
                    <a:pt x="1287" y="92"/>
                    <a:pt x="1288" y="94"/>
                  </a:cubicBezTo>
                  <a:cubicBezTo>
                    <a:pt x="1290" y="97"/>
                    <a:pt x="1290" y="100"/>
                    <a:pt x="1290" y="104"/>
                  </a:cubicBezTo>
                  <a:cubicBezTo>
                    <a:pt x="1290" y="109"/>
                    <a:pt x="1289" y="114"/>
                    <a:pt x="1287" y="119"/>
                  </a:cubicBezTo>
                  <a:cubicBezTo>
                    <a:pt x="1285" y="123"/>
                    <a:pt x="1282" y="126"/>
                    <a:pt x="1278" y="129"/>
                  </a:cubicBezTo>
                  <a:cubicBezTo>
                    <a:pt x="1274" y="132"/>
                    <a:pt x="1270" y="134"/>
                    <a:pt x="1265" y="135"/>
                  </a:cubicBezTo>
                  <a:cubicBezTo>
                    <a:pt x="1259" y="137"/>
                    <a:pt x="1254" y="137"/>
                    <a:pt x="1248" y="137"/>
                  </a:cubicBezTo>
                  <a:cubicBezTo>
                    <a:pt x="1243" y="137"/>
                    <a:pt x="1238" y="137"/>
                    <a:pt x="1234" y="136"/>
                  </a:cubicBezTo>
                  <a:cubicBezTo>
                    <a:pt x="1229" y="135"/>
                    <a:pt x="1225" y="134"/>
                    <a:pt x="1222" y="133"/>
                  </a:cubicBezTo>
                  <a:cubicBezTo>
                    <a:pt x="1222" y="130"/>
                    <a:pt x="1223" y="127"/>
                    <a:pt x="1224" y="125"/>
                  </a:cubicBezTo>
                  <a:cubicBezTo>
                    <a:pt x="1224" y="123"/>
                    <a:pt x="1225" y="120"/>
                    <a:pt x="1227" y="118"/>
                  </a:cubicBezTo>
                  <a:cubicBezTo>
                    <a:pt x="1230" y="119"/>
                    <a:pt x="1233" y="120"/>
                    <a:pt x="1238" y="121"/>
                  </a:cubicBezTo>
                  <a:cubicBezTo>
                    <a:pt x="1242" y="122"/>
                    <a:pt x="1246" y="122"/>
                    <a:pt x="1250" y="122"/>
                  </a:cubicBezTo>
                  <a:cubicBezTo>
                    <a:pt x="1253" y="122"/>
                    <a:pt x="1256" y="122"/>
                    <a:pt x="1258" y="122"/>
                  </a:cubicBezTo>
                  <a:cubicBezTo>
                    <a:pt x="1261" y="121"/>
                    <a:pt x="1263" y="120"/>
                    <a:pt x="1265" y="119"/>
                  </a:cubicBezTo>
                  <a:cubicBezTo>
                    <a:pt x="1267" y="118"/>
                    <a:pt x="1269" y="116"/>
                    <a:pt x="1270" y="114"/>
                  </a:cubicBezTo>
                  <a:cubicBezTo>
                    <a:pt x="1271" y="112"/>
                    <a:pt x="1272" y="110"/>
                    <a:pt x="1272" y="107"/>
                  </a:cubicBezTo>
                  <a:cubicBezTo>
                    <a:pt x="1272" y="103"/>
                    <a:pt x="1271" y="100"/>
                    <a:pt x="1268" y="99"/>
                  </a:cubicBezTo>
                  <a:cubicBezTo>
                    <a:pt x="1266" y="97"/>
                    <a:pt x="1263" y="95"/>
                    <a:pt x="1259" y="93"/>
                  </a:cubicBezTo>
                  <a:lnTo>
                    <a:pt x="1253" y="91"/>
                  </a:lnTo>
                  <a:close/>
                  <a:moveTo>
                    <a:pt x="1326" y="56"/>
                  </a:moveTo>
                  <a:cubicBezTo>
                    <a:pt x="1315" y="56"/>
                    <a:pt x="1315" y="56"/>
                    <a:pt x="1315" y="56"/>
                  </a:cubicBezTo>
                  <a:cubicBezTo>
                    <a:pt x="1315" y="53"/>
                    <a:pt x="1315" y="51"/>
                    <a:pt x="1315" y="48"/>
                  </a:cubicBezTo>
                  <a:cubicBezTo>
                    <a:pt x="1316" y="46"/>
                    <a:pt x="1316" y="44"/>
                    <a:pt x="1317" y="41"/>
                  </a:cubicBezTo>
                  <a:cubicBezTo>
                    <a:pt x="1347" y="41"/>
                    <a:pt x="1347" y="41"/>
                    <a:pt x="1347" y="41"/>
                  </a:cubicBezTo>
                  <a:cubicBezTo>
                    <a:pt x="1330" y="135"/>
                    <a:pt x="1330" y="135"/>
                    <a:pt x="1330" y="135"/>
                  </a:cubicBezTo>
                  <a:cubicBezTo>
                    <a:pt x="1329" y="135"/>
                    <a:pt x="1327" y="135"/>
                    <a:pt x="1326" y="135"/>
                  </a:cubicBezTo>
                  <a:cubicBezTo>
                    <a:pt x="1324" y="136"/>
                    <a:pt x="1322" y="136"/>
                    <a:pt x="1321" y="136"/>
                  </a:cubicBezTo>
                  <a:cubicBezTo>
                    <a:pt x="1320" y="136"/>
                    <a:pt x="1318" y="136"/>
                    <a:pt x="1317" y="135"/>
                  </a:cubicBezTo>
                  <a:cubicBezTo>
                    <a:pt x="1315" y="135"/>
                    <a:pt x="1314" y="135"/>
                    <a:pt x="1312" y="135"/>
                  </a:cubicBezTo>
                  <a:lnTo>
                    <a:pt x="1326" y="56"/>
                  </a:lnTo>
                  <a:close/>
                  <a:moveTo>
                    <a:pt x="1326" y="22"/>
                  </a:moveTo>
                  <a:cubicBezTo>
                    <a:pt x="1326" y="18"/>
                    <a:pt x="1326" y="15"/>
                    <a:pt x="1327" y="12"/>
                  </a:cubicBezTo>
                  <a:cubicBezTo>
                    <a:pt x="1328" y="8"/>
                    <a:pt x="1328" y="5"/>
                    <a:pt x="1329" y="2"/>
                  </a:cubicBezTo>
                  <a:cubicBezTo>
                    <a:pt x="1331" y="2"/>
                    <a:pt x="1333" y="1"/>
                    <a:pt x="1335" y="1"/>
                  </a:cubicBezTo>
                  <a:cubicBezTo>
                    <a:pt x="1337" y="1"/>
                    <a:pt x="1339" y="1"/>
                    <a:pt x="1340" y="1"/>
                  </a:cubicBezTo>
                  <a:cubicBezTo>
                    <a:pt x="1342" y="1"/>
                    <a:pt x="1343" y="1"/>
                    <a:pt x="1345" y="1"/>
                  </a:cubicBezTo>
                  <a:cubicBezTo>
                    <a:pt x="1347" y="1"/>
                    <a:pt x="1349" y="2"/>
                    <a:pt x="1350" y="2"/>
                  </a:cubicBezTo>
                  <a:cubicBezTo>
                    <a:pt x="1350" y="5"/>
                    <a:pt x="1350" y="9"/>
                    <a:pt x="1349" y="12"/>
                  </a:cubicBezTo>
                  <a:cubicBezTo>
                    <a:pt x="1349" y="15"/>
                    <a:pt x="1348" y="19"/>
                    <a:pt x="1347" y="22"/>
                  </a:cubicBezTo>
                  <a:cubicBezTo>
                    <a:pt x="1345" y="22"/>
                    <a:pt x="1343" y="22"/>
                    <a:pt x="1341" y="22"/>
                  </a:cubicBezTo>
                  <a:cubicBezTo>
                    <a:pt x="1339" y="22"/>
                    <a:pt x="1338" y="22"/>
                    <a:pt x="1336" y="22"/>
                  </a:cubicBezTo>
                  <a:cubicBezTo>
                    <a:pt x="1335" y="22"/>
                    <a:pt x="1333" y="22"/>
                    <a:pt x="1331" y="22"/>
                  </a:cubicBezTo>
                  <a:cubicBezTo>
                    <a:pt x="1329" y="22"/>
                    <a:pt x="1328" y="22"/>
                    <a:pt x="1326" y="22"/>
                  </a:cubicBezTo>
                  <a:close/>
                  <a:moveTo>
                    <a:pt x="1378" y="38"/>
                  </a:moveTo>
                  <a:cubicBezTo>
                    <a:pt x="1379" y="32"/>
                    <a:pt x="1380" y="26"/>
                    <a:pt x="1380" y="21"/>
                  </a:cubicBezTo>
                  <a:cubicBezTo>
                    <a:pt x="1381" y="16"/>
                    <a:pt x="1381" y="11"/>
                    <a:pt x="1381" y="8"/>
                  </a:cubicBezTo>
                  <a:cubicBezTo>
                    <a:pt x="1381" y="6"/>
                    <a:pt x="1381" y="5"/>
                    <a:pt x="1381" y="4"/>
                  </a:cubicBezTo>
                  <a:cubicBezTo>
                    <a:pt x="1381" y="3"/>
                    <a:pt x="1381" y="2"/>
                    <a:pt x="1381" y="1"/>
                  </a:cubicBezTo>
                  <a:cubicBezTo>
                    <a:pt x="1383" y="1"/>
                    <a:pt x="1384" y="0"/>
                    <a:pt x="1386" y="0"/>
                  </a:cubicBezTo>
                  <a:cubicBezTo>
                    <a:pt x="1388" y="0"/>
                    <a:pt x="1390" y="0"/>
                    <a:pt x="1391" y="0"/>
                  </a:cubicBezTo>
                  <a:cubicBezTo>
                    <a:pt x="1392" y="0"/>
                    <a:pt x="1394" y="0"/>
                    <a:pt x="1395" y="0"/>
                  </a:cubicBezTo>
                  <a:cubicBezTo>
                    <a:pt x="1397" y="0"/>
                    <a:pt x="1398" y="0"/>
                    <a:pt x="1399" y="1"/>
                  </a:cubicBezTo>
                  <a:cubicBezTo>
                    <a:pt x="1400" y="2"/>
                    <a:pt x="1400" y="3"/>
                    <a:pt x="1400" y="4"/>
                  </a:cubicBezTo>
                  <a:cubicBezTo>
                    <a:pt x="1400" y="5"/>
                    <a:pt x="1400" y="6"/>
                    <a:pt x="1400" y="7"/>
                  </a:cubicBezTo>
                  <a:cubicBezTo>
                    <a:pt x="1400" y="10"/>
                    <a:pt x="1400" y="14"/>
                    <a:pt x="1399" y="18"/>
                  </a:cubicBezTo>
                  <a:cubicBezTo>
                    <a:pt x="1398" y="23"/>
                    <a:pt x="1398" y="27"/>
                    <a:pt x="1397" y="31"/>
                  </a:cubicBezTo>
                  <a:cubicBezTo>
                    <a:pt x="1393" y="55"/>
                    <a:pt x="1393" y="55"/>
                    <a:pt x="1393" y="55"/>
                  </a:cubicBezTo>
                  <a:cubicBezTo>
                    <a:pt x="1394" y="53"/>
                    <a:pt x="1396" y="51"/>
                    <a:pt x="1398" y="49"/>
                  </a:cubicBezTo>
                  <a:cubicBezTo>
                    <a:pt x="1400" y="47"/>
                    <a:pt x="1402" y="45"/>
                    <a:pt x="1404" y="44"/>
                  </a:cubicBezTo>
                  <a:cubicBezTo>
                    <a:pt x="1407" y="42"/>
                    <a:pt x="1410" y="41"/>
                    <a:pt x="1413" y="40"/>
                  </a:cubicBezTo>
                  <a:cubicBezTo>
                    <a:pt x="1416" y="39"/>
                    <a:pt x="1419" y="39"/>
                    <a:pt x="1423" y="39"/>
                  </a:cubicBezTo>
                  <a:cubicBezTo>
                    <a:pt x="1431" y="39"/>
                    <a:pt x="1438" y="42"/>
                    <a:pt x="1443" y="48"/>
                  </a:cubicBezTo>
                  <a:cubicBezTo>
                    <a:pt x="1448" y="54"/>
                    <a:pt x="1450" y="62"/>
                    <a:pt x="1450" y="73"/>
                  </a:cubicBezTo>
                  <a:cubicBezTo>
                    <a:pt x="1450" y="81"/>
                    <a:pt x="1449" y="90"/>
                    <a:pt x="1446" y="97"/>
                  </a:cubicBezTo>
                  <a:cubicBezTo>
                    <a:pt x="1444" y="105"/>
                    <a:pt x="1440" y="112"/>
                    <a:pt x="1435" y="118"/>
                  </a:cubicBezTo>
                  <a:cubicBezTo>
                    <a:pt x="1429" y="124"/>
                    <a:pt x="1423" y="129"/>
                    <a:pt x="1415" y="132"/>
                  </a:cubicBezTo>
                  <a:cubicBezTo>
                    <a:pt x="1407" y="135"/>
                    <a:pt x="1397" y="137"/>
                    <a:pt x="1386" y="137"/>
                  </a:cubicBezTo>
                  <a:cubicBezTo>
                    <a:pt x="1382" y="137"/>
                    <a:pt x="1377" y="137"/>
                    <a:pt x="1373" y="136"/>
                  </a:cubicBezTo>
                  <a:cubicBezTo>
                    <a:pt x="1368" y="135"/>
                    <a:pt x="1364" y="134"/>
                    <a:pt x="1361" y="133"/>
                  </a:cubicBezTo>
                  <a:lnTo>
                    <a:pt x="1378" y="38"/>
                  </a:lnTo>
                  <a:close/>
                  <a:moveTo>
                    <a:pt x="1381" y="121"/>
                  </a:moveTo>
                  <a:cubicBezTo>
                    <a:pt x="1382" y="121"/>
                    <a:pt x="1384" y="121"/>
                    <a:pt x="1386" y="122"/>
                  </a:cubicBezTo>
                  <a:cubicBezTo>
                    <a:pt x="1388" y="122"/>
                    <a:pt x="1390" y="122"/>
                    <a:pt x="1392" y="122"/>
                  </a:cubicBezTo>
                  <a:cubicBezTo>
                    <a:pt x="1397" y="122"/>
                    <a:pt x="1402" y="121"/>
                    <a:pt x="1407" y="119"/>
                  </a:cubicBezTo>
                  <a:cubicBezTo>
                    <a:pt x="1412" y="116"/>
                    <a:pt x="1416" y="113"/>
                    <a:pt x="1420" y="109"/>
                  </a:cubicBezTo>
                  <a:cubicBezTo>
                    <a:pt x="1423" y="105"/>
                    <a:pt x="1426" y="100"/>
                    <a:pt x="1428" y="94"/>
                  </a:cubicBezTo>
                  <a:cubicBezTo>
                    <a:pt x="1430" y="89"/>
                    <a:pt x="1431" y="83"/>
                    <a:pt x="1431" y="76"/>
                  </a:cubicBezTo>
                  <a:cubicBezTo>
                    <a:pt x="1431" y="69"/>
                    <a:pt x="1430" y="64"/>
                    <a:pt x="1427" y="60"/>
                  </a:cubicBezTo>
                  <a:cubicBezTo>
                    <a:pt x="1424" y="57"/>
                    <a:pt x="1420" y="55"/>
                    <a:pt x="1415" y="55"/>
                  </a:cubicBezTo>
                  <a:cubicBezTo>
                    <a:pt x="1411" y="55"/>
                    <a:pt x="1408" y="55"/>
                    <a:pt x="1405" y="57"/>
                  </a:cubicBezTo>
                  <a:cubicBezTo>
                    <a:pt x="1403" y="58"/>
                    <a:pt x="1400" y="60"/>
                    <a:pt x="1397" y="63"/>
                  </a:cubicBezTo>
                  <a:cubicBezTo>
                    <a:pt x="1395" y="66"/>
                    <a:pt x="1393" y="70"/>
                    <a:pt x="1391" y="75"/>
                  </a:cubicBezTo>
                  <a:cubicBezTo>
                    <a:pt x="1389" y="79"/>
                    <a:pt x="1387" y="85"/>
                    <a:pt x="1386" y="92"/>
                  </a:cubicBezTo>
                  <a:lnTo>
                    <a:pt x="1381" y="121"/>
                  </a:lnTo>
                  <a:close/>
                  <a:moveTo>
                    <a:pt x="1477" y="39"/>
                  </a:moveTo>
                  <a:cubicBezTo>
                    <a:pt x="1479" y="32"/>
                    <a:pt x="1480" y="26"/>
                    <a:pt x="1480" y="21"/>
                  </a:cubicBezTo>
                  <a:cubicBezTo>
                    <a:pt x="1481" y="16"/>
                    <a:pt x="1481" y="11"/>
                    <a:pt x="1481" y="8"/>
                  </a:cubicBezTo>
                  <a:cubicBezTo>
                    <a:pt x="1481" y="6"/>
                    <a:pt x="1481" y="5"/>
                    <a:pt x="1481" y="4"/>
                  </a:cubicBezTo>
                  <a:cubicBezTo>
                    <a:pt x="1481" y="3"/>
                    <a:pt x="1481" y="2"/>
                    <a:pt x="1481" y="1"/>
                  </a:cubicBezTo>
                  <a:cubicBezTo>
                    <a:pt x="1483" y="1"/>
                    <a:pt x="1484" y="0"/>
                    <a:pt x="1486" y="0"/>
                  </a:cubicBezTo>
                  <a:cubicBezTo>
                    <a:pt x="1488" y="0"/>
                    <a:pt x="1490" y="0"/>
                    <a:pt x="1491" y="0"/>
                  </a:cubicBezTo>
                  <a:cubicBezTo>
                    <a:pt x="1492" y="0"/>
                    <a:pt x="1494" y="0"/>
                    <a:pt x="1495" y="0"/>
                  </a:cubicBezTo>
                  <a:cubicBezTo>
                    <a:pt x="1497" y="0"/>
                    <a:pt x="1498" y="1"/>
                    <a:pt x="1499" y="1"/>
                  </a:cubicBezTo>
                  <a:cubicBezTo>
                    <a:pt x="1500" y="2"/>
                    <a:pt x="1500" y="3"/>
                    <a:pt x="1500" y="4"/>
                  </a:cubicBezTo>
                  <a:cubicBezTo>
                    <a:pt x="1500" y="5"/>
                    <a:pt x="1500" y="6"/>
                    <a:pt x="1500" y="8"/>
                  </a:cubicBezTo>
                  <a:cubicBezTo>
                    <a:pt x="1500" y="9"/>
                    <a:pt x="1500" y="11"/>
                    <a:pt x="1500" y="12"/>
                  </a:cubicBezTo>
                  <a:cubicBezTo>
                    <a:pt x="1499" y="14"/>
                    <a:pt x="1499" y="16"/>
                    <a:pt x="1499" y="18"/>
                  </a:cubicBezTo>
                  <a:cubicBezTo>
                    <a:pt x="1499" y="20"/>
                    <a:pt x="1498" y="23"/>
                    <a:pt x="1498" y="25"/>
                  </a:cubicBezTo>
                  <a:cubicBezTo>
                    <a:pt x="1498" y="27"/>
                    <a:pt x="1497" y="29"/>
                    <a:pt x="1497" y="31"/>
                  </a:cubicBezTo>
                  <a:cubicBezTo>
                    <a:pt x="1483" y="108"/>
                    <a:pt x="1483" y="108"/>
                    <a:pt x="1483" y="108"/>
                  </a:cubicBezTo>
                  <a:cubicBezTo>
                    <a:pt x="1482" y="110"/>
                    <a:pt x="1482" y="112"/>
                    <a:pt x="1482" y="113"/>
                  </a:cubicBezTo>
                  <a:cubicBezTo>
                    <a:pt x="1482" y="115"/>
                    <a:pt x="1482" y="117"/>
                    <a:pt x="1483" y="118"/>
                  </a:cubicBezTo>
                  <a:cubicBezTo>
                    <a:pt x="1483" y="119"/>
                    <a:pt x="1484" y="120"/>
                    <a:pt x="1485" y="120"/>
                  </a:cubicBezTo>
                  <a:cubicBezTo>
                    <a:pt x="1486" y="121"/>
                    <a:pt x="1487" y="121"/>
                    <a:pt x="1488" y="122"/>
                  </a:cubicBezTo>
                  <a:cubicBezTo>
                    <a:pt x="1489" y="122"/>
                    <a:pt x="1490" y="122"/>
                    <a:pt x="1491" y="122"/>
                  </a:cubicBezTo>
                  <a:cubicBezTo>
                    <a:pt x="1492" y="122"/>
                    <a:pt x="1493" y="122"/>
                    <a:pt x="1495" y="121"/>
                  </a:cubicBezTo>
                  <a:cubicBezTo>
                    <a:pt x="1496" y="121"/>
                    <a:pt x="1497" y="121"/>
                    <a:pt x="1498" y="121"/>
                  </a:cubicBezTo>
                  <a:cubicBezTo>
                    <a:pt x="1499" y="124"/>
                    <a:pt x="1500" y="128"/>
                    <a:pt x="1500" y="132"/>
                  </a:cubicBezTo>
                  <a:cubicBezTo>
                    <a:pt x="1500" y="132"/>
                    <a:pt x="1500" y="133"/>
                    <a:pt x="1500" y="133"/>
                  </a:cubicBezTo>
                  <a:cubicBezTo>
                    <a:pt x="1500" y="134"/>
                    <a:pt x="1500" y="134"/>
                    <a:pt x="1500" y="134"/>
                  </a:cubicBezTo>
                  <a:cubicBezTo>
                    <a:pt x="1498" y="135"/>
                    <a:pt x="1496" y="136"/>
                    <a:pt x="1493" y="136"/>
                  </a:cubicBezTo>
                  <a:cubicBezTo>
                    <a:pt x="1490" y="136"/>
                    <a:pt x="1488" y="136"/>
                    <a:pt x="1485" y="136"/>
                  </a:cubicBezTo>
                  <a:cubicBezTo>
                    <a:pt x="1482" y="136"/>
                    <a:pt x="1479" y="136"/>
                    <a:pt x="1476" y="135"/>
                  </a:cubicBezTo>
                  <a:cubicBezTo>
                    <a:pt x="1474" y="135"/>
                    <a:pt x="1472" y="134"/>
                    <a:pt x="1470" y="132"/>
                  </a:cubicBezTo>
                  <a:cubicBezTo>
                    <a:pt x="1468" y="131"/>
                    <a:pt x="1466" y="128"/>
                    <a:pt x="1465" y="126"/>
                  </a:cubicBezTo>
                  <a:cubicBezTo>
                    <a:pt x="1464" y="123"/>
                    <a:pt x="1464" y="120"/>
                    <a:pt x="1464" y="116"/>
                  </a:cubicBezTo>
                  <a:cubicBezTo>
                    <a:pt x="1464" y="114"/>
                    <a:pt x="1464" y="111"/>
                    <a:pt x="1464" y="109"/>
                  </a:cubicBezTo>
                  <a:cubicBezTo>
                    <a:pt x="1465" y="106"/>
                    <a:pt x="1465" y="104"/>
                    <a:pt x="1466" y="101"/>
                  </a:cubicBezTo>
                  <a:lnTo>
                    <a:pt x="1477" y="39"/>
                  </a:lnTo>
                  <a:close/>
                  <a:moveTo>
                    <a:pt x="1532" y="98"/>
                  </a:moveTo>
                  <a:cubicBezTo>
                    <a:pt x="1533" y="106"/>
                    <a:pt x="1535" y="112"/>
                    <a:pt x="1538" y="116"/>
                  </a:cubicBezTo>
                  <a:cubicBezTo>
                    <a:pt x="1542" y="120"/>
                    <a:pt x="1548" y="122"/>
                    <a:pt x="1556" y="122"/>
                  </a:cubicBezTo>
                  <a:cubicBezTo>
                    <a:pt x="1561" y="122"/>
                    <a:pt x="1566" y="122"/>
                    <a:pt x="1570" y="121"/>
                  </a:cubicBezTo>
                  <a:cubicBezTo>
                    <a:pt x="1574" y="120"/>
                    <a:pt x="1578" y="118"/>
                    <a:pt x="1582" y="117"/>
                  </a:cubicBezTo>
                  <a:cubicBezTo>
                    <a:pt x="1583" y="119"/>
                    <a:pt x="1584" y="121"/>
                    <a:pt x="1584" y="124"/>
                  </a:cubicBezTo>
                  <a:cubicBezTo>
                    <a:pt x="1585" y="126"/>
                    <a:pt x="1585" y="129"/>
                    <a:pt x="1585" y="131"/>
                  </a:cubicBezTo>
                  <a:cubicBezTo>
                    <a:pt x="1583" y="132"/>
                    <a:pt x="1581" y="133"/>
                    <a:pt x="1578" y="134"/>
                  </a:cubicBezTo>
                  <a:cubicBezTo>
                    <a:pt x="1576" y="134"/>
                    <a:pt x="1573" y="135"/>
                    <a:pt x="1570" y="135"/>
                  </a:cubicBezTo>
                  <a:cubicBezTo>
                    <a:pt x="1567" y="136"/>
                    <a:pt x="1564" y="136"/>
                    <a:pt x="1561" y="137"/>
                  </a:cubicBezTo>
                  <a:cubicBezTo>
                    <a:pt x="1558" y="137"/>
                    <a:pt x="1556" y="137"/>
                    <a:pt x="1553" y="137"/>
                  </a:cubicBezTo>
                  <a:cubicBezTo>
                    <a:pt x="1546" y="137"/>
                    <a:pt x="1540" y="136"/>
                    <a:pt x="1535" y="134"/>
                  </a:cubicBezTo>
                  <a:cubicBezTo>
                    <a:pt x="1530" y="132"/>
                    <a:pt x="1526" y="130"/>
                    <a:pt x="1523" y="127"/>
                  </a:cubicBezTo>
                  <a:cubicBezTo>
                    <a:pt x="1520" y="123"/>
                    <a:pt x="1518" y="119"/>
                    <a:pt x="1516" y="115"/>
                  </a:cubicBezTo>
                  <a:cubicBezTo>
                    <a:pt x="1515" y="110"/>
                    <a:pt x="1514" y="105"/>
                    <a:pt x="1514" y="100"/>
                  </a:cubicBezTo>
                  <a:cubicBezTo>
                    <a:pt x="1514" y="92"/>
                    <a:pt x="1515" y="85"/>
                    <a:pt x="1518" y="78"/>
                  </a:cubicBezTo>
                  <a:cubicBezTo>
                    <a:pt x="1520" y="70"/>
                    <a:pt x="1524" y="64"/>
                    <a:pt x="1529" y="58"/>
                  </a:cubicBezTo>
                  <a:cubicBezTo>
                    <a:pt x="1533" y="52"/>
                    <a:pt x="1539" y="48"/>
                    <a:pt x="1545" y="44"/>
                  </a:cubicBezTo>
                  <a:cubicBezTo>
                    <a:pt x="1552" y="41"/>
                    <a:pt x="1559" y="39"/>
                    <a:pt x="1567" y="39"/>
                  </a:cubicBezTo>
                  <a:cubicBezTo>
                    <a:pt x="1575" y="39"/>
                    <a:pt x="1582" y="41"/>
                    <a:pt x="1586" y="45"/>
                  </a:cubicBezTo>
                  <a:cubicBezTo>
                    <a:pt x="1591" y="49"/>
                    <a:pt x="1594" y="54"/>
                    <a:pt x="1594" y="61"/>
                  </a:cubicBezTo>
                  <a:cubicBezTo>
                    <a:pt x="1594" y="66"/>
                    <a:pt x="1592" y="71"/>
                    <a:pt x="1590" y="75"/>
                  </a:cubicBezTo>
                  <a:cubicBezTo>
                    <a:pt x="1587" y="79"/>
                    <a:pt x="1583" y="82"/>
                    <a:pt x="1579" y="85"/>
                  </a:cubicBezTo>
                  <a:cubicBezTo>
                    <a:pt x="1574" y="88"/>
                    <a:pt x="1569" y="90"/>
                    <a:pt x="1562" y="92"/>
                  </a:cubicBezTo>
                  <a:cubicBezTo>
                    <a:pt x="1556" y="94"/>
                    <a:pt x="1549" y="95"/>
                    <a:pt x="1542" y="96"/>
                  </a:cubicBezTo>
                  <a:lnTo>
                    <a:pt x="1532" y="98"/>
                  </a:lnTo>
                  <a:close/>
                  <a:moveTo>
                    <a:pt x="1544" y="82"/>
                  </a:moveTo>
                  <a:cubicBezTo>
                    <a:pt x="1550" y="81"/>
                    <a:pt x="1555" y="80"/>
                    <a:pt x="1559" y="79"/>
                  </a:cubicBezTo>
                  <a:cubicBezTo>
                    <a:pt x="1563" y="77"/>
                    <a:pt x="1567" y="76"/>
                    <a:pt x="1569" y="74"/>
                  </a:cubicBezTo>
                  <a:cubicBezTo>
                    <a:pt x="1571" y="72"/>
                    <a:pt x="1573" y="71"/>
                    <a:pt x="1574" y="69"/>
                  </a:cubicBezTo>
                  <a:cubicBezTo>
                    <a:pt x="1575" y="67"/>
                    <a:pt x="1576" y="65"/>
                    <a:pt x="1576" y="63"/>
                  </a:cubicBezTo>
                  <a:cubicBezTo>
                    <a:pt x="1576" y="60"/>
                    <a:pt x="1575" y="58"/>
                    <a:pt x="1573" y="56"/>
                  </a:cubicBezTo>
                  <a:cubicBezTo>
                    <a:pt x="1571" y="54"/>
                    <a:pt x="1568" y="53"/>
                    <a:pt x="1564" y="53"/>
                  </a:cubicBezTo>
                  <a:cubicBezTo>
                    <a:pt x="1560" y="53"/>
                    <a:pt x="1557" y="54"/>
                    <a:pt x="1553" y="56"/>
                  </a:cubicBezTo>
                  <a:cubicBezTo>
                    <a:pt x="1550" y="58"/>
                    <a:pt x="1547" y="60"/>
                    <a:pt x="1545" y="63"/>
                  </a:cubicBezTo>
                  <a:cubicBezTo>
                    <a:pt x="1542" y="66"/>
                    <a:pt x="1540" y="69"/>
                    <a:pt x="1538" y="73"/>
                  </a:cubicBezTo>
                  <a:cubicBezTo>
                    <a:pt x="1536" y="76"/>
                    <a:pt x="1535" y="80"/>
                    <a:pt x="1534" y="84"/>
                  </a:cubicBezTo>
                  <a:lnTo>
                    <a:pt x="1544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871724"/>
              <a:endParaRPr lang="en-US" sz="1453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49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planet&#10;&#10;Description automatically generated with low confidence">
            <a:extLst>
              <a:ext uri="{FF2B5EF4-FFF2-40B4-BE49-F238E27FC236}">
                <a16:creationId xmlns:a16="http://schemas.microsoft.com/office/drawing/2014/main" id="{632681D8-3F51-AE3A-F3A0-218CFC6701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BE2545-C4BD-B17C-8ABD-BBF2228B9C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29787" y="271462"/>
            <a:ext cx="2276475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0259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E39D59-1E4E-3C37-8845-776C134176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8251"/>
            <a:ext cx="12192000" cy="539749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65FAE6A0-A4EE-738D-B5B1-5341427FA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80000"/>
            <a:ext cx="11595100" cy="70326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747E6-F344-52A8-C304-E630E2DECE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22496" y="6319838"/>
            <a:ext cx="1569504" cy="531924"/>
          </a:xfrm>
          <a:prstGeom prst="rect">
            <a:avLst/>
          </a:prstGeom>
        </p:spPr>
      </p:pic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8F558C99-E917-1EF6-6F85-FE6BFF5FBC7D}"/>
              </a:ext>
            </a:extLst>
          </p:cNvPr>
          <p:cNvSpPr txBox="1">
            <a:spLocks/>
          </p:cNvSpPr>
          <p:nvPr userDrawn="1"/>
        </p:nvSpPr>
        <p:spPr>
          <a:xfrm>
            <a:off x="11146607" y="6466907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F439014-E629-42E3-A58B-61A0F1C8CFFE}" type="slidenum">
              <a:rPr lang="en-US" sz="1200" b="1" smtClean="0">
                <a:solidFill>
                  <a:schemeClr val="accent3"/>
                </a:solidFill>
                <a:latin typeface="Frutiger 45 Light" pitchFamily="2" charset="0"/>
                <a:cs typeface="Calibri" panose="020F0502020204030204" pitchFamily="34" charset="0"/>
              </a:rPr>
              <a:pPr algn="ctr"/>
              <a:t>‹#›</a:t>
            </a:fld>
            <a:endParaRPr lang="en-US" sz="1200" b="1">
              <a:solidFill>
                <a:schemeClr val="accent3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08248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63A38B-CFCA-4E2D-0606-0BB2E09CD3CE}"/>
              </a:ext>
            </a:extLst>
          </p:cNvPr>
          <p:cNvSpPr/>
          <p:nvPr userDrawn="1"/>
        </p:nvSpPr>
        <p:spPr>
          <a:xfrm rot="10800000"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rgbClr val="0C1334"/>
              </a:gs>
              <a:gs pos="80000">
                <a:schemeClr val="accent3"/>
              </a:gs>
            </a:gsLst>
            <a:lin ang="13500000" scaled="1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silhouette&#10;&#10;Description automatically generated">
            <a:extLst>
              <a:ext uri="{FF2B5EF4-FFF2-40B4-BE49-F238E27FC236}">
                <a16:creationId xmlns:a16="http://schemas.microsoft.com/office/drawing/2014/main" id="{E9C5D0E6-97F1-1832-8752-D9080F863A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-1"/>
            <a:ext cx="4768054" cy="484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62075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63A38B-CFCA-4E2D-0606-0BB2E09CD3CE}"/>
              </a:ext>
            </a:extLst>
          </p:cNvPr>
          <p:cNvSpPr/>
          <p:nvPr userDrawn="1"/>
        </p:nvSpPr>
        <p:spPr>
          <a:xfrm rot="10800000"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rgbClr val="0C1334"/>
              </a:gs>
              <a:gs pos="80000">
                <a:schemeClr val="accent3"/>
              </a:gs>
            </a:gsLst>
            <a:lin ang="13500000" scaled="1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silhouette&#10;&#10;Description automatically generated">
            <a:extLst>
              <a:ext uri="{FF2B5EF4-FFF2-40B4-BE49-F238E27FC236}">
                <a16:creationId xmlns:a16="http://schemas.microsoft.com/office/drawing/2014/main" id="{E9C5D0E6-97F1-1832-8752-D9080F863A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-1"/>
            <a:ext cx="4768054" cy="48495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E3DF23-CB4F-3099-B5E7-7E3B7D6D6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8251"/>
            <a:ext cx="12192000" cy="539749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9F80C69-79A1-C247-1B25-27A1E5EDB545}"/>
              </a:ext>
            </a:extLst>
          </p:cNvPr>
          <p:cNvSpPr txBox="1">
            <a:spLocks/>
          </p:cNvSpPr>
          <p:nvPr userDrawn="1"/>
        </p:nvSpPr>
        <p:spPr>
          <a:xfrm>
            <a:off x="7649537" y="6466907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F439014-E629-42E3-A58B-61A0F1C8CFFE}" type="slidenum">
              <a:rPr lang="en-US" sz="1200" b="1" smtClean="0">
                <a:solidFill>
                  <a:schemeClr val="accent3"/>
                </a:solidFill>
                <a:latin typeface="Frutiger 45 Light" pitchFamily="2" charset="0"/>
                <a:cs typeface="Calibri" panose="020F0502020204030204" pitchFamily="34" charset="0"/>
              </a:rPr>
              <a:pPr algn="ctr"/>
              <a:t>‹#›</a:t>
            </a:fld>
            <a:endParaRPr lang="en-US" sz="1200" b="1">
              <a:solidFill>
                <a:schemeClr val="accent3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1A5BC9-0218-264C-B8A0-C487861D244D}"/>
              </a:ext>
            </a:extLst>
          </p:cNvPr>
          <p:cNvSpPr txBox="1"/>
          <p:nvPr userDrawn="1"/>
        </p:nvSpPr>
        <p:spPr>
          <a:xfrm>
            <a:off x="4189702" y="6488678"/>
            <a:ext cx="3812596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Global Transformation Approach</a:t>
            </a:r>
            <a:endParaRPr lang="en-IN" sz="1000">
              <a:solidFill>
                <a:schemeClr val="bg1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7" name="Title 12">
            <a:extLst>
              <a:ext uri="{FF2B5EF4-FFF2-40B4-BE49-F238E27FC236}">
                <a16:creationId xmlns:a16="http://schemas.microsoft.com/office/drawing/2014/main" id="{5956DE51-B56F-F6DB-533D-5785E6021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300" y="198438"/>
            <a:ext cx="11595100" cy="70326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A3F10A-85E5-2142-8E6E-53B710A0A13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9404" y="6318250"/>
            <a:ext cx="1592596" cy="53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3772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5920" y="239712"/>
            <a:ext cx="1141984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>
                    <a:lumMod val="50000"/>
                  </a:schemeClr>
                </a:solidFill>
                <a:latin typeface="Calibiri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E5456A7-BE66-D18D-4755-5BE1D37DDEF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400" y="1253331"/>
            <a:ext cx="11125200" cy="4351338"/>
          </a:xfrm>
        </p:spPr>
        <p:txBody>
          <a:bodyPr>
            <a:normAutofit/>
          </a:bodyPr>
          <a:lstStyle>
            <a:lvl1pPr>
              <a:defRPr lang="en-US" sz="1200" b="1" dirty="0" smtClean="0">
                <a:solidFill>
                  <a:srgbClr val="595959"/>
                </a:solidFill>
                <a:latin typeface="Calibiri"/>
              </a:defRPr>
            </a:lvl1pPr>
            <a:lvl2pPr>
              <a:defRPr sz="1200">
                <a:solidFill>
                  <a:srgbClr val="595959"/>
                </a:solidFill>
                <a:latin typeface="Calibiri"/>
              </a:defRPr>
            </a:lvl2pPr>
            <a:lvl3pPr>
              <a:defRPr sz="1200">
                <a:solidFill>
                  <a:srgbClr val="595959"/>
                </a:solidFill>
                <a:latin typeface="Calibiri"/>
              </a:defRPr>
            </a:lvl3pPr>
            <a:lvl4pPr>
              <a:defRPr sz="1200">
                <a:solidFill>
                  <a:srgbClr val="595959"/>
                </a:solidFill>
                <a:latin typeface="Calibiri"/>
              </a:defRPr>
            </a:lvl4pPr>
            <a:lvl5pPr>
              <a:defRPr sz="1200">
                <a:solidFill>
                  <a:srgbClr val="595959"/>
                </a:solidFill>
                <a:latin typeface="Calibiri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2BAE6DC-88BB-6831-F1B1-A01C2A702DB6}"/>
              </a:ext>
            </a:extLst>
          </p:cNvPr>
          <p:cNvGrpSpPr/>
          <p:nvPr userDrawn="1"/>
        </p:nvGrpSpPr>
        <p:grpSpPr>
          <a:xfrm>
            <a:off x="12573000" y="1295400"/>
            <a:ext cx="609600" cy="4112198"/>
            <a:chOff x="12573000" y="1295400"/>
            <a:chExt cx="609600" cy="411219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DC1B90C0-4CBE-6DBF-B1AE-618869D2F8E0}"/>
                </a:ext>
              </a:extLst>
            </p:cNvPr>
            <p:cNvSpPr/>
            <p:nvPr userDrawn="1"/>
          </p:nvSpPr>
          <p:spPr>
            <a:xfrm>
              <a:off x="12573000" y="1295400"/>
              <a:ext cx="609600" cy="609600"/>
            </a:xfrm>
            <a:prstGeom prst="ellipse">
              <a:avLst/>
            </a:prstGeom>
            <a:solidFill>
              <a:srgbClr val="141E5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F224AB12-38E9-8BF6-C999-3B390B27A562}"/>
                </a:ext>
              </a:extLst>
            </p:cNvPr>
            <p:cNvSpPr/>
            <p:nvPr userDrawn="1"/>
          </p:nvSpPr>
          <p:spPr>
            <a:xfrm>
              <a:off x="12573000" y="2171049"/>
              <a:ext cx="609600" cy="609600"/>
            </a:xfrm>
            <a:prstGeom prst="ellipse">
              <a:avLst/>
            </a:prstGeom>
            <a:solidFill>
              <a:srgbClr val="0088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AD74118-6572-2B85-A7EC-715C193BAC46}"/>
                </a:ext>
              </a:extLst>
            </p:cNvPr>
            <p:cNvSpPr/>
            <p:nvPr userDrawn="1"/>
          </p:nvSpPr>
          <p:spPr>
            <a:xfrm>
              <a:off x="12573000" y="3046699"/>
              <a:ext cx="609600" cy="609600"/>
            </a:xfrm>
            <a:prstGeom prst="ellipse">
              <a:avLst/>
            </a:prstGeom>
            <a:solidFill>
              <a:srgbClr val="FFCC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2B912A95-AFF1-780E-DFB1-A7BA8DD35F4B}"/>
                </a:ext>
              </a:extLst>
            </p:cNvPr>
            <p:cNvSpPr/>
            <p:nvPr userDrawn="1"/>
          </p:nvSpPr>
          <p:spPr>
            <a:xfrm>
              <a:off x="12573000" y="3922348"/>
              <a:ext cx="609600" cy="6096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5D1AB55-ED3B-72CE-C142-464CFE6A317A}"/>
                </a:ext>
              </a:extLst>
            </p:cNvPr>
            <p:cNvSpPr/>
            <p:nvPr userDrawn="1"/>
          </p:nvSpPr>
          <p:spPr>
            <a:xfrm>
              <a:off x="12573000" y="4797998"/>
              <a:ext cx="609600" cy="609600"/>
            </a:xfrm>
            <a:prstGeom prst="ellipse">
              <a:avLst/>
            </a:prstGeom>
            <a:solidFill>
              <a:srgbClr val="C1EA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04283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312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314451A-6C5B-D5A1-9DD9-55A1359B67FC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32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029E0C-7681-38C4-F01B-B6089E1FDB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7878D79-3823-9575-1C88-56C4110E1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62" y="324061"/>
            <a:ext cx="11125200" cy="434975"/>
          </a:xfrm>
        </p:spPr>
        <p:txBody>
          <a:bodyPr vert="horz" lIns="46800" tIns="46800" rIns="46800" bIns="4680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2D1B1648-1E19-970C-3E49-B5FC35F6BB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813091" y="5882639"/>
            <a:ext cx="1388513" cy="989973"/>
          </a:xfrm>
          <a:prstGeom prst="rect">
            <a:avLst/>
          </a:prstGeom>
        </p:spPr>
      </p:pic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5116A982-EA15-74D9-F5F8-3FCDBB263388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08B6E3-00D8-0126-D850-A6B6DADED246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</a:t>
            </a:r>
            <a:r>
              <a:rPr lang="en-US" sz="1000" err="1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LTIMindtree</a:t>
            </a:r>
            <a:r>
              <a:rPr lang="en-US" sz="100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 | Privileged and Confidential 2022</a:t>
            </a: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4779385-12DA-4673-5C99-0B98E89E0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232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TIM Stats—Customiz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F6A6EA3E-B123-7B1D-5C5A-3EB8C7D84156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201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83">
          <p15:clr>
            <a:srgbClr val="FBAE40"/>
          </p15:clr>
        </p15:guide>
        <p15:guide id="2" orient="horz" pos="877">
          <p15:clr>
            <a:srgbClr val="FBAE40"/>
          </p15:clr>
        </p15:guide>
        <p15:guide id="3" pos="144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3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BB16B3F-018F-71E7-B239-96DA6F36DEB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983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63A38B-CFCA-4E2D-0606-0BB2E09CD3CE}"/>
              </a:ext>
            </a:extLst>
          </p:cNvPr>
          <p:cNvSpPr/>
          <p:nvPr userDrawn="1"/>
        </p:nvSpPr>
        <p:spPr>
          <a:xfrm rot="10800000"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rgbClr val="0C1334"/>
              </a:gs>
              <a:gs pos="80000">
                <a:schemeClr val="accent3"/>
              </a:gs>
            </a:gsLst>
            <a:lin ang="13500000" scaled="1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A picture containing silhouette&#10;&#10;Description automatically generated">
            <a:extLst>
              <a:ext uri="{FF2B5EF4-FFF2-40B4-BE49-F238E27FC236}">
                <a16:creationId xmlns:a16="http://schemas.microsoft.com/office/drawing/2014/main" id="{E9C5D0E6-97F1-1832-8752-D9080F863A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-1"/>
            <a:ext cx="4768054" cy="484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2970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3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3" y="1186483"/>
            <a:ext cx="10985500" cy="4673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675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914232">
              <a:defRPr/>
            </a:pPr>
            <a:fld id="{86CB4B4D-7CA3-9044-876B-883B54F8677D}" type="slidenum">
              <a:rPr lang="en-US" smtClean="0">
                <a:solidFill>
                  <a:srgbClr val="595959"/>
                </a:solidFill>
              </a:rPr>
              <a:pPr defTabSz="914232">
                <a:defRPr/>
              </a:pPr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02564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4939" y="227722"/>
            <a:ext cx="11528856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667" b="1" kern="1200" dirty="0">
                <a:solidFill>
                  <a:schemeClr val="tx1">
                    <a:lumMod val="50000"/>
                  </a:schemeClr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4" y="6437872"/>
            <a:ext cx="828095" cy="324139"/>
          </a:xfrm>
          <a:prstGeom prst="rect">
            <a:avLst/>
          </a:prstGeom>
        </p:spPr>
        <p:txBody>
          <a:bodyPr lIns="104877" tIns="52439" rIns="104877" bIns="5243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2BAE6DC-88BB-6831-F1B1-A01C2A702DB6}"/>
              </a:ext>
            </a:extLst>
          </p:cNvPr>
          <p:cNvGrpSpPr/>
          <p:nvPr userDrawn="1"/>
        </p:nvGrpSpPr>
        <p:grpSpPr>
          <a:xfrm>
            <a:off x="12573001" y="1295402"/>
            <a:ext cx="609600" cy="4112199"/>
            <a:chOff x="12573000" y="1295400"/>
            <a:chExt cx="609600" cy="411219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DC1B90C0-4CBE-6DBF-B1AE-618869D2F8E0}"/>
                </a:ext>
              </a:extLst>
            </p:cNvPr>
            <p:cNvSpPr/>
            <p:nvPr userDrawn="1"/>
          </p:nvSpPr>
          <p:spPr>
            <a:xfrm>
              <a:off x="12573000" y="1295400"/>
              <a:ext cx="609600" cy="609600"/>
            </a:xfrm>
            <a:prstGeom prst="ellipse">
              <a:avLst/>
            </a:prstGeom>
            <a:solidFill>
              <a:srgbClr val="141E5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F224AB12-38E9-8BF6-C999-3B390B27A562}"/>
                </a:ext>
              </a:extLst>
            </p:cNvPr>
            <p:cNvSpPr/>
            <p:nvPr userDrawn="1"/>
          </p:nvSpPr>
          <p:spPr>
            <a:xfrm>
              <a:off x="12573000" y="2171049"/>
              <a:ext cx="609600" cy="609600"/>
            </a:xfrm>
            <a:prstGeom prst="ellipse">
              <a:avLst/>
            </a:prstGeom>
            <a:solidFill>
              <a:srgbClr val="0088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AD74118-6572-2B85-A7EC-715C193BAC46}"/>
                </a:ext>
              </a:extLst>
            </p:cNvPr>
            <p:cNvSpPr/>
            <p:nvPr userDrawn="1"/>
          </p:nvSpPr>
          <p:spPr>
            <a:xfrm>
              <a:off x="12573000" y="3046699"/>
              <a:ext cx="609600" cy="609600"/>
            </a:xfrm>
            <a:prstGeom prst="ellipse">
              <a:avLst/>
            </a:prstGeom>
            <a:solidFill>
              <a:srgbClr val="FFCC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2B912A95-AFF1-780E-DFB1-A7BA8DD35F4B}"/>
                </a:ext>
              </a:extLst>
            </p:cNvPr>
            <p:cNvSpPr/>
            <p:nvPr userDrawn="1"/>
          </p:nvSpPr>
          <p:spPr>
            <a:xfrm>
              <a:off x="12573000" y="3922348"/>
              <a:ext cx="609600" cy="6096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5D1AB55-ED3B-72CE-C142-464CFE6A317A}"/>
                </a:ext>
              </a:extLst>
            </p:cNvPr>
            <p:cNvSpPr/>
            <p:nvPr userDrawn="1"/>
          </p:nvSpPr>
          <p:spPr>
            <a:xfrm>
              <a:off x="12573000" y="4797998"/>
              <a:ext cx="609600" cy="609600"/>
            </a:xfrm>
            <a:prstGeom prst="ellipse">
              <a:avLst/>
            </a:prstGeom>
            <a:solidFill>
              <a:srgbClr val="C1EA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</p:spTree>
    <p:extLst>
      <p:ext uri="{BB962C8B-B14F-4D97-AF65-F5344CB8AC3E}">
        <p14:creationId xmlns:p14="http://schemas.microsoft.com/office/powerpoint/2010/main" val="2978312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76">
          <p15:clr>
            <a:srgbClr val="FBAE40"/>
          </p15:clr>
        </p15:guide>
        <p15:guide id="2" pos="224">
          <p15:clr>
            <a:srgbClr val="FBAE40"/>
          </p15:clr>
        </p15:guide>
        <p15:guide id="3" orient="horz" pos="416">
          <p15:clr>
            <a:srgbClr val="FBAE40"/>
          </p15:clr>
        </p15:guide>
        <p15:guide id="4" pos="9793">
          <p15:clr>
            <a:srgbClr val="FBAE40"/>
          </p15:clr>
        </p15:guide>
        <p15:guide id="5" pos="742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1" smtClean="0">
                <a:solidFill>
                  <a:srgbClr val="00001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200" b="1">
              <a:solidFill>
                <a:srgbClr val="00001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519C722-A6CD-D23A-7CDB-72F8B9E4E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74" y="365126"/>
            <a:ext cx="11269454" cy="5851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E25DB2B-F943-7A6F-30B1-CEA1912C8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274" y="1205802"/>
            <a:ext cx="11269454" cy="4971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  <a:lvl2pPr marL="800100" indent="-34290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30421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2466977"/>
            <a:ext cx="12192000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2743200"/>
            <a:ext cx="7721600" cy="1066800"/>
          </a:xfrm>
        </p:spPr>
        <p:txBody>
          <a:bodyPr anchor="t">
            <a:normAutofit/>
          </a:bodyPr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- Limit this to just two lines onl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4572000"/>
            <a:ext cx="7721600" cy="457200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- Limit it to just one line onl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9600" y="6477000"/>
            <a:ext cx="140455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© Mindtree limited 2015</a:t>
            </a:r>
          </a:p>
        </p:txBody>
      </p:sp>
      <p:pic>
        <p:nvPicPr>
          <p:cNvPr id="1026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9600" y="832104"/>
            <a:ext cx="244792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6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85" y="1371601"/>
            <a:ext cx="10972800" cy="1637371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840"/>
              </a:spcBef>
              <a:defRPr sz="1800"/>
            </a:lvl1pPr>
            <a:lvl2pPr>
              <a:lnSpc>
                <a:spcPct val="120000"/>
              </a:lnSpc>
              <a:spcBef>
                <a:spcPts val="840"/>
              </a:spcBef>
              <a:defRPr sz="1800"/>
            </a:lvl2pPr>
            <a:lvl3pPr marL="457189" indent="-228594">
              <a:lnSpc>
                <a:spcPct val="120000"/>
              </a:lnSpc>
              <a:spcBef>
                <a:spcPts val="840"/>
              </a:spcBef>
              <a:buSzPct val="80000"/>
              <a:buFont typeface="Arial" panose="020B0604020202020204" pitchFamily="34" charset="0"/>
              <a:buChar char="–"/>
              <a:defRPr sz="1800"/>
            </a:lvl3pPr>
            <a:lvl4pPr>
              <a:lnSpc>
                <a:spcPct val="120000"/>
              </a:lnSpc>
              <a:spcBef>
                <a:spcPts val="840"/>
              </a:spcBef>
              <a:defRPr sz="1800"/>
            </a:lvl4pPr>
            <a:lvl5pPr>
              <a:lnSpc>
                <a:spcPct val="120000"/>
              </a:lnSpc>
              <a:spcBef>
                <a:spcPts val="84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92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843" y="2209800"/>
            <a:ext cx="6908800" cy="6397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ection header 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919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1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" y="2174877"/>
            <a:ext cx="5386917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9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7"/>
            <a:ext cx="5389033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04232" y="6474769"/>
            <a:ext cx="1689886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75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 - for limited circulation only</a:t>
            </a:r>
          </a:p>
        </p:txBody>
      </p:sp>
    </p:spTree>
    <p:extLst>
      <p:ext uri="{BB962C8B-B14F-4D97-AF65-F5344CB8AC3E}">
        <p14:creationId xmlns:p14="http://schemas.microsoft.com/office/powerpoint/2010/main" val="236908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1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6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63A38B-CFCA-4E2D-0606-0BB2E09CD3CE}"/>
              </a:ext>
            </a:extLst>
          </p:cNvPr>
          <p:cNvSpPr/>
          <p:nvPr userDrawn="1"/>
        </p:nvSpPr>
        <p:spPr>
          <a:xfrm rot="10800000"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rgbClr val="0C1334"/>
              </a:gs>
              <a:gs pos="80000">
                <a:schemeClr val="accent3"/>
              </a:gs>
            </a:gsLst>
            <a:lin ang="13500000" scaled="1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A picture containing silhouette&#10;&#10;Description automatically generated">
            <a:extLst>
              <a:ext uri="{FF2B5EF4-FFF2-40B4-BE49-F238E27FC236}">
                <a16:creationId xmlns:a16="http://schemas.microsoft.com/office/drawing/2014/main" id="{E9C5D0E6-97F1-1832-8752-D9080F863A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-1"/>
            <a:ext cx="4768054" cy="48495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E3DF23-CB4F-3099-B5E7-7E3B7D6D6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8251"/>
            <a:ext cx="12192000" cy="539749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9F80C69-79A1-C247-1B25-27A1E5EDB545}"/>
              </a:ext>
            </a:extLst>
          </p:cNvPr>
          <p:cNvSpPr txBox="1">
            <a:spLocks/>
          </p:cNvSpPr>
          <p:nvPr userDrawn="1"/>
        </p:nvSpPr>
        <p:spPr>
          <a:xfrm>
            <a:off x="7649537" y="6466907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F439014-E629-42E3-A58B-61A0F1C8CFFE}" type="slidenum">
              <a:rPr lang="en-US" sz="1200" b="1" smtClean="0">
                <a:solidFill>
                  <a:schemeClr val="accent3"/>
                </a:solidFill>
                <a:latin typeface="Frutiger 45 Light" pitchFamily="2" charset="0"/>
                <a:cs typeface="Calibri" panose="020F0502020204030204" pitchFamily="34" charset="0"/>
              </a:rPr>
              <a:pPr algn="ctr"/>
              <a:t>‹#›</a:t>
            </a:fld>
            <a:endParaRPr lang="en-US" sz="1200" b="1" dirty="0">
              <a:solidFill>
                <a:schemeClr val="accent3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1A5BC9-0218-264C-B8A0-C487861D244D}"/>
              </a:ext>
            </a:extLst>
          </p:cNvPr>
          <p:cNvSpPr txBox="1"/>
          <p:nvPr userDrawn="1"/>
        </p:nvSpPr>
        <p:spPr>
          <a:xfrm>
            <a:off x="4189702" y="6488678"/>
            <a:ext cx="3812596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chemeClr val="bg1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Global Transformation Approach</a:t>
            </a:r>
            <a:endParaRPr lang="en-IN" sz="1000" dirty="0">
              <a:solidFill>
                <a:schemeClr val="bg1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7" name="Title 12">
            <a:extLst>
              <a:ext uri="{FF2B5EF4-FFF2-40B4-BE49-F238E27FC236}">
                <a16:creationId xmlns:a16="http://schemas.microsoft.com/office/drawing/2014/main" id="{5956DE51-B56F-F6DB-533D-5785E6021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300" y="198438"/>
            <a:ext cx="11595100" cy="70326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A3F10A-85E5-2142-8E6E-53B710A0A13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99404" y="6318250"/>
            <a:ext cx="1592596" cy="53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99082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66733" y="273053"/>
            <a:ext cx="6815667" cy="5853113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2100" dirty="0" smtClean="0"/>
            </a:lvl1pPr>
            <a:lvl2pPr>
              <a:defRPr lang="en-US" sz="2100" dirty="0" smtClean="0"/>
            </a:lvl2pPr>
            <a:lvl3pPr>
              <a:defRPr lang="en-US" sz="2100" dirty="0" smtClean="0"/>
            </a:lvl3pPr>
            <a:lvl4pPr>
              <a:defRPr lang="en-US" sz="2100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09602" y="1435102"/>
            <a:ext cx="4011084" cy="234765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7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9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45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10321" y="1371601"/>
            <a:ext cx="2634567" cy="16373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5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8631" y="274640"/>
            <a:ext cx="1637371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82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00276"/>
            <a:ext cx="12192000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79378" y="6428601"/>
            <a:ext cx="6058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898989"/>
                </a:solidFill>
                <a:cs typeface="Arial" pitchFamily="34" charset="0"/>
              </a:rPr>
              <a:t>India | USA | UK | Germany | Sweden | Belgium | France | Switzerland | UAE | Singapore | Australia | Japan | China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4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lors to be used in the presenta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040191" y="1634491"/>
            <a:ext cx="3048000" cy="685800"/>
          </a:xfrm>
          <a:prstGeom prst="roundRect">
            <a:avLst/>
          </a:prstGeom>
          <a:solidFill>
            <a:srgbClr val="A71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67.25.48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40191" y="2493645"/>
            <a:ext cx="3048000" cy="685800"/>
          </a:xfrm>
          <a:prstGeom prst="roundRect">
            <a:avLst/>
          </a:prstGeom>
          <a:solidFill>
            <a:srgbClr val="E37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227.114.34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368800" y="1634491"/>
            <a:ext cx="3048000" cy="685800"/>
          </a:xfrm>
          <a:prstGeom prst="roundRect">
            <a:avLst/>
          </a:prstGeom>
          <a:solidFill>
            <a:srgbClr val="C7D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RGB - 199.210.138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368800" y="2493645"/>
            <a:ext cx="3048000" cy="685800"/>
          </a:xfrm>
          <a:prstGeom prst="roundRect">
            <a:avLst/>
          </a:prstGeom>
          <a:solidFill>
            <a:srgbClr val="0066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– 0.102.161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368800" y="3352800"/>
            <a:ext cx="3048000" cy="685800"/>
          </a:xfrm>
          <a:prstGeom prst="roundRect">
            <a:avLst/>
          </a:prstGeom>
          <a:solidFill>
            <a:srgbClr val="4D4F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77.79.8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040191" y="3320143"/>
            <a:ext cx="3048000" cy="685800"/>
          </a:xfrm>
          <a:prstGeom prst="roundRect">
            <a:avLst/>
          </a:prstGeom>
          <a:solidFill>
            <a:srgbClr val="830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31.0.8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98222" y="5029200"/>
            <a:ext cx="33986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Guidelines available at </a:t>
            </a:r>
          </a:p>
          <a:p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  <a:p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PeopleHub &gt; Microsites &gt;Marketing Hub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91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0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37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3247700"/>
            <a:ext cx="12192000" cy="35341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4400" y="6416679"/>
            <a:ext cx="2844800" cy="365125"/>
          </a:xfrm>
          <a:prstGeom prst="rect">
            <a:avLst/>
          </a:prstGeom>
        </p:spPr>
        <p:txBody>
          <a:bodyPr vert="horz" lIns="68574" tIns="34289" rIns="68574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23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480"/>
            <a:ext cx="12192000" cy="69189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5410100" y="6273800"/>
            <a:ext cx="6647012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867" b="1" dirty="0">
                <a:solidFill>
                  <a:prstClr val="white"/>
                </a:solidFill>
                <a:latin typeface="Calibri Light" panose="020F0302020204030204" pitchFamily="34" charset="0"/>
                <a:ea typeface="Aller" charset="0"/>
                <a:cs typeface="Aller" charset="0"/>
              </a:rPr>
              <a:t>Agile    |    Digital    |    Enterprise Applications   |    Managed Servic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09612" y="283309"/>
            <a:ext cx="3265113" cy="1012097"/>
            <a:chOff x="2330450" y="-4186361"/>
            <a:chExt cx="8245475" cy="2555875"/>
          </a:xfrm>
        </p:grpSpPr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594225" y="-3840286"/>
              <a:ext cx="4986338" cy="1023938"/>
            </a:xfrm>
            <a:custGeom>
              <a:avLst/>
              <a:gdLst>
                <a:gd name="T0" fmla="*/ 1038 w 1328"/>
                <a:gd name="T1" fmla="*/ 188 h 272"/>
                <a:gd name="T2" fmla="*/ 1125 w 1328"/>
                <a:gd name="T3" fmla="*/ 235 h 272"/>
                <a:gd name="T4" fmla="*/ 1136 w 1328"/>
                <a:gd name="T5" fmla="*/ 259 h 272"/>
                <a:gd name="T6" fmla="*/ 1006 w 1328"/>
                <a:gd name="T7" fmla="*/ 164 h 272"/>
                <a:gd name="T8" fmla="*/ 1149 w 1328"/>
                <a:gd name="T9" fmla="*/ 175 h 272"/>
                <a:gd name="T10" fmla="*/ 1038 w 1328"/>
                <a:gd name="T11" fmla="*/ 159 h 272"/>
                <a:gd name="T12" fmla="*/ 1119 w 1328"/>
                <a:gd name="T13" fmla="*/ 156 h 272"/>
                <a:gd name="T14" fmla="*/ 1216 w 1328"/>
                <a:gd name="T15" fmla="*/ 188 h 272"/>
                <a:gd name="T16" fmla="*/ 1303 w 1328"/>
                <a:gd name="T17" fmla="*/ 235 h 272"/>
                <a:gd name="T18" fmla="*/ 1314 w 1328"/>
                <a:gd name="T19" fmla="*/ 259 h 272"/>
                <a:gd name="T20" fmla="*/ 1184 w 1328"/>
                <a:gd name="T21" fmla="*/ 164 h 272"/>
                <a:gd name="T22" fmla="*/ 1328 w 1328"/>
                <a:gd name="T23" fmla="*/ 175 h 272"/>
                <a:gd name="T24" fmla="*/ 1216 w 1328"/>
                <a:gd name="T25" fmla="*/ 159 h 272"/>
                <a:gd name="T26" fmla="*/ 1297 w 1328"/>
                <a:gd name="T27" fmla="*/ 156 h 272"/>
                <a:gd name="T28" fmla="*/ 194 w 1328"/>
                <a:gd name="T29" fmla="*/ 9 h 272"/>
                <a:gd name="T30" fmla="*/ 15 w 1328"/>
                <a:gd name="T31" fmla="*/ 0 h 272"/>
                <a:gd name="T32" fmla="*/ 15 w 1328"/>
                <a:gd name="T33" fmla="*/ 272 h 272"/>
                <a:gd name="T34" fmla="*/ 97 w 1328"/>
                <a:gd name="T35" fmla="*/ 217 h 272"/>
                <a:gd name="T36" fmla="*/ 194 w 1328"/>
                <a:gd name="T37" fmla="*/ 73 h 272"/>
                <a:gd name="T38" fmla="*/ 225 w 1328"/>
                <a:gd name="T39" fmla="*/ 257 h 272"/>
                <a:gd name="T40" fmla="*/ 297 w 1328"/>
                <a:gd name="T41" fmla="*/ 7 h 272"/>
                <a:gd name="T42" fmla="*/ 316 w 1328"/>
                <a:gd name="T43" fmla="*/ 26 h 272"/>
                <a:gd name="T44" fmla="*/ 297 w 1328"/>
                <a:gd name="T45" fmla="*/ 84 h 272"/>
                <a:gd name="T46" fmla="*/ 297 w 1328"/>
                <a:gd name="T47" fmla="*/ 272 h 272"/>
                <a:gd name="T48" fmla="*/ 512 w 1328"/>
                <a:gd name="T49" fmla="*/ 150 h 272"/>
                <a:gd name="T50" fmla="*/ 368 w 1328"/>
                <a:gd name="T51" fmla="*/ 86 h 272"/>
                <a:gd name="T52" fmla="*/ 370 w 1328"/>
                <a:gd name="T53" fmla="*/ 133 h 272"/>
                <a:gd name="T54" fmla="*/ 402 w 1328"/>
                <a:gd name="T55" fmla="*/ 256 h 272"/>
                <a:gd name="T56" fmla="*/ 480 w 1328"/>
                <a:gd name="T57" fmla="*/ 153 h 272"/>
                <a:gd name="T58" fmla="*/ 512 w 1328"/>
                <a:gd name="T59" fmla="*/ 256 h 272"/>
                <a:gd name="T60" fmla="*/ 625 w 1328"/>
                <a:gd name="T61" fmla="*/ 272 h 272"/>
                <a:gd name="T62" fmla="*/ 622 w 1328"/>
                <a:gd name="T63" fmla="*/ 84 h 272"/>
                <a:gd name="T64" fmla="*/ 682 w 1328"/>
                <a:gd name="T65" fmla="*/ 6 h 272"/>
                <a:gd name="T66" fmla="*/ 714 w 1328"/>
                <a:gd name="T67" fmla="*/ 258 h 272"/>
                <a:gd name="T68" fmla="*/ 628 w 1328"/>
                <a:gd name="T69" fmla="*/ 111 h 272"/>
                <a:gd name="T70" fmla="*/ 629 w 1328"/>
                <a:gd name="T71" fmla="*/ 244 h 272"/>
                <a:gd name="T72" fmla="*/ 837 w 1328"/>
                <a:gd name="T73" fmla="*/ 270 h 272"/>
                <a:gd name="T74" fmla="*/ 829 w 1328"/>
                <a:gd name="T75" fmla="*/ 241 h 272"/>
                <a:gd name="T76" fmla="*/ 837 w 1328"/>
                <a:gd name="T77" fmla="*/ 113 h 272"/>
                <a:gd name="T78" fmla="*/ 794 w 1328"/>
                <a:gd name="T79" fmla="*/ 86 h 272"/>
                <a:gd name="T80" fmla="*/ 762 w 1328"/>
                <a:gd name="T81" fmla="*/ 48 h 272"/>
                <a:gd name="T82" fmla="*/ 734 w 1328"/>
                <a:gd name="T83" fmla="*/ 100 h 272"/>
                <a:gd name="T84" fmla="*/ 762 w 1328"/>
                <a:gd name="T85" fmla="*/ 191 h 272"/>
                <a:gd name="T86" fmla="*/ 887 w 1328"/>
                <a:gd name="T87" fmla="*/ 86 h 272"/>
                <a:gd name="T88" fmla="*/ 889 w 1328"/>
                <a:gd name="T89" fmla="*/ 133 h 272"/>
                <a:gd name="T90" fmla="*/ 921 w 1328"/>
                <a:gd name="T91" fmla="*/ 256 h 272"/>
                <a:gd name="T92" fmla="*/ 961 w 1328"/>
                <a:gd name="T93" fmla="*/ 114 h 272"/>
                <a:gd name="T94" fmla="*/ 999 w 1328"/>
                <a:gd name="T95" fmla="*/ 101 h 272"/>
                <a:gd name="T96" fmla="*/ 887 w 1328"/>
                <a:gd name="T97" fmla="*/ 8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8" h="272">
                  <a:moveTo>
                    <a:pt x="1149" y="175"/>
                  </a:moveTo>
                  <a:cubicBezTo>
                    <a:pt x="1149" y="182"/>
                    <a:pt x="1145" y="188"/>
                    <a:pt x="1137" y="188"/>
                  </a:cubicBezTo>
                  <a:cubicBezTo>
                    <a:pt x="1038" y="188"/>
                    <a:pt x="1038" y="188"/>
                    <a:pt x="1038" y="188"/>
                  </a:cubicBezTo>
                  <a:cubicBezTo>
                    <a:pt x="1038" y="193"/>
                    <a:pt x="1038" y="193"/>
                    <a:pt x="1038" y="193"/>
                  </a:cubicBezTo>
                  <a:cubicBezTo>
                    <a:pt x="1038" y="222"/>
                    <a:pt x="1050" y="245"/>
                    <a:pt x="1079" y="245"/>
                  </a:cubicBezTo>
                  <a:cubicBezTo>
                    <a:pt x="1097" y="245"/>
                    <a:pt x="1109" y="242"/>
                    <a:pt x="1125" y="235"/>
                  </a:cubicBezTo>
                  <a:cubicBezTo>
                    <a:pt x="1126" y="234"/>
                    <a:pt x="1128" y="233"/>
                    <a:pt x="1130" y="233"/>
                  </a:cubicBezTo>
                  <a:cubicBezTo>
                    <a:pt x="1138" y="233"/>
                    <a:pt x="1143" y="240"/>
                    <a:pt x="1143" y="247"/>
                  </a:cubicBezTo>
                  <a:cubicBezTo>
                    <a:pt x="1143" y="253"/>
                    <a:pt x="1140" y="256"/>
                    <a:pt x="1136" y="259"/>
                  </a:cubicBezTo>
                  <a:cubicBezTo>
                    <a:pt x="1120" y="269"/>
                    <a:pt x="1096" y="272"/>
                    <a:pt x="1078" y="272"/>
                  </a:cubicBezTo>
                  <a:cubicBezTo>
                    <a:pt x="1030" y="272"/>
                    <a:pt x="1006" y="238"/>
                    <a:pt x="1006" y="192"/>
                  </a:cubicBezTo>
                  <a:cubicBezTo>
                    <a:pt x="1006" y="164"/>
                    <a:pt x="1006" y="164"/>
                    <a:pt x="1006" y="164"/>
                  </a:cubicBezTo>
                  <a:cubicBezTo>
                    <a:pt x="1006" y="118"/>
                    <a:pt x="1030" y="84"/>
                    <a:pt x="1078" y="84"/>
                  </a:cubicBezTo>
                  <a:cubicBezTo>
                    <a:pt x="1127" y="84"/>
                    <a:pt x="1149" y="114"/>
                    <a:pt x="1149" y="160"/>
                  </a:cubicBezTo>
                  <a:lnTo>
                    <a:pt x="1149" y="175"/>
                  </a:lnTo>
                  <a:close/>
                  <a:moveTo>
                    <a:pt x="1119" y="156"/>
                  </a:moveTo>
                  <a:cubicBezTo>
                    <a:pt x="1119" y="129"/>
                    <a:pt x="1109" y="110"/>
                    <a:pt x="1079" y="110"/>
                  </a:cubicBezTo>
                  <a:cubicBezTo>
                    <a:pt x="1051" y="110"/>
                    <a:pt x="1038" y="132"/>
                    <a:pt x="1038" y="159"/>
                  </a:cubicBezTo>
                  <a:cubicBezTo>
                    <a:pt x="1038" y="162"/>
                    <a:pt x="1038" y="162"/>
                    <a:pt x="1038" y="162"/>
                  </a:cubicBezTo>
                  <a:cubicBezTo>
                    <a:pt x="1119" y="162"/>
                    <a:pt x="1119" y="162"/>
                    <a:pt x="1119" y="162"/>
                  </a:cubicBezTo>
                  <a:lnTo>
                    <a:pt x="1119" y="156"/>
                  </a:lnTo>
                  <a:close/>
                  <a:moveTo>
                    <a:pt x="1328" y="175"/>
                  </a:moveTo>
                  <a:cubicBezTo>
                    <a:pt x="1328" y="182"/>
                    <a:pt x="1323" y="188"/>
                    <a:pt x="1316" y="188"/>
                  </a:cubicBezTo>
                  <a:cubicBezTo>
                    <a:pt x="1216" y="188"/>
                    <a:pt x="1216" y="188"/>
                    <a:pt x="1216" y="188"/>
                  </a:cubicBezTo>
                  <a:cubicBezTo>
                    <a:pt x="1216" y="193"/>
                    <a:pt x="1216" y="193"/>
                    <a:pt x="1216" y="193"/>
                  </a:cubicBezTo>
                  <a:cubicBezTo>
                    <a:pt x="1216" y="222"/>
                    <a:pt x="1228" y="245"/>
                    <a:pt x="1257" y="245"/>
                  </a:cubicBezTo>
                  <a:cubicBezTo>
                    <a:pt x="1275" y="245"/>
                    <a:pt x="1287" y="242"/>
                    <a:pt x="1303" y="235"/>
                  </a:cubicBezTo>
                  <a:cubicBezTo>
                    <a:pt x="1305" y="234"/>
                    <a:pt x="1306" y="233"/>
                    <a:pt x="1308" y="233"/>
                  </a:cubicBezTo>
                  <a:cubicBezTo>
                    <a:pt x="1316" y="233"/>
                    <a:pt x="1321" y="240"/>
                    <a:pt x="1321" y="247"/>
                  </a:cubicBezTo>
                  <a:cubicBezTo>
                    <a:pt x="1321" y="253"/>
                    <a:pt x="1318" y="256"/>
                    <a:pt x="1314" y="259"/>
                  </a:cubicBezTo>
                  <a:cubicBezTo>
                    <a:pt x="1298" y="269"/>
                    <a:pt x="1274" y="272"/>
                    <a:pt x="1256" y="272"/>
                  </a:cubicBezTo>
                  <a:cubicBezTo>
                    <a:pt x="1208" y="272"/>
                    <a:pt x="1184" y="238"/>
                    <a:pt x="1184" y="192"/>
                  </a:cubicBezTo>
                  <a:cubicBezTo>
                    <a:pt x="1184" y="164"/>
                    <a:pt x="1184" y="164"/>
                    <a:pt x="1184" y="164"/>
                  </a:cubicBezTo>
                  <a:cubicBezTo>
                    <a:pt x="1184" y="118"/>
                    <a:pt x="1209" y="84"/>
                    <a:pt x="1256" y="84"/>
                  </a:cubicBezTo>
                  <a:cubicBezTo>
                    <a:pt x="1305" y="84"/>
                    <a:pt x="1328" y="114"/>
                    <a:pt x="1328" y="160"/>
                  </a:cubicBezTo>
                  <a:lnTo>
                    <a:pt x="1328" y="175"/>
                  </a:lnTo>
                  <a:close/>
                  <a:moveTo>
                    <a:pt x="1297" y="156"/>
                  </a:moveTo>
                  <a:cubicBezTo>
                    <a:pt x="1297" y="129"/>
                    <a:pt x="1287" y="110"/>
                    <a:pt x="1257" y="110"/>
                  </a:cubicBezTo>
                  <a:cubicBezTo>
                    <a:pt x="1229" y="110"/>
                    <a:pt x="1216" y="132"/>
                    <a:pt x="1216" y="159"/>
                  </a:cubicBezTo>
                  <a:cubicBezTo>
                    <a:pt x="1216" y="162"/>
                    <a:pt x="1216" y="162"/>
                    <a:pt x="1216" y="162"/>
                  </a:cubicBezTo>
                  <a:cubicBezTo>
                    <a:pt x="1297" y="162"/>
                    <a:pt x="1297" y="162"/>
                    <a:pt x="1297" y="162"/>
                  </a:cubicBezTo>
                  <a:lnTo>
                    <a:pt x="1297" y="156"/>
                  </a:lnTo>
                  <a:close/>
                  <a:moveTo>
                    <a:pt x="225" y="15"/>
                  </a:moveTo>
                  <a:cubicBezTo>
                    <a:pt x="225" y="6"/>
                    <a:pt x="218" y="0"/>
                    <a:pt x="209" y="0"/>
                  </a:cubicBezTo>
                  <a:cubicBezTo>
                    <a:pt x="202" y="0"/>
                    <a:pt x="197" y="3"/>
                    <a:pt x="194" y="9"/>
                  </a:cubicBezTo>
                  <a:cubicBezTo>
                    <a:pt x="113" y="180"/>
                    <a:pt x="113" y="180"/>
                    <a:pt x="113" y="18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8" y="3"/>
                    <a:pt x="23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5"/>
                    <a:pt x="6" y="272"/>
                    <a:pt x="15" y="272"/>
                  </a:cubicBezTo>
                  <a:cubicBezTo>
                    <a:pt x="23" y="272"/>
                    <a:pt x="30" y="265"/>
                    <a:pt x="30" y="257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100" y="223"/>
                    <a:pt x="106" y="226"/>
                    <a:pt x="112" y="226"/>
                  </a:cubicBezTo>
                  <a:cubicBezTo>
                    <a:pt x="119" y="226"/>
                    <a:pt x="124" y="223"/>
                    <a:pt x="127" y="217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4" y="257"/>
                    <a:pt x="194" y="257"/>
                    <a:pt x="194" y="257"/>
                  </a:cubicBezTo>
                  <a:cubicBezTo>
                    <a:pt x="194" y="265"/>
                    <a:pt x="201" y="272"/>
                    <a:pt x="210" y="272"/>
                  </a:cubicBezTo>
                  <a:cubicBezTo>
                    <a:pt x="218" y="272"/>
                    <a:pt x="225" y="265"/>
                    <a:pt x="225" y="257"/>
                  </a:cubicBezTo>
                  <a:lnTo>
                    <a:pt x="225" y="15"/>
                  </a:lnTo>
                  <a:close/>
                  <a:moveTo>
                    <a:pt x="316" y="26"/>
                  </a:moveTo>
                  <a:cubicBezTo>
                    <a:pt x="316" y="15"/>
                    <a:pt x="307" y="7"/>
                    <a:pt x="297" y="7"/>
                  </a:cubicBezTo>
                  <a:cubicBezTo>
                    <a:pt x="287" y="7"/>
                    <a:pt x="278" y="16"/>
                    <a:pt x="278" y="26"/>
                  </a:cubicBezTo>
                  <a:cubicBezTo>
                    <a:pt x="278" y="36"/>
                    <a:pt x="287" y="44"/>
                    <a:pt x="297" y="44"/>
                  </a:cubicBezTo>
                  <a:cubicBezTo>
                    <a:pt x="307" y="44"/>
                    <a:pt x="316" y="36"/>
                    <a:pt x="316" y="26"/>
                  </a:cubicBezTo>
                  <a:close/>
                  <a:moveTo>
                    <a:pt x="313" y="256"/>
                  </a:moveTo>
                  <a:cubicBezTo>
                    <a:pt x="313" y="100"/>
                    <a:pt x="313" y="100"/>
                    <a:pt x="313" y="100"/>
                  </a:cubicBezTo>
                  <a:cubicBezTo>
                    <a:pt x="313" y="91"/>
                    <a:pt x="306" y="84"/>
                    <a:pt x="297" y="84"/>
                  </a:cubicBezTo>
                  <a:cubicBezTo>
                    <a:pt x="288" y="84"/>
                    <a:pt x="281" y="91"/>
                    <a:pt x="281" y="100"/>
                  </a:cubicBezTo>
                  <a:cubicBezTo>
                    <a:pt x="281" y="256"/>
                    <a:pt x="281" y="256"/>
                    <a:pt x="281" y="256"/>
                  </a:cubicBezTo>
                  <a:cubicBezTo>
                    <a:pt x="281" y="265"/>
                    <a:pt x="288" y="272"/>
                    <a:pt x="297" y="272"/>
                  </a:cubicBezTo>
                  <a:cubicBezTo>
                    <a:pt x="306" y="272"/>
                    <a:pt x="313" y="265"/>
                    <a:pt x="313" y="256"/>
                  </a:cubicBezTo>
                  <a:close/>
                  <a:moveTo>
                    <a:pt x="512" y="256"/>
                  </a:moveTo>
                  <a:cubicBezTo>
                    <a:pt x="512" y="150"/>
                    <a:pt x="512" y="150"/>
                    <a:pt x="512" y="150"/>
                  </a:cubicBezTo>
                  <a:cubicBezTo>
                    <a:pt x="512" y="110"/>
                    <a:pt x="496" y="84"/>
                    <a:pt x="452" y="84"/>
                  </a:cubicBezTo>
                  <a:cubicBezTo>
                    <a:pt x="431" y="84"/>
                    <a:pt x="410" y="89"/>
                    <a:pt x="395" y="106"/>
                  </a:cubicBezTo>
                  <a:cubicBezTo>
                    <a:pt x="391" y="94"/>
                    <a:pt x="380" y="86"/>
                    <a:pt x="368" y="86"/>
                  </a:cubicBezTo>
                  <a:cubicBezTo>
                    <a:pt x="359" y="86"/>
                    <a:pt x="353" y="90"/>
                    <a:pt x="352" y="98"/>
                  </a:cubicBezTo>
                  <a:cubicBezTo>
                    <a:pt x="352" y="105"/>
                    <a:pt x="355" y="108"/>
                    <a:pt x="362" y="112"/>
                  </a:cubicBezTo>
                  <a:cubicBezTo>
                    <a:pt x="367" y="116"/>
                    <a:pt x="370" y="123"/>
                    <a:pt x="370" y="133"/>
                  </a:cubicBezTo>
                  <a:cubicBezTo>
                    <a:pt x="370" y="256"/>
                    <a:pt x="370" y="256"/>
                    <a:pt x="370" y="256"/>
                  </a:cubicBezTo>
                  <a:cubicBezTo>
                    <a:pt x="370" y="265"/>
                    <a:pt x="377" y="272"/>
                    <a:pt x="386" y="272"/>
                  </a:cubicBezTo>
                  <a:cubicBezTo>
                    <a:pt x="395" y="272"/>
                    <a:pt x="402" y="265"/>
                    <a:pt x="402" y="256"/>
                  </a:cubicBezTo>
                  <a:cubicBezTo>
                    <a:pt x="402" y="137"/>
                    <a:pt x="402" y="137"/>
                    <a:pt x="402" y="137"/>
                  </a:cubicBezTo>
                  <a:cubicBezTo>
                    <a:pt x="411" y="121"/>
                    <a:pt x="428" y="114"/>
                    <a:pt x="446" y="114"/>
                  </a:cubicBezTo>
                  <a:cubicBezTo>
                    <a:pt x="473" y="114"/>
                    <a:pt x="480" y="129"/>
                    <a:pt x="480" y="153"/>
                  </a:cubicBezTo>
                  <a:cubicBezTo>
                    <a:pt x="480" y="256"/>
                    <a:pt x="480" y="256"/>
                    <a:pt x="480" y="256"/>
                  </a:cubicBezTo>
                  <a:cubicBezTo>
                    <a:pt x="480" y="265"/>
                    <a:pt x="487" y="272"/>
                    <a:pt x="496" y="272"/>
                  </a:cubicBezTo>
                  <a:cubicBezTo>
                    <a:pt x="505" y="272"/>
                    <a:pt x="512" y="265"/>
                    <a:pt x="512" y="256"/>
                  </a:cubicBezTo>
                  <a:close/>
                  <a:moveTo>
                    <a:pt x="699" y="272"/>
                  </a:moveTo>
                  <a:cubicBezTo>
                    <a:pt x="688" y="272"/>
                    <a:pt x="677" y="265"/>
                    <a:pt x="672" y="256"/>
                  </a:cubicBezTo>
                  <a:cubicBezTo>
                    <a:pt x="659" y="266"/>
                    <a:pt x="642" y="272"/>
                    <a:pt x="625" y="272"/>
                  </a:cubicBezTo>
                  <a:cubicBezTo>
                    <a:pt x="576" y="272"/>
                    <a:pt x="557" y="244"/>
                    <a:pt x="557" y="198"/>
                  </a:cubicBezTo>
                  <a:cubicBezTo>
                    <a:pt x="557" y="165"/>
                    <a:pt x="557" y="165"/>
                    <a:pt x="557" y="165"/>
                  </a:cubicBezTo>
                  <a:cubicBezTo>
                    <a:pt x="557" y="121"/>
                    <a:pt x="572" y="84"/>
                    <a:pt x="622" y="84"/>
                  </a:cubicBezTo>
                  <a:cubicBezTo>
                    <a:pt x="638" y="84"/>
                    <a:pt x="654" y="89"/>
                    <a:pt x="666" y="98"/>
                  </a:cubicBezTo>
                  <a:cubicBezTo>
                    <a:pt x="666" y="22"/>
                    <a:pt x="666" y="22"/>
                    <a:pt x="666" y="22"/>
                  </a:cubicBezTo>
                  <a:cubicBezTo>
                    <a:pt x="666" y="13"/>
                    <a:pt x="673" y="6"/>
                    <a:pt x="682" y="6"/>
                  </a:cubicBezTo>
                  <a:cubicBezTo>
                    <a:pt x="691" y="6"/>
                    <a:pt x="698" y="13"/>
                    <a:pt x="698" y="22"/>
                  </a:cubicBezTo>
                  <a:cubicBezTo>
                    <a:pt x="698" y="225"/>
                    <a:pt x="698" y="225"/>
                    <a:pt x="698" y="225"/>
                  </a:cubicBezTo>
                  <a:cubicBezTo>
                    <a:pt x="698" y="254"/>
                    <a:pt x="714" y="242"/>
                    <a:pt x="714" y="258"/>
                  </a:cubicBezTo>
                  <a:cubicBezTo>
                    <a:pt x="714" y="268"/>
                    <a:pt x="707" y="272"/>
                    <a:pt x="699" y="272"/>
                  </a:cubicBezTo>
                  <a:close/>
                  <a:moveTo>
                    <a:pt x="666" y="128"/>
                  </a:moveTo>
                  <a:cubicBezTo>
                    <a:pt x="657" y="118"/>
                    <a:pt x="642" y="111"/>
                    <a:pt x="628" y="111"/>
                  </a:cubicBezTo>
                  <a:cubicBezTo>
                    <a:pt x="598" y="111"/>
                    <a:pt x="589" y="134"/>
                    <a:pt x="589" y="161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28"/>
                    <a:pt x="599" y="244"/>
                    <a:pt x="629" y="244"/>
                  </a:cubicBezTo>
                  <a:cubicBezTo>
                    <a:pt x="643" y="244"/>
                    <a:pt x="656" y="238"/>
                    <a:pt x="666" y="229"/>
                  </a:cubicBezTo>
                  <a:lnTo>
                    <a:pt x="666" y="128"/>
                  </a:lnTo>
                  <a:close/>
                  <a:moveTo>
                    <a:pt x="837" y="270"/>
                  </a:moveTo>
                  <a:cubicBezTo>
                    <a:pt x="845" y="270"/>
                    <a:pt x="851" y="263"/>
                    <a:pt x="851" y="255"/>
                  </a:cubicBezTo>
                  <a:cubicBezTo>
                    <a:pt x="851" y="247"/>
                    <a:pt x="845" y="241"/>
                    <a:pt x="837" y="241"/>
                  </a:cubicBezTo>
                  <a:cubicBezTo>
                    <a:pt x="829" y="241"/>
                    <a:pt x="829" y="241"/>
                    <a:pt x="829" y="241"/>
                  </a:cubicBezTo>
                  <a:cubicBezTo>
                    <a:pt x="796" y="241"/>
                    <a:pt x="794" y="219"/>
                    <a:pt x="794" y="191"/>
                  </a:cubicBezTo>
                  <a:cubicBezTo>
                    <a:pt x="794" y="113"/>
                    <a:pt x="794" y="113"/>
                    <a:pt x="794" y="113"/>
                  </a:cubicBezTo>
                  <a:cubicBezTo>
                    <a:pt x="837" y="113"/>
                    <a:pt x="837" y="113"/>
                    <a:pt x="837" y="113"/>
                  </a:cubicBezTo>
                  <a:cubicBezTo>
                    <a:pt x="844" y="113"/>
                    <a:pt x="850" y="107"/>
                    <a:pt x="850" y="100"/>
                  </a:cubicBezTo>
                  <a:cubicBezTo>
                    <a:pt x="850" y="92"/>
                    <a:pt x="844" y="86"/>
                    <a:pt x="837" y="86"/>
                  </a:cubicBezTo>
                  <a:cubicBezTo>
                    <a:pt x="794" y="86"/>
                    <a:pt x="794" y="86"/>
                    <a:pt x="794" y="86"/>
                  </a:cubicBezTo>
                  <a:cubicBezTo>
                    <a:pt x="794" y="48"/>
                    <a:pt x="794" y="48"/>
                    <a:pt x="794" y="48"/>
                  </a:cubicBezTo>
                  <a:cubicBezTo>
                    <a:pt x="794" y="40"/>
                    <a:pt x="787" y="32"/>
                    <a:pt x="778" y="32"/>
                  </a:cubicBezTo>
                  <a:cubicBezTo>
                    <a:pt x="770" y="32"/>
                    <a:pt x="762" y="40"/>
                    <a:pt x="762" y="48"/>
                  </a:cubicBezTo>
                  <a:cubicBezTo>
                    <a:pt x="762" y="86"/>
                    <a:pt x="762" y="86"/>
                    <a:pt x="762" y="86"/>
                  </a:cubicBezTo>
                  <a:cubicBezTo>
                    <a:pt x="747" y="86"/>
                    <a:pt x="747" y="86"/>
                    <a:pt x="747" y="86"/>
                  </a:cubicBezTo>
                  <a:cubicBezTo>
                    <a:pt x="740" y="86"/>
                    <a:pt x="734" y="92"/>
                    <a:pt x="734" y="100"/>
                  </a:cubicBezTo>
                  <a:cubicBezTo>
                    <a:pt x="734" y="107"/>
                    <a:pt x="740" y="113"/>
                    <a:pt x="747" y="113"/>
                  </a:cubicBezTo>
                  <a:cubicBezTo>
                    <a:pt x="762" y="113"/>
                    <a:pt x="762" y="113"/>
                    <a:pt x="762" y="113"/>
                  </a:cubicBezTo>
                  <a:cubicBezTo>
                    <a:pt x="762" y="191"/>
                    <a:pt x="762" y="191"/>
                    <a:pt x="762" y="191"/>
                  </a:cubicBezTo>
                  <a:cubicBezTo>
                    <a:pt x="762" y="237"/>
                    <a:pt x="774" y="270"/>
                    <a:pt x="826" y="270"/>
                  </a:cubicBezTo>
                  <a:lnTo>
                    <a:pt x="837" y="270"/>
                  </a:lnTo>
                  <a:close/>
                  <a:moveTo>
                    <a:pt x="887" y="86"/>
                  </a:moveTo>
                  <a:cubicBezTo>
                    <a:pt x="878" y="86"/>
                    <a:pt x="872" y="90"/>
                    <a:pt x="871" y="98"/>
                  </a:cubicBezTo>
                  <a:cubicBezTo>
                    <a:pt x="871" y="105"/>
                    <a:pt x="874" y="108"/>
                    <a:pt x="881" y="112"/>
                  </a:cubicBezTo>
                  <a:cubicBezTo>
                    <a:pt x="886" y="116"/>
                    <a:pt x="889" y="123"/>
                    <a:pt x="889" y="133"/>
                  </a:cubicBezTo>
                  <a:cubicBezTo>
                    <a:pt x="889" y="256"/>
                    <a:pt x="889" y="256"/>
                    <a:pt x="889" y="256"/>
                  </a:cubicBezTo>
                  <a:cubicBezTo>
                    <a:pt x="889" y="265"/>
                    <a:pt x="896" y="272"/>
                    <a:pt x="905" y="272"/>
                  </a:cubicBezTo>
                  <a:cubicBezTo>
                    <a:pt x="914" y="272"/>
                    <a:pt x="921" y="265"/>
                    <a:pt x="921" y="256"/>
                  </a:cubicBezTo>
                  <a:cubicBezTo>
                    <a:pt x="921" y="220"/>
                    <a:pt x="921" y="184"/>
                    <a:pt x="921" y="147"/>
                  </a:cubicBezTo>
                  <a:cubicBezTo>
                    <a:pt x="921" y="146"/>
                    <a:pt x="923" y="139"/>
                    <a:pt x="924" y="138"/>
                  </a:cubicBezTo>
                  <a:cubicBezTo>
                    <a:pt x="930" y="121"/>
                    <a:pt x="944" y="114"/>
                    <a:pt x="961" y="114"/>
                  </a:cubicBezTo>
                  <a:cubicBezTo>
                    <a:pt x="968" y="114"/>
                    <a:pt x="973" y="115"/>
                    <a:pt x="979" y="117"/>
                  </a:cubicBezTo>
                  <a:cubicBezTo>
                    <a:pt x="981" y="117"/>
                    <a:pt x="982" y="117"/>
                    <a:pt x="984" y="117"/>
                  </a:cubicBezTo>
                  <a:cubicBezTo>
                    <a:pt x="992" y="117"/>
                    <a:pt x="999" y="109"/>
                    <a:pt x="999" y="101"/>
                  </a:cubicBezTo>
                  <a:cubicBezTo>
                    <a:pt x="999" y="85"/>
                    <a:pt x="978" y="84"/>
                    <a:pt x="967" y="84"/>
                  </a:cubicBezTo>
                  <a:cubicBezTo>
                    <a:pt x="946" y="84"/>
                    <a:pt x="929" y="92"/>
                    <a:pt x="916" y="109"/>
                  </a:cubicBezTo>
                  <a:cubicBezTo>
                    <a:pt x="912" y="96"/>
                    <a:pt x="901" y="86"/>
                    <a:pt x="887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4D4F53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2330450" y="-4186361"/>
              <a:ext cx="1754188" cy="1712913"/>
            </a:xfrm>
            <a:custGeom>
              <a:avLst/>
              <a:gdLst>
                <a:gd name="T0" fmla="*/ 227 w 467"/>
                <a:gd name="T1" fmla="*/ 162 h 455"/>
                <a:gd name="T2" fmla="*/ 112 w 467"/>
                <a:gd name="T3" fmla="*/ 33 h 455"/>
                <a:gd name="T4" fmla="*/ 139 w 467"/>
                <a:gd name="T5" fmla="*/ 23 h 455"/>
                <a:gd name="T6" fmla="*/ 368 w 467"/>
                <a:gd name="T7" fmla="*/ 40 h 455"/>
                <a:gd name="T8" fmla="*/ 229 w 467"/>
                <a:gd name="T9" fmla="*/ 335 h 455"/>
                <a:gd name="T10" fmla="*/ 360 w 467"/>
                <a:gd name="T11" fmla="*/ 265 h 455"/>
                <a:gd name="T12" fmla="*/ 235 w 467"/>
                <a:gd name="T13" fmla="*/ 382 h 455"/>
                <a:gd name="T14" fmla="*/ 248 w 467"/>
                <a:gd name="T15" fmla="*/ 397 h 455"/>
                <a:gd name="T16" fmla="*/ 346 w 467"/>
                <a:gd name="T17" fmla="*/ 361 h 455"/>
                <a:gd name="T18" fmla="*/ 452 w 467"/>
                <a:gd name="T19" fmla="*/ 201 h 455"/>
                <a:gd name="T20" fmla="*/ 324 w 467"/>
                <a:gd name="T21" fmla="*/ 433 h 455"/>
                <a:gd name="T22" fmla="*/ 254 w 467"/>
                <a:gd name="T23" fmla="*/ 1 h 455"/>
                <a:gd name="T24" fmla="*/ 254 w 467"/>
                <a:gd name="T25" fmla="*/ 1 h 455"/>
                <a:gd name="T26" fmla="*/ 334 w 467"/>
                <a:gd name="T27" fmla="*/ 22 h 455"/>
                <a:gd name="T28" fmla="*/ 227 w 467"/>
                <a:gd name="T29" fmla="*/ 119 h 455"/>
                <a:gd name="T30" fmla="*/ 265 w 467"/>
                <a:gd name="T31" fmla="*/ 87 h 455"/>
                <a:gd name="T32" fmla="*/ 355 w 467"/>
                <a:gd name="T33" fmla="*/ 176 h 455"/>
                <a:gd name="T34" fmla="*/ 355 w 467"/>
                <a:gd name="T35" fmla="*/ 176 h 455"/>
                <a:gd name="T36" fmla="*/ 333 w 467"/>
                <a:gd name="T37" fmla="*/ 61 h 455"/>
                <a:gd name="T38" fmla="*/ 340 w 467"/>
                <a:gd name="T39" fmla="*/ 120 h 455"/>
                <a:gd name="T40" fmla="*/ 315 w 467"/>
                <a:gd name="T41" fmla="*/ 214 h 455"/>
                <a:gd name="T42" fmla="*/ 329 w 467"/>
                <a:gd name="T43" fmla="*/ 227 h 455"/>
                <a:gd name="T44" fmla="*/ 319 w 467"/>
                <a:gd name="T45" fmla="*/ 135 h 455"/>
                <a:gd name="T46" fmla="*/ 324 w 467"/>
                <a:gd name="T47" fmla="*/ 153 h 455"/>
                <a:gd name="T48" fmla="*/ 332 w 467"/>
                <a:gd name="T49" fmla="*/ 128 h 455"/>
                <a:gd name="T50" fmla="*/ 173 w 467"/>
                <a:gd name="T51" fmla="*/ 418 h 455"/>
                <a:gd name="T52" fmla="*/ 201 w 467"/>
                <a:gd name="T53" fmla="*/ 401 h 455"/>
                <a:gd name="T54" fmla="*/ 186 w 467"/>
                <a:gd name="T55" fmla="*/ 371 h 455"/>
                <a:gd name="T56" fmla="*/ 309 w 467"/>
                <a:gd name="T57" fmla="*/ 393 h 455"/>
                <a:gd name="T58" fmla="*/ 315 w 467"/>
                <a:gd name="T59" fmla="*/ 404 h 455"/>
                <a:gd name="T60" fmla="*/ 238 w 467"/>
                <a:gd name="T61" fmla="*/ 430 h 455"/>
                <a:gd name="T62" fmla="*/ 267 w 467"/>
                <a:gd name="T63" fmla="*/ 425 h 455"/>
                <a:gd name="T64" fmla="*/ 132 w 467"/>
                <a:gd name="T65" fmla="*/ 429 h 455"/>
                <a:gd name="T66" fmla="*/ 149 w 467"/>
                <a:gd name="T67" fmla="*/ 419 h 455"/>
                <a:gd name="T68" fmla="*/ 197 w 467"/>
                <a:gd name="T69" fmla="*/ 455 h 455"/>
                <a:gd name="T70" fmla="*/ 257 w 467"/>
                <a:gd name="T71" fmla="*/ 144 h 455"/>
                <a:gd name="T72" fmla="*/ 248 w 467"/>
                <a:gd name="T73" fmla="*/ 161 h 455"/>
                <a:gd name="T74" fmla="*/ 285 w 467"/>
                <a:gd name="T75" fmla="*/ 441 h 455"/>
                <a:gd name="T76" fmla="*/ 308 w 467"/>
                <a:gd name="T77" fmla="*/ 441 h 455"/>
                <a:gd name="T78" fmla="*/ 110 w 467"/>
                <a:gd name="T79" fmla="*/ 423 h 455"/>
                <a:gd name="T80" fmla="*/ 163 w 467"/>
                <a:gd name="T81" fmla="*/ 342 h 455"/>
                <a:gd name="T82" fmla="*/ 296 w 467"/>
                <a:gd name="T83" fmla="*/ 237 h 455"/>
                <a:gd name="T84" fmla="*/ 93 w 467"/>
                <a:gd name="T85" fmla="*/ 394 h 455"/>
                <a:gd name="T86" fmla="*/ 298 w 467"/>
                <a:gd name="T87" fmla="*/ 160 h 455"/>
                <a:gd name="T88" fmla="*/ 80 w 467"/>
                <a:gd name="T89" fmla="*/ 382 h 455"/>
                <a:gd name="T90" fmla="*/ 185 w 467"/>
                <a:gd name="T91" fmla="*/ 192 h 455"/>
                <a:gd name="T92" fmla="*/ 67 w 467"/>
                <a:gd name="T93" fmla="*/ 367 h 455"/>
                <a:gd name="T94" fmla="*/ 197 w 467"/>
                <a:gd name="T95" fmla="*/ 122 h 455"/>
                <a:gd name="T96" fmla="*/ 54 w 467"/>
                <a:gd name="T97" fmla="*/ 351 h 455"/>
                <a:gd name="T98" fmla="*/ 272 w 467"/>
                <a:gd name="T99" fmla="*/ 48 h 455"/>
                <a:gd name="T100" fmla="*/ 95 w 467"/>
                <a:gd name="T101" fmla="*/ 161 h 455"/>
                <a:gd name="T102" fmla="*/ 191 w 467"/>
                <a:gd name="T103" fmla="*/ 45 h 455"/>
                <a:gd name="T104" fmla="*/ 59 w 467"/>
                <a:gd name="T105" fmla="*/ 145 h 455"/>
                <a:gd name="T106" fmla="*/ 29 w 467"/>
                <a:gd name="T107" fmla="*/ 159 h 455"/>
                <a:gd name="T108" fmla="*/ 100 w 467"/>
                <a:gd name="T109" fmla="*/ 43 h 455"/>
                <a:gd name="T110" fmla="*/ 168 w 467"/>
                <a:gd name="T111" fmla="*/ 9 h 455"/>
                <a:gd name="T112" fmla="*/ 151 w 467"/>
                <a:gd name="T113" fmla="*/ 2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7" h="455">
                  <a:moveTo>
                    <a:pt x="235" y="168"/>
                  </a:moveTo>
                  <a:cubicBezTo>
                    <a:pt x="235" y="178"/>
                    <a:pt x="216" y="189"/>
                    <a:pt x="207" y="189"/>
                  </a:cubicBezTo>
                  <a:cubicBezTo>
                    <a:pt x="204" y="189"/>
                    <a:pt x="200" y="188"/>
                    <a:pt x="200" y="183"/>
                  </a:cubicBezTo>
                  <a:cubicBezTo>
                    <a:pt x="200" y="174"/>
                    <a:pt x="218" y="162"/>
                    <a:pt x="227" y="162"/>
                  </a:cubicBezTo>
                  <a:cubicBezTo>
                    <a:pt x="231" y="162"/>
                    <a:pt x="235" y="163"/>
                    <a:pt x="235" y="168"/>
                  </a:cubicBezTo>
                  <a:close/>
                  <a:moveTo>
                    <a:pt x="139" y="23"/>
                  </a:moveTo>
                  <a:cubicBezTo>
                    <a:pt x="138" y="21"/>
                    <a:pt x="135" y="20"/>
                    <a:pt x="131" y="20"/>
                  </a:cubicBezTo>
                  <a:cubicBezTo>
                    <a:pt x="123" y="21"/>
                    <a:pt x="114" y="27"/>
                    <a:pt x="112" y="33"/>
                  </a:cubicBezTo>
                  <a:cubicBezTo>
                    <a:pt x="111" y="35"/>
                    <a:pt x="111" y="37"/>
                    <a:pt x="112" y="39"/>
                  </a:cubicBezTo>
                  <a:cubicBezTo>
                    <a:pt x="113" y="40"/>
                    <a:pt x="115" y="41"/>
                    <a:pt x="117" y="41"/>
                  </a:cubicBezTo>
                  <a:cubicBezTo>
                    <a:pt x="124" y="41"/>
                    <a:pt x="135" y="36"/>
                    <a:pt x="138" y="29"/>
                  </a:cubicBezTo>
                  <a:cubicBezTo>
                    <a:pt x="139" y="27"/>
                    <a:pt x="140" y="25"/>
                    <a:pt x="139" y="23"/>
                  </a:cubicBezTo>
                  <a:close/>
                  <a:moveTo>
                    <a:pt x="467" y="226"/>
                  </a:moveTo>
                  <a:cubicBezTo>
                    <a:pt x="467" y="161"/>
                    <a:pt x="438" y="92"/>
                    <a:pt x="375" y="42"/>
                  </a:cubicBezTo>
                  <a:cubicBezTo>
                    <a:pt x="373" y="41"/>
                    <a:pt x="371" y="40"/>
                    <a:pt x="369" y="39"/>
                  </a:cubicBezTo>
                  <a:cubicBezTo>
                    <a:pt x="369" y="39"/>
                    <a:pt x="368" y="39"/>
                    <a:pt x="368" y="40"/>
                  </a:cubicBezTo>
                  <a:cubicBezTo>
                    <a:pt x="367" y="40"/>
                    <a:pt x="367" y="41"/>
                    <a:pt x="368" y="42"/>
                  </a:cubicBezTo>
                  <a:cubicBezTo>
                    <a:pt x="422" y="103"/>
                    <a:pt x="400" y="192"/>
                    <a:pt x="360" y="238"/>
                  </a:cubicBezTo>
                  <a:cubicBezTo>
                    <a:pt x="325" y="278"/>
                    <a:pt x="280" y="307"/>
                    <a:pt x="239" y="329"/>
                  </a:cubicBezTo>
                  <a:cubicBezTo>
                    <a:pt x="236" y="331"/>
                    <a:pt x="231" y="333"/>
                    <a:pt x="229" y="335"/>
                  </a:cubicBezTo>
                  <a:cubicBezTo>
                    <a:pt x="225" y="339"/>
                    <a:pt x="224" y="343"/>
                    <a:pt x="226" y="346"/>
                  </a:cubicBezTo>
                  <a:cubicBezTo>
                    <a:pt x="227" y="350"/>
                    <a:pt x="231" y="351"/>
                    <a:pt x="236" y="351"/>
                  </a:cubicBezTo>
                  <a:cubicBezTo>
                    <a:pt x="239" y="350"/>
                    <a:pt x="246" y="348"/>
                    <a:pt x="251" y="346"/>
                  </a:cubicBezTo>
                  <a:cubicBezTo>
                    <a:pt x="289" y="326"/>
                    <a:pt x="329" y="299"/>
                    <a:pt x="360" y="265"/>
                  </a:cubicBezTo>
                  <a:cubicBezTo>
                    <a:pt x="398" y="223"/>
                    <a:pt x="422" y="169"/>
                    <a:pt x="412" y="104"/>
                  </a:cubicBezTo>
                  <a:cubicBezTo>
                    <a:pt x="413" y="105"/>
                    <a:pt x="413" y="106"/>
                    <a:pt x="414" y="107"/>
                  </a:cubicBezTo>
                  <a:cubicBezTo>
                    <a:pt x="434" y="158"/>
                    <a:pt x="417" y="222"/>
                    <a:pt x="371" y="279"/>
                  </a:cubicBezTo>
                  <a:cubicBezTo>
                    <a:pt x="339" y="320"/>
                    <a:pt x="293" y="356"/>
                    <a:pt x="235" y="382"/>
                  </a:cubicBezTo>
                  <a:cubicBezTo>
                    <a:pt x="231" y="384"/>
                    <a:pt x="224" y="388"/>
                    <a:pt x="222" y="392"/>
                  </a:cubicBezTo>
                  <a:cubicBezTo>
                    <a:pt x="220" y="395"/>
                    <a:pt x="220" y="398"/>
                    <a:pt x="222" y="400"/>
                  </a:cubicBezTo>
                  <a:cubicBezTo>
                    <a:pt x="223" y="402"/>
                    <a:pt x="225" y="403"/>
                    <a:pt x="227" y="404"/>
                  </a:cubicBezTo>
                  <a:cubicBezTo>
                    <a:pt x="234" y="404"/>
                    <a:pt x="241" y="400"/>
                    <a:pt x="248" y="397"/>
                  </a:cubicBezTo>
                  <a:cubicBezTo>
                    <a:pt x="340" y="352"/>
                    <a:pt x="441" y="268"/>
                    <a:pt x="435" y="145"/>
                  </a:cubicBezTo>
                  <a:cubicBezTo>
                    <a:pt x="436" y="147"/>
                    <a:pt x="436" y="148"/>
                    <a:pt x="436" y="149"/>
                  </a:cubicBezTo>
                  <a:cubicBezTo>
                    <a:pt x="446" y="199"/>
                    <a:pt x="435" y="244"/>
                    <a:pt x="414" y="282"/>
                  </a:cubicBezTo>
                  <a:cubicBezTo>
                    <a:pt x="396" y="314"/>
                    <a:pt x="371" y="340"/>
                    <a:pt x="346" y="361"/>
                  </a:cubicBezTo>
                  <a:cubicBezTo>
                    <a:pt x="332" y="372"/>
                    <a:pt x="327" y="379"/>
                    <a:pt x="330" y="384"/>
                  </a:cubicBezTo>
                  <a:cubicBezTo>
                    <a:pt x="333" y="390"/>
                    <a:pt x="342" y="387"/>
                    <a:pt x="347" y="384"/>
                  </a:cubicBezTo>
                  <a:cubicBezTo>
                    <a:pt x="357" y="378"/>
                    <a:pt x="366" y="369"/>
                    <a:pt x="373" y="363"/>
                  </a:cubicBezTo>
                  <a:cubicBezTo>
                    <a:pt x="414" y="321"/>
                    <a:pt x="445" y="276"/>
                    <a:pt x="452" y="201"/>
                  </a:cubicBezTo>
                  <a:cubicBezTo>
                    <a:pt x="453" y="205"/>
                    <a:pt x="453" y="209"/>
                    <a:pt x="453" y="211"/>
                  </a:cubicBezTo>
                  <a:cubicBezTo>
                    <a:pt x="455" y="249"/>
                    <a:pt x="447" y="284"/>
                    <a:pt x="433" y="314"/>
                  </a:cubicBezTo>
                  <a:cubicBezTo>
                    <a:pt x="412" y="359"/>
                    <a:pt x="376" y="395"/>
                    <a:pt x="334" y="417"/>
                  </a:cubicBezTo>
                  <a:cubicBezTo>
                    <a:pt x="325" y="422"/>
                    <a:pt x="322" y="427"/>
                    <a:pt x="324" y="433"/>
                  </a:cubicBezTo>
                  <a:cubicBezTo>
                    <a:pt x="325" y="436"/>
                    <a:pt x="327" y="437"/>
                    <a:pt x="331" y="437"/>
                  </a:cubicBezTo>
                  <a:cubicBezTo>
                    <a:pt x="335" y="438"/>
                    <a:pt x="338" y="437"/>
                    <a:pt x="341" y="435"/>
                  </a:cubicBezTo>
                  <a:cubicBezTo>
                    <a:pt x="419" y="393"/>
                    <a:pt x="467" y="315"/>
                    <a:pt x="467" y="226"/>
                  </a:cubicBezTo>
                  <a:close/>
                  <a:moveTo>
                    <a:pt x="254" y="1"/>
                  </a:moveTo>
                  <a:cubicBezTo>
                    <a:pt x="245" y="0"/>
                    <a:pt x="228" y="6"/>
                    <a:pt x="228" y="13"/>
                  </a:cubicBezTo>
                  <a:cubicBezTo>
                    <a:pt x="229" y="17"/>
                    <a:pt x="232" y="18"/>
                    <a:pt x="235" y="19"/>
                  </a:cubicBezTo>
                  <a:cubicBezTo>
                    <a:pt x="242" y="19"/>
                    <a:pt x="260" y="15"/>
                    <a:pt x="260" y="7"/>
                  </a:cubicBezTo>
                  <a:cubicBezTo>
                    <a:pt x="260" y="3"/>
                    <a:pt x="257" y="2"/>
                    <a:pt x="254" y="1"/>
                  </a:cubicBezTo>
                  <a:close/>
                  <a:moveTo>
                    <a:pt x="326" y="17"/>
                  </a:moveTo>
                  <a:cubicBezTo>
                    <a:pt x="320" y="16"/>
                    <a:pt x="306" y="20"/>
                    <a:pt x="306" y="27"/>
                  </a:cubicBezTo>
                  <a:cubicBezTo>
                    <a:pt x="305" y="31"/>
                    <a:pt x="311" y="33"/>
                    <a:pt x="314" y="33"/>
                  </a:cubicBezTo>
                  <a:cubicBezTo>
                    <a:pt x="320" y="33"/>
                    <a:pt x="333" y="30"/>
                    <a:pt x="334" y="22"/>
                  </a:cubicBezTo>
                  <a:cubicBezTo>
                    <a:pt x="334" y="18"/>
                    <a:pt x="329" y="17"/>
                    <a:pt x="326" y="17"/>
                  </a:cubicBezTo>
                  <a:close/>
                  <a:moveTo>
                    <a:pt x="250" y="92"/>
                  </a:moveTo>
                  <a:cubicBezTo>
                    <a:pt x="241" y="91"/>
                    <a:pt x="221" y="103"/>
                    <a:pt x="221" y="113"/>
                  </a:cubicBezTo>
                  <a:cubicBezTo>
                    <a:pt x="220" y="117"/>
                    <a:pt x="224" y="119"/>
                    <a:pt x="227" y="119"/>
                  </a:cubicBezTo>
                  <a:cubicBezTo>
                    <a:pt x="237" y="119"/>
                    <a:pt x="257" y="108"/>
                    <a:pt x="257" y="97"/>
                  </a:cubicBezTo>
                  <a:cubicBezTo>
                    <a:pt x="257" y="93"/>
                    <a:pt x="254" y="92"/>
                    <a:pt x="250" y="92"/>
                  </a:cubicBezTo>
                  <a:close/>
                  <a:moveTo>
                    <a:pt x="291" y="71"/>
                  </a:moveTo>
                  <a:cubicBezTo>
                    <a:pt x="283" y="71"/>
                    <a:pt x="266" y="78"/>
                    <a:pt x="265" y="87"/>
                  </a:cubicBezTo>
                  <a:cubicBezTo>
                    <a:pt x="265" y="90"/>
                    <a:pt x="268" y="92"/>
                    <a:pt x="271" y="92"/>
                  </a:cubicBezTo>
                  <a:cubicBezTo>
                    <a:pt x="279" y="93"/>
                    <a:pt x="296" y="86"/>
                    <a:pt x="296" y="77"/>
                  </a:cubicBezTo>
                  <a:cubicBezTo>
                    <a:pt x="297" y="73"/>
                    <a:pt x="294" y="71"/>
                    <a:pt x="291" y="71"/>
                  </a:cubicBezTo>
                  <a:close/>
                  <a:moveTo>
                    <a:pt x="355" y="176"/>
                  </a:moveTo>
                  <a:cubicBezTo>
                    <a:pt x="348" y="176"/>
                    <a:pt x="341" y="184"/>
                    <a:pt x="341" y="190"/>
                  </a:cubicBezTo>
                  <a:cubicBezTo>
                    <a:pt x="341" y="194"/>
                    <a:pt x="343" y="197"/>
                    <a:pt x="347" y="197"/>
                  </a:cubicBezTo>
                  <a:cubicBezTo>
                    <a:pt x="354" y="197"/>
                    <a:pt x="360" y="188"/>
                    <a:pt x="360" y="182"/>
                  </a:cubicBezTo>
                  <a:cubicBezTo>
                    <a:pt x="360" y="178"/>
                    <a:pt x="358" y="176"/>
                    <a:pt x="355" y="176"/>
                  </a:cubicBezTo>
                  <a:close/>
                  <a:moveTo>
                    <a:pt x="327" y="56"/>
                  </a:moveTo>
                  <a:cubicBezTo>
                    <a:pt x="321" y="55"/>
                    <a:pt x="310" y="60"/>
                    <a:pt x="309" y="67"/>
                  </a:cubicBezTo>
                  <a:cubicBezTo>
                    <a:pt x="309" y="70"/>
                    <a:pt x="312" y="71"/>
                    <a:pt x="315" y="72"/>
                  </a:cubicBezTo>
                  <a:cubicBezTo>
                    <a:pt x="321" y="72"/>
                    <a:pt x="332" y="68"/>
                    <a:pt x="333" y="61"/>
                  </a:cubicBezTo>
                  <a:cubicBezTo>
                    <a:pt x="333" y="58"/>
                    <a:pt x="330" y="56"/>
                    <a:pt x="327" y="56"/>
                  </a:cubicBezTo>
                  <a:close/>
                  <a:moveTo>
                    <a:pt x="348" y="99"/>
                  </a:moveTo>
                  <a:cubicBezTo>
                    <a:pt x="342" y="99"/>
                    <a:pt x="336" y="109"/>
                    <a:pt x="336" y="115"/>
                  </a:cubicBezTo>
                  <a:cubicBezTo>
                    <a:pt x="336" y="117"/>
                    <a:pt x="337" y="120"/>
                    <a:pt x="340" y="120"/>
                  </a:cubicBezTo>
                  <a:cubicBezTo>
                    <a:pt x="347" y="120"/>
                    <a:pt x="353" y="110"/>
                    <a:pt x="353" y="105"/>
                  </a:cubicBezTo>
                  <a:cubicBezTo>
                    <a:pt x="353" y="102"/>
                    <a:pt x="351" y="99"/>
                    <a:pt x="348" y="99"/>
                  </a:cubicBezTo>
                  <a:close/>
                  <a:moveTo>
                    <a:pt x="326" y="206"/>
                  </a:moveTo>
                  <a:cubicBezTo>
                    <a:pt x="322" y="208"/>
                    <a:pt x="319" y="210"/>
                    <a:pt x="315" y="214"/>
                  </a:cubicBezTo>
                  <a:cubicBezTo>
                    <a:pt x="312" y="217"/>
                    <a:pt x="310" y="221"/>
                    <a:pt x="308" y="224"/>
                  </a:cubicBezTo>
                  <a:cubicBezTo>
                    <a:pt x="308" y="227"/>
                    <a:pt x="308" y="230"/>
                    <a:pt x="309" y="232"/>
                  </a:cubicBezTo>
                  <a:cubicBezTo>
                    <a:pt x="311" y="234"/>
                    <a:pt x="314" y="235"/>
                    <a:pt x="317" y="234"/>
                  </a:cubicBezTo>
                  <a:cubicBezTo>
                    <a:pt x="321" y="234"/>
                    <a:pt x="325" y="231"/>
                    <a:pt x="329" y="227"/>
                  </a:cubicBezTo>
                  <a:cubicBezTo>
                    <a:pt x="333" y="223"/>
                    <a:pt x="336" y="218"/>
                    <a:pt x="337" y="213"/>
                  </a:cubicBezTo>
                  <a:cubicBezTo>
                    <a:pt x="338" y="209"/>
                    <a:pt x="337" y="207"/>
                    <a:pt x="335" y="206"/>
                  </a:cubicBezTo>
                  <a:cubicBezTo>
                    <a:pt x="333" y="204"/>
                    <a:pt x="330" y="204"/>
                    <a:pt x="326" y="206"/>
                  </a:cubicBezTo>
                  <a:close/>
                  <a:moveTo>
                    <a:pt x="319" y="135"/>
                  </a:moveTo>
                  <a:cubicBezTo>
                    <a:pt x="317" y="137"/>
                    <a:pt x="315" y="140"/>
                    <a:pt x="314" y="142"/>
                  </a:cubicBezTo>
                  <a:cubicBezTo>
                    <a:pt x="313" y="144"/>
                    <a:pt x="312" y="147"/>
                    <a:pt x="312" y="149"/>
                  </a:cubicBezTo>
                  <a:cubicBezTo>
                    <a:pt x="312" y="152"/>
                    <a:pt x="314" y="155"/>
                    <a:pt x="317" y="155"/>
                  </a:cubicBezTo>
                  <a:cubicBezTo>
                    <a:pt x="319" y="155"/>
                    <a:pt x="321" y="154"/>
                    <a:pt x="324" y="153"/>
                  </a:cubicBezTo>
                  <a:cubicBezTo>
                    <a:pt x="326" y="151"/>
                    <a:pt x="328" y="149"/>
                    <a:pt x="330" y="147"/>
                  </a:cubicBezTo>
                  <a:cubicBezTo>
                    <a:pt x="332" y="145"/>
                    <a:pt x="334" y="142"/>
                    <a:pt x="335" y="140"/>
                  </a:cubicBezTo>
                  <a:cubicBezTo>
                    <a:pt x="336" y="138"/>
                    <a:pt x="337" y="135"/>
                    <a:pt x="337" y="133"/>
                  </a:cubicBezTo>
                  <a:cubicBezTo>
                    <a:pt x="337" y="130"/>
                    <a:pt x="335" y="128"/>
                    <a:pt x="332" y="128"/>
                  </a:cubicBezTo>
                  <a:cubicBezTo>
                    <a:pt x="327" y="128"/>
                    <a:pt x="323" y="131"/>
                    <a:pt x="319" y="135"/>
                  </a:cubicBezTo>
                  <a:close/>
                  <a:moveTo>
                    <a:pt x="201" y="401"/>
                  </a:moveTo>
                  <a:cubicBezTo>
                    <a:pt x="196" y="401"/>
                    <a:pt x="182" y="405"/>
                    <a:pt x="176" y="410"/>
                  </a:cubicBezTo>
                  <a:cubicBezTo>
                    <a:pt x="173" y="412"/>
                    <a:pt x="172" y="416"/>
                    <a:pt x="173" y="418"/>
                  </a:cubicBezTo>
                  <a:cubicBezTo>
                    <a:pt x="174" y="422"/>
                    <a:pt x="177" y="422"/>
                    <a:pt x="180" y="422"/>
                  </a:cubicBezTo>
                  <a:cubicBezTo>
                    <a:pt x="185" y="423"/>
                    <a:pt x="199" y="419"/>
                    <a:pt x="205" y="413"/>
                  </a:cubicBezTo>
                  <a:cubicBezTo>
                    <a:pt x="207" y="412"/>
                    <a:pt x="209" y="409"/>
                    <a:pt x="208" y="406"/>
                  </a:cubicBezTo>
                  <a:cubicBezTo>
                    <a:pt x="207" y="403"/>
                    <a:pt x="204" y="402"/>
                    <a:pt x="201" y="401"/>
                  </a:cubicBezTo>
                  <a:close/>
                  <a:moveTo>
                    <a:pt x="208" y="348"/>
                  </a:moveTo>
                  <a:cubicBezTo>
                    <a:pt x="202" y="348"/>
                    <a:pt x="188" y="353"/>
                    <a:pt x="182" y="358"/>
                  </a:cubicBezTo>
                  <a:cubicBezTo>
                    <a:pt x="179" y="361"/>
                    <a:pt x="178" y="364"/>
                    <a:pt x="179" y="367"/>
                  </a:cubicBezTo>
                  <a:cubicBezTo>
                    <a:pt x="180" y="371"/>
                    <a:pt x="183" y="371"/>
                    <a:pt x="186" y="371"/>
                  </a:cubicBezTo>
                  <a:cubicBezTo>
                    <a:pt x="192" y="371"/>
                    <a:pt x="206" y="367"/>
                    <a:pt x="213" y="360"/>
                  </a:cubicBezTo>
                  <a:cubicBezTo>
                    <a:pt x="215" y="358"/>
                    <a:pt x="216" y="355"/>
                    <a:pt x="215" y="352"/>
                  </a:cubicBezTo>
                  <a:cubicBezTo>
                    <a:pt x="214" y="349"/>
                    <a:pt x="211" y="348"/>
                    <a:pt x="208" y="348"/>
                  </a:cubicBezTo>
                  <a:close/>
                  <a:moveTo>
                    <a:pt x="309" y="393"/>
                  </a:moveTo>
                  <a:cubicBezTo>
                    <a:pt x="304" y="393"/>
                    <a:pt x="291" y="400"/>
                    <a:pt x="286" y="406"/>
                  </a:cubicBezTo>
                  <a:cubicBezTo>
                    <a:pt x="284" y="409"/>
                    <a:pt x="283" y="412"/>
                    <a:pt x="284" y="414"/>
                  </a:cubicBezTo>
                  <a:cubicBezTo>
                    <a:pt x="286" y="418"/>
                    <a:pt x="289" y="418"/>
                    <a:pt x="292" y="417"/>
                  </a:cubicBezTo>
                  <a:cubicBezTo>
                    <a:pt x="297" y="416"/>
                    <a:pt x="310" y="411"/>
                    <a:pt x="315" y="404"/>
                  </a:cubicBezTo>
                  <a:cubicBezTo>
                    <a:pt x="317" y="401"/>
                    <a:pt x="318" y="398"/>
                    <a:pt x="317" y="396"/>
                  </a:cubicBezTo>
                  <a:cubicBezTo>
                    <a:pt x="316" y="393"/>
                    <a:pt x="312" y="392"/>
                    <a:pt x="309" y="393"/>
                  </a:cubicBezTo>
                  <a:close/>
                  <a:moveTo>
                    <a:pt x="261" y="421"/>
                  </a:moveTo>
                  <a:cubicBezTo>
                    <a:pt x="255" y="421"/>
                    <a:pt x="243" y="425"/>
                    <a:pt x="238" y="430"/>
                  </a:cubicBezTo>
                  <a:cubicBezTo>
                    <a:pt x="236" y="432"/>
                    <a:pt x="235" y="435"/>
                    <a:pt x="236" y="437"/>
                  </a:cubicBezTo>
                  <a:cubicBezTo>
                    <a:pt x="237" y="440"/>
                    <a:pt x="239" y="440"/>
                    <a:pt x="242" y="440"/>
                  </a:cubicBezTo>
                  <a:cubicBezTo>
                    <a:pt x="247" y="440"/>
                    <a:pt x="259" y="437"/>
                    <a:pt x="265" y="431"/>
                  </a:cubicBezTo>
                  <a:cubicBezTo>
                    <a:pt x="266" y="430"/>
                    <a:pt x="267" y="427"/>
                    <a:pt x="267" y="425"/>
                  </a:cubicBezTo>
                  <a:cubicBezTo>
                    <a:pt x="266" y="422"/>
                    <a:pt x="263" y="421"/>
                    <a:pt x="261" y="421"/>
                  </a:cubicBezTo>
                  <a:close/>
                  <a:moveTo>
                    <a:pt x="149" y="419"/>
                  </a:moveTo>
                  <a:cubicBezTo>
                    <a:pt x="147" y="419"/>
                    <a:pt x="141" y="420"/>
                    <a:pt x="136" y="423"/>
                  </a:cubicBezTo>
                  <a:cubicBezTo>
                    <a:pt x="134" y="424"/>
                    <a:pt x="132" y="426"/>
                    <a:pt x="132" y="429"/>
                  </a:cubicBezTo>
                  <a:cubicBezTo>
                    <a:pt x="132" y="432"/>
                    <a:pt x="135" y="433"/>
                    <a:pt x="138" y="434"/>
                  </a:cubicBezTo>
                  <a:cubicBezTo>
                    <a:pt x="142" y="434"/>
                    <a:pt x="148" y="433"/>
                    <a:pt x="152" y="431"/>
                  </a:cubicBezTo>
                  <a:cubicBezTo>
                    <a:pt x="155" y="429"/>
                    <a:pt x="157" y="427"/>
                    <a:pt x="156" y="424"/>
                  </a:cubicBezTo>
                  <a:cubicBezTo>
                    <a:pt x="156" y="420"/>
                    <a:pt x="153" y="419"/>
                    <a:pt x="149" y="419"/>
                  </a:cubicBezTo>
                  <a:close/>
                  <a:moveTo>
                    <a:pt x="207" y="440"/>
                  </a:moveTo>
                  <a:cubicBezTo>
                    <a:pt x="205" y="440"/>
                    <a:pt x="199" y="441"/>
                    <a:pt x="195" y="444"/>
                  </a:cubicBezTo>
                  <a:cubicBezTo>
                    <a:pt x="193" y="446"/>
                    <a:pt x="191" y="448"/>
                    <a:pt x="191" y="450"/>
                  </a:cubicBezTo>
                  <a:cubicBezTo>
                    <a:pt x="192" y="453"/>
                    <a:pt x="194" y="455"/>
                    <a:pt x="197" y="455"/>
                  </a:cubicBezTo>
                  <a:cubicBezTo>
                    <a:pt x="202" y="455"/>
                    <a:pt x="207" y="454"/>
                    <a:pt x="211" y="451"/>
                  </a:cubicBezTo>
                  <a:cubicBezTo>
                    <a:pt x="213" y="450"/>
                    <a:pt x="214" y="447"/>
                    <a:pt x="214" y="445"/>
                  </a:cubicBezTo>
                  <a:cubicBezTo>
                    <a:pt x="214" y="441"/>
                    <a:pt x="210" y="440"/>
                    <a:pt x="207" y="440"/>
                  </a:cubicBezTo>
                  <a:close/>
                  <a:moveTo>
                    <a:pt x="257" y="144"/>
                  </a:moveTo>
                  <a:cubicBezTo>
                    <a:pt x="255" y="144"/>
                    <a:pt x="253" y="145"/>
                    <a:pt x="251" y="146"/>
                  </a:cubicBezTo>
                  <a:cubicBezTo>
                    <a:pt x="251" y="146"/>
                    <a:pt x="251" y="146"/>
                    <a:pt x="251" y="146"/>
                  </a:cubicBezTo>
                  <a:cubicBezTo>
                    <a:pt x="247" y="147"/>
                    <a:pt x="242" y="152"/>
                    <a:pt x="242" y="157"/>
                  </a:cubicBezTo>
                  <a:cubicBezTo>
                    <a:pt x="242" y="160"/>
                    <a:pt x="245" y="161"/>
                    <a:pt x="248" y="161"/>
                  </a:cubicBezTo>
                  <a:cubicBezTo>
                    <a:pt x="254" y="161"/>
                    <a:pt x="263" y="156"/>
                    <a:pt x="263" y="149"/>
                  </a:cubicBezTo>
                  <a:cubicBezTo>
                    <a:pt x="263" y="146"/>
                    <a:pt x="260" y="144"/>
                    <a:pt x="257" y="144"/>
                  </a:cubicBezTo>
                  <a:close/>
                  <a:moveTo>
                    <a:pt x="301" y="436"/>
                  </a:moveTo>
                  <a:cubicBezTo>
                    <a:pt x="297" y="436"/>
                    <a:pt x="290" y="437"/>
                    <a:pt x="285" y="441"/>
                  </a:cubicBezTo>
                  <a:cubicBezTo>
                    <a:pt x="282" y="443"/>
                    <a:pt x="280" y="446"/>
                    <a:pt x="280" y="449"/>
                  </a:cubicBezTo>
                  <a:cubicBezTo>
                    <a:pt x="281" y="452"/>
                    <a:pt x="284" y="453"/>
                    <a:pt x="288" y="453"/>
                  </a:cubicBezTo>
                  <a:cubicBezTo>
                    <a:pt x="293" y="453"/>
                    <a:pt x="300" y="451"/>
                    <a:pt x="304" y="449"/>
                  </a:cubicBezTo>
                  <a:cubicBezTo>
                    <a:pt x="307" y="447"/>
                    <a:pt x="309" y="444"/>
                    <a:pt x="308" y="441"/>
                  </a:cubicBezTo>
                  <a:cubicBezTo>
                    <a:pt x="307" y="437"/>
                    <a:pt x="303" y="436"/>
                    <a:pt x="301" y="436"/>
                  </a:cubicBezTo>
                  <a:close/>
                  <a:moveTo>
                    <a:pt x="96" y="416"/>
                  </a:moveTo>
                  <a:cubicBezTo>
                    <a:pt x="99" y="419"/>
                    <a:pt x="104" y="422"/>
                    <a:pt x="108" y="423"/>
                  </a:cubicBezTo>
                  <a:cubicBezTo>
                    <a:pt x="109" y="424"/>
                    <a:pt x="110" y="423"/>
                    <a:pt x="110" y="423"/>
                  </a:cubicBezTo>
                  <a:cubicBezTo>
                    <a:pt x="111" y="422"/>
                    <a:pt x="111" y="421"/>
                    <a:pt x="110" y="421"/>
                  </a:cubicBezTo>
                  <a:cubicBezTo>
                    <a:pt x="107" y="417"/>
                    <a:pt x="105" y="415"/>
                    <a:pt x="104" y="412"/>
                  </a:cubicBezTo>
                  <a:cubicBezTo>
                    <a:pt x="103" y="409"/>
                    <a:pt x="104" y="406"/>
                    <a:pt x="104" y="405"/>
                  </a:cubicBezTo>
                  <a:cubicBezTo>
                    <a:pt x="110" y="378"/>
                    <a:pt x="136" y="361"/>
                    <a:pt x="163" y="342"/>
                  </a:cubicBezTo>
                  <a:cubicBezTo>
                    <a:pt x="180" y="330"/>
                    <a:pt x="253" y="290"/>
                    <a:pt x="286" y="263"/>
                  </a:cubicBezTo>
                  <a:cubicBezTo>
                    <a:pt x="297" y="255"/>
                    <a:pt x="301" y="250"/>
                    <a:pt x="302" y="245"/>
                  </a:cubicBezTo>
                  <a:cubicBezTo>
                    <a:pt x="302" y="243"/>
                    <a:pt x="301" y="240"/>
                    <a:pt x="300" y="239"/>
                  </a:cubicBezTo>
                  <a:cubicBezTo>
                    <a:pt x="299" y="238"/>
                    <a:pt x="297" y="237"/>
                    <a:pt x="296" y="237"/>
                  </a:cubicBezTo>
                  <a:cubicBezTo>
                    <a:pt x="290" y="236"/>
                    <a:pt x="284" y="238"/>
                    <a:pt x="276" y="244"/>
                  </a:cubicBezTo>
                  <a:cubicBezTo>
                    <a:pt x="238" y="275"/>
                    <a:pt x="181" y="305"/>
                    <a:pt x="140" y="337"/>
                  </a:cubicBezTo>
                  <a:cubicBezTo>
                    <a:pt x="117" y="355"/>
                    <a:pt x="99" y="375"/>
                    <a:pt x="94" y="395"/>
                  </a:cubicBezTo>
                  <a:cubicBezTo>
                    <a:pt x="94" y="395"/>
                    <a:pt x="93" y="394"/>
                    <a:pt x="93" y="394"/>
                  </a:cubicBezTo>
                  <a:cubicBezTo>
                    <a:pt x="99" y="319"/>
                    <a:pt x="199" y="269"/>
                    <a:pt x="250" y="227"/>
                  </a:cubicBezTo>
                  <a:cubicBezTo>
                    <a:pt x="263" y="216"/>
                    <a:pt x="302" y="186"/>
                    <a:pt x="308" y="172"/>
                  </a:cubicBezTo>
                  <a:cubicBezTo>
                    <a:pt x="310" y="168"/>
                    <a:pt x="309" y="163"/>
                    <a:pt x="306" y="162"/>
                  </a:cubicBezTo>
                  <a:cubicBezTo>
                    <a:pt x="304" y="160"/>
                    <a:pt x="301" y="160"/>
                    <a:pt x="298" y="160"/>
                  </a:cubicBezTo>
                  <a:cubicBezTo>
                    <a:pt x="292" y="162"/>
                    <a:pt x="285" y="167"/>
                    <a:pt x="277" y="175"/>
                  </a:cubicBezTo>
                  <a:cubicBezTo>
                    <a:pt x="214" y="235"/>
                    <a:pt x="161" y="262"/>
                    <a:pt x="125" y="300"/>
                  </a:cubicBezTo>
                  <a:cubicBezTo>
                    <a:pt x="105" y="322"/>
                    <a:pt x="90" y="347"/>
                    <a:pt x="81" y="383"/>
                  </a:cubicBezTo>
                  <a:cubicBezTo>
                    <a:pt x="81" y="383"/>
                    <a:pt x="80" y="382"/>
                    <a:pt x="80" y="382"/>
                  </a:cubicBezTo>
                  <a:cubicBezTo>
                    <a:pt x="83" y="327"/>
                    <a:pt x="119" y="273"/>
                    <a:pt x="161" y="235"/>
                  </a:cubicBezTo>
                  <a:cubicBezTo>
                    <a:pt x="175" y="222"/>
                    <a:pt x="185" y="214"/>
                    <a:pt x="191" y="209"/>
                  </a:cubicBezTo>
                  <a:cubicBezTo>
                    <a:pt x="195" y="205"/>
                    <a:pt x="197" y="200"/>
                    <a:pt x="195" y="195"/>
                  </a:cubicBezTo>
                  <a:cubicBezTo>
                    <a:pt x="193" y="192"/>
                    <a:pt x="189" y="191"/>
                    <a:pt x="185" y="192"/>
                  </a:cubicBezTo>
                  <a:cubicBezTo>
                    <a:pt x="179" y="193"/>
                    <a:pt x="175" y="196"/>
                    <a:pt x="170" y="199"/>
                  </a:cubicBezTo>
                  <a:cubicBezTo>
                    <a:pt x="141" y="223"/>
                    <a:pt x="116" y="252"/>
                    <a:pt x="97" y="285"/>
                  </a:cubicBezTo>
                  <a:cubicBezTo>
                    <a:pt x="83" y="311"/>
                    <a:pt x="73" y="339"/>
                    <a:pt x="68" y="369"/>
                  </a:cubicBezTo>
                  <a:cubicBezTo>
                    <a:pt x="68" y="369"/>
                    <a:pt x="67" y="368"/>
                    <a:pt x="67" y="367"/>
                  </a:cubicBezTo>
                  <a:cubicBezTo>
                    <a:pt x="70" y="284"/>
                    <a:pt x="108" y="222"/>
                    <a:pt x="162" y="174"/>
                  </a:cubicBezTo>
                  <a:cubicBezTo>
                    <a:pt x="175" y="162"/>
                    <a:pt x="187" y="155"/>
                    <a:pt x="200" y="144"/>
                  </a:cubicBezTo>
                  <a:cubicBezTo>
                    <a:pt x="211" y="136"/>
                    <a:pt x="213" y="129"/>
                    <a:pt x="210" y="124"/>
                  </a:cubicBezTo>
                  <a:cubicBezTo>
                    <a:pt x="207" y="120"/>
                    <a:pt x="203" y="120"/>
                    <a:pt x="197" y="122"/>
                  </a:cubicBezTo>
                  <a:cubicBezTo>
                    <a:pt x="186" y="125"/>
                    <a:pt x="174" y="136"/>
                    <a:pt x="160" y="149"/>
                  </a:cubicBezTo>
                  <a:cubicBezTo>
                    <a:pt x="126" y="179"/>
                    <a:pt x="99" y="211"/>
                    <a:pt x="81" y="250"/>
                  </a:cubicBezTo>
                  <a:cubicBezTo>
                    <a:pt x="67" y="279"/>
                    <a:pt x="58" y="313"/>
                    <a:pt x="56" y="353"/>
                  </a:cubicBezTo>
                  <a:cubicBezTo>
                    <a:pt x="55" y="352"/>
                    <a:pt x="55" y="351"/>
                    <a:pt x="54" y="351"/>
                  </a:cubicBezTo>
                  <a:cubicBezTo>
                    <a:pt x="53" y="341"/>
                    <a:pt x="54" y="328"/>
                    <a:pt x="54" y="318"/>
                  </a:cubicBezTo>
                  <a:cubicBezTo>
                    <a:pt x="57" y="279"/>
                    <a:pt x="63" y="197"/>
                    <a:pt x="175" y="106"/>
                  </a:cubicBezTo>
                  <a:cubicBezTo>
                    <a:pt x="195" y="90"/>
                    <a:pt x="228" y="71"/>
                    <a:pt x="251" y="59"/>
                  </a:cubicBezTo>
                  <a:cubicBezTo>
                    <a:pt x="258" y="55"/>
                    <a:pt x="265" y="52"/>
                    <a:pt x="272" y="48"/>
                  </a:cubicBezTo>
                  <a:cubicBezTo>
                    <a:pt x="276" y="45"/>
                    <a:pt x="278" y="41"/>
                    <a:pt x="277" y="37"/>
                  </a:cubicBezTo>
                  <a:cubicBezTo>
                    <a:pt x="276" y="33"/>
                    <a:pt x="272" y="33"/>
                    <a:pt x="268" y="33"/>
                  </a:cubicBezTo>
                  <a:cubicBezTo>
                    <a:pt x="261" y="33"/>
                    <a:pt x="255" y="36"/>
                    <a:pt x="248" y="39"/>
                  </a:cubicBezTo>
                  <a:cubicBezTo>
                    <a:pt x="196" y="65"/>
                    <a:pt x="137" y="103"/>
                    <a:pt x="95" y="161"/>
                  </a:cubicBezTo>
                  <a:cubicBezTo>
                    <a:pt x="63" y="205"/>
                    <a:pt x="42" y="260"/>
                    <a:pt x="41" y="329"/>
                  </a:cubicBezTo>
                  <a:cubicBezTo>
                    <a:pt x="40" y="328"/>
                    <a:pt x="40" y="328"/>
                    <a:pt x="40" y="327"/>
                  </a:cubicBezTo>
                  <a:cubicBezTo>
                    <a:pt x="37" y="310"/>
                    <a:pt x="36" y="293"/>
                    <a:pt x="37" y="281"/>
                  </a:cubicBezTo>
                  <a:cubicBezTo>
                    <a:pt x="39" y="172"/>
                    <a:pt x="103" y="97"/>
                    <a:pt x="191" y="45"/>
                  </a:cubicBezTo>
                  <a:cubicBezTo>
                    <a:pt x="198" y="41"/>
                    <a:pt x="206" y="36"/>
                    <a:pt x="206" y="29"/>
                  </a:cubicBezTo>
                  <a:cubicBezTo>
                    <a:pt x="206" y="25"/>
                    <a:pt x="203" y="23"/>
                    <a:pt x="199" y="23"/>
                  </a:cubicBezTo>
                  <a:cubicBezTo>
                    <a:pt x="195" y="23"/>
                    <a:pt x="191" y="24"/>
                    <a:pt x="185" y="27"/>
                  </a:cubicBezTo>
                  <a:cubicBezTo>
                    <a:pt x="131" y="56"/>
                    <a:pt x="87" y="96"/>
                    <a:pt x="59" y="145"/>
                  </a:cubicBezTo>
                  <a:cubicBezTo>
                    <a:pt x="35" y="186"/>
                    <a:pt x="22" y="234"/>
                    <a:pt x="24" y="287"/>
                  </a:cubicBezTo>
                  <a:cubicBezTo>
                    <a:pt x="24" y="286"/>
                    <a:pt x="24" y="285"/>
                    <a:pt x="23" y="283"/>
                  </a:cubicBezTo>
                  <a:cubicBezTo>
                    <a:pt x="19" y="266"/>
                    <a:pt x="16" y="248"/>
                    <a:pt x="16" y="230"/>
                  </a:cubicBezTo>
                  <a:cubicBezTo>
                    <a:pt x="16" y="205"/>
                    <a:pt x="21" y="181"/>
                    <a:pt x="29" y="159"/>
                  </a:cubicBezTo>
                  <a:cubicBezTo>
                    <a:pt x="40" y="130"/>
                    <a:pt x="57" y="103"/>
                    <a:pt x="79" y="80"/>
                  </a:cubicBezTo>
                  <a:cubicBezTo>
                    <a:pt x="85" y="73"/>
                    <a:pt x="100" y="61"/>
                    <a:pt x="103" y="57"/>
                  </a:cubicBezTo>
                  <a:cubicBezTo>
                    <a:pt x="106" y="53"/>
                    <a:pt x="108" y="49"/>
                    <a:pt x="106" y="46"/>
                  </a:cubicBezTo>
                  <a:cubicBezTo>
                    <a:pt x="105" y="44"/>
                    <a:pt x="103" y="43"/>
                    <a:pt x="100" y="43"/>
                  </a:cubicBezTo>
                  <a:cubicBezTo>
                    <a:pt x="88" y="43"/>
                    <a:pt x="71" y="61"/>
                    <a:pt x="63" y="69"/>
                  </a:cubicBezTo>
                  <a:cubicBezTo>
                    <a:pt x="23" y="112"/>
                    <a:pt x="0" y="168"/>
                    <a:pt x="0" y="226"/>
                  </a:cubicBezTo>
                  <a:cubicBezTo>
                    <a:pt x="0" y="295"/>
                    <a:pt x="30" y="367"/>
                    <a:pt x="96" y="416"/>
                  </a:cubicBezTo>
                  <a:close/>
                  <a:moveTo>
                    <a:pt x="168" y="9"/>
                  </a:moveTo>
                  <a:cubicBezTo>
                    <a:pt x="168" y="8"/>
                    <a:pt x="166" y="7"/>
                    <a:pt x="164" y="7"/>
                  </a:cubicBezTo>
                  <a:cubicBezTo>
                    <a:pt x="157" y="7"/>
                    <a:pt x="150" y="10"/>
                    <a:pt x="148" y="14"/>
                  </a:cubicBezTo>
                  <a:cubicBezTo>
                    <a:pt x="148" y="15"/>
                    <a:pt x="148" y="17"/>
                    <a:pt x="148" y="18"/>
                  </a:cubicBezTo>
                  <a:cubicBezTo>
                    <a:pt x="149" y="20"/>
                    <a:pt x="150" y="20"/>
                    <a:pt x="151" y="20"/>
                  </a:cubicBezTo>
                  <a:cubicBezTo>
                    <a:pt x="156" y="21"/>
                    <a:pt x="165" y="18"/>
                    <a:pt x="167" y="14"/>
                  </a:cubicBezTo>
                  <a:cubicBezTo>
                    <a:pt x="168" y="13"/>
                    <a:pt x="169" y="11"/>
                    <a:pt x="16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4D4F53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4591050" y="-2305174"/>
              <a:ext cx="5984875" cy="674688"/>
            </a:xfrm>
            <a:custGeom>
              <a:avLst/>
              <a:gdLst>
                <a:gd name="T0" fmla="*/ 85 w 1594"/>
                <a:gd name="T1" fmla="*/ 3 h 179"/>
                <a:gd name="T2" fmla="*/ 77 w 1594"/>
                <a:gd name="T3" fmla="*/ 135 h 179"/>
                <a:gd name="T4" fmla="*/ 184 w 1594"/>
                <a:gd name="T5" fmla="*/ 122 h 179"/>
                <a:gd name="T6" fmla="*/ 151 w 1594"/>
                <a:gd name="T7" fmla="*/ 127 h 179"/>
                <a:gd name="T8" fmla="*/ 207 w 1594"/>
                <a:gd name="T9" fmla="*/ 85 h 179"/>
                <a:gd name="T10" fmla="*/ 192 w 1594"/>
                <a:gd name="T11" fmla="*/ 53 h 179"/>
                <a:gd name="T12" fmla="*/ 253 w 1594"/>
                <a:gd name="T13" fmla="*/ 1 h 179"/>
                <a:gd name="T14" fmla="*/ 269 w 1594"/>
                <a:gd name="T15" fmla="*/ 31 h 179"/>
                <a:gd name="T16" fmla="*/ 271 w 1594"/>
                <a:gd name="T17" fmla="*/ 133 h 179"/>
                <a:gd name="T18" fmla="*/ 249 w 1594"/>
                <a:gd name="T19" fmla="*/ 39 h 179"/>
                <a:gd name="T20" fmla="*/ 318 w 1594"/>
                <a:gd name="T21" fmla="*/ 44 h 179"/>
                <a:gd name="T22" fmla="*/ 308 w 1594"/>
                <a:gd name="T23" fmla="*/ 82 h 179"/>
                <a:gd name="T24" fmla="*/ 381 w 1594"/>
                <a:gd name="T25" fmla="*/ 60 h 179"/>
                <a:gd name="T26" fmla="*/ 419 w 1594"/>
                <a:gd name="T27" fmla="*/ 118 h 179"/>
                <a:gd name="T28" fmla="*/ 391 w 1594"/>
                <a:gd name="T29" fmla="*/ 117 h 179"/>
                <a:gd name="T30" fmla="*/ 497 w 1594"/>
                <a:gd name="T31" fmla="*/ 41 h 179"/>
                <a:gd name="T32" fmla="*/ 583 w 1594"/>
                <a:gd name="T33" fmla="*/ 39 h 179"/>
                <a:gd name="T34" fmla="*/ 585 w 1594"/>
                <a:gd name="T35" fmla="*/ 73 h 179"/>
                <a:gd name="T36" fmla="*/ 529 w 1594"/>
                <a:gd name="T37" fmla="*/ 136 h 179"/>
                <a:gd name="T38" fmla="*/ 497 w 1594"/>
                <a:gd name="T39" fmla="*/ 75 h 179"/>
                <a:gd name="T40" fmla="*/ 662 w 1594"/>
                <a:gd name="T41" fmla="*/ 122 h 179"/>
                <a:gd name="T42" fmla="*/ 629 w 1594"/>
                <a:gd name="T43" fmla="*/ 127 h 179"/>
                <a:gd name="T44" fmla="*/ 685 w 1594"/>
                <a:gd name="T45" fmla="*/ 85 h 179"/>
                <a:gd name="T46" fmla="*/ 670 w 1594"/>
                <a:gd name="T47" fmla="*/ 53 h 179"/>
                <a:gd name="T48" fmla="*/ 772 w 1594"/>
                <a:gd name="T49" fmla="*/ 41 h 179"/>
                <a:gd name="T50" fmla="*/ 813 w 1594"/>
                <a:gd name="T51" fmla="*/ 41 h 179"/>
                <a:gd name="T52" fmla="*/ 799 w 1594"/>
                <a:gd name="T53" fmla="*/ 120 h 179"/>
                <a:gd name="T54" fmla="*/ 759 w 1594"/>
                <a:gd name="T55" fmla="*/ 116 h 179"/>
                <a:gd name="T56" fmla="*/ 869 w 1594"/>
                <a:gd name="T57" fmla="*/ 39 h 179"/>
                <a:gd name="T58" fmla="*/ 883 w 1594"/>
                <a:gd name="T59" fmla="*/ 91 h 179"/>
                <a:gd name="T60" fmla="*/ 955 w 1594"/>
                <a:gd name="T61" fmla="*/ 81 h 179"/>
                <a:gd name="T62" fmla="*/ 977 w 1594"/>
                <a:gd name="T63" fmla="*/ 49 h 179"/>
                <a:gd name="T64" fmla="*/ 973 w 1594"/>
                <a:gd name="T65" fmla="*/ 137 h 179"/>
                <a:gd name="T66" fmla="*/ 971 w 1594"/>
                <a:gd name="T67" fmla="*/ 122 h 179"/>
                <a:gd name="T68" fmla="*/ 976 w 1594"/>
                <a:gd name="T69" fmla="*/ 75 h 179"/>
                <a:gd name="T70" fmla="*/ 1127 w 1594"/>
                <a:gd name="T71" fmla="*/ 48 h 179"/>
                <a:gd name="T72" fmla="*/ 1118 w 1594"/>
                <a:gd name="T73" fmla="*/ 75 h 179"/>
                <a:gd name="T74" fmla="*/ 1168 w 1594"/>
                <a:gd name="T75" fmla="*/ 88 h 179"/>
                <a:gd name="T76" fmla="*/ 1213 w 1594"/>
                <a:gd name="T77" fmla="*/ 58 h 179"/>
                <a:gd name="T78" fmla="*/ 1209 w 1594"/>
                <a:gd name="T79" fmla="*/ 94 h 179"/>
                <a:gd name="T80" fmla="*/ 1158 w 1594"/>
                <a:gd name="T81" fmla="*/ 121 h 179"/>
                <a:gd name="T82" fmla="*/ 1247 w 1594"/>
                <a:gd name="T83" fmla="*/ 88 h 179"/>
                <a:gd name="T84" fmla="*/ 1293 w 1594"/>
                <a:gd name="T85" fmla="*/ 58 h 179"/>
                <a:gd name="T86" fmla="*/ 1288 w 1594"/>
                <a:gd name="T87" fmla="*/ 94 h 179"/>
                <a:gd name="T88" fmla="*/ 1238 w 1594"/>
                <a:gd name="T89" fmla="*/ 121 h 179"/>
                <a:gd name="T90" fmla="*/ 1315 w 1594"/>
                <a:gd name="T91" fmla="*/ 56 h 179"/>
                <a:gd name="T92" fmla="*/ 1326 w 1594"/>
                <a:gd name="T93" fmla="*/ 22 h 179"/>
                <a:gd name="T94" fmla="*/ 1336 w 1594"/>
                <a:gd name="T95" fmla="*/ 22 h 179"/>
                <a:gd name="T96" fmla="*/ 1395 w 1594"/>
                <a:gd name="T97" fmla="*/ 0 h 179"/>
                <a:gd name="T98" fmla="*/ 1423 w 1594"/>
                <a:gd name="T99" fmla="*/ 39 h 179"/>
                <a:gd name="T100" fmla="*/ 1381 w 1594"/>
                <a:gd name="T101" fmla="*/ 121 h 179"/>
                <a:gd name="T102" fmla="*/ 1397 w 1594"/>
                <a:gd name="T103" fmla="*/ 63 h 179"/>
                <a:gd name="T104" fmla="*/ 1491 w 1594"/>
                <a:gd name="T105" fmla="*/ 0 h 179"/>
                <a:gd name="T106" fmla="*/ 1482 w 1594"/>
                <a:gd name="T107" fmla="*/ 113 h 179"/>
                <a:gd name="T108" fmla="*/ 1493 w 1594"/>
                <a:gd name="T109" fmla="*/ 136 h 179"/>
                <a:gd name="T110" fmla="*/ 1538 w 1594"/>
                <a:gd name="T111" fmla="*/ 116 h 179"/>
                <a:gd name="T112" fmla="*/ 1535 w 1594"/>
                <a:gd name="T113" fmla="*/ 134 h 179"/>
                <a:gd name="T114" fmla="*/ 1590 w 1594"/>
                <a:gd name="T115" fmla="*/ 75 h 179"/>
                <a:gd name="T116" fmla="*/ 1573 w 1594"/>
                <a:gd name="T117" fmla="*/ 5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4" h="179">
                  <a:moveTo>
                    <a:pt x="0" y="3"/>
                  </a:moveTo>
                  <a:cubicBezTo>
                    <a:pt x="2" y="3"/>
                    <a:pt x="4" y="3"/>
                    <a:pt x="6" y="3"/>
                  </a:cubicBezTo>
                  <a:cubicBezTo>
                    <a:pt x="8" y="3"/>
                    <a:pt x="10" y="3"/>
                    <a:pt x="12" y="3"/>
                  </a:cubicBezTo>
                  <a:cubicBezTo>
                    <a:pt x="15" y="3"/>
                    <a:pt x="18" y="3"/>
                    <a:pt x="20" y="3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7" y="3"/>
                    <a:pt x="69" y="3"/>
                    <a:pt x="71" y="3"/>
                  </a:cubicBezTo>
                  <a:cubicBezTo>
                    <a:pt x="73" y="3"/>
                    <a:pt x="74" y="3"/>
                    <a:pt x="76" y="3"/>
                  </a:cubicBezTo>
                  <a:cubicBezTo>
                    <a:pt x="77" y="3"/>
                    <a:pt x="79" y="3"/>
                    <a:pt x="81" y="3"/>
                  </a:cubicBezTo>
                  <a:cubicBezTo>
                    <a:pt x="82" y="3"/>
                    <a:pt x="84" y="3"/>
                    <a:pt x="85" y="3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4" y="3"/>
                    <a:pt x="138" y="3"/>
                    <a:pt x="141" y="3"/>
                  </a:cubicBezTo>
                  <a:cubicBezTo>
                    <a:pt x="143" y="3"/>
                    <a:pt x="144" y="3"/>
                    <a:pt x="146" y="3"/>
                  </a:cubicBezTo>
                  <a:cubicBezTo>
                    <a:pt x="148" y="3"/>
                    <a:pt x="149" y="3"/>
                    <a:pt x="151" y="3"/>
                  </a:cubicBezTo>
                  <a:cubicBezTo>
                    <a:pt x="99" y="135"/>
                    <a:pt x="99" y="135"/>
                    <a:pt x="99" y="135"/>
                  </a:cubicBezTo>
                  <a:cubicBezTo>
                    <a:pt x="97" y="135"/>
                    <a:pt x="95" y="135"/>
                    <a:pt x="93" y="135"/>
                  </a:cubicBezTo>
                  <a:cubicBezTo>
                    <a:pt x="91" y="136"/>
                    <a:pt x="89" y="136"/>
                    <a:pt x="88" y="136"/>
                  </a:cubicBezTo>
                  <a:cubicBezTo>
                    <a:pt x="86" y="136"/>
                    <a:pt x="84" y="136"/>
                    <a:pt x="82" y="135"/>
                  </a:cubicBezTo>
                  <a:cubicBezTo>
                    <a:pt x="80" y="135"/>
                    <a:pt x="79" y="135"/>
                    <a:pt x="77" y="135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6" y="135"/>
                    <a:pt x="24" y="135"/>
                    <a:pt x="22" y="135"/>
                  </a:cubicBezTo>
                  <a:cubicBezTo>
                    <a:pt x="20" y="136"/>
                    <a:pt x="18" y="136"/>
                    <a:pt x="16" y="136"/>
                  </a:cubicBezTo>
                  <a:cubicBezTo>
                    <a:pt x="15" y="136"/>
                    <a:pt x="13" y="136"/>
                    <a:pt x="11" y="135"/>
                  </a:cubicBezTo>
                  <a:cubicBezTo>
                    <a:pt x="10" y="135"/>
                    <a:pt x="8" y="135"/>
                    <a:pt x="7" y="135"/>
                  </a:cubicBezTo>
                  <a:lnTo>
                    <a:pt x="0" y="3"/>
                  </a:lnTo>
                  <a:close/>
                  <a:moveTo>
                    <a:pt x="160" y="98"/>
                  </a:moveTo>
                  <a:cubicBezTo>
                    <a:pt x="161" y="106"/>
                    <a:pt x="163" y="112"/>
                    <a:pt x="166" y="116"/>
                  </a:cubicBezTo>
                  <a:cubicBezTo>
                    <a:pt x="170" y="120"/>
                    <a:pt x="176" y="122"/>
                    <a:pt x="184" y="122"/>
                  </a:cubicBezTo>
                  <a:cubicBezTo>
                    <a:pt x="189" y="122"/>
                    <a:pt x="194" y="122"/>
                    <a:pt x="198" y="121"/>
                  </a:cubicBezTo>
                  <a:cubicBezTo>
                    <a:pt x="202" y="120"/>
                    <a:pt x="206" y="118"/>
                    <a:pt x="210" y="117"/>
                  </a:cubicBezTo>
                  <a:cubicBezTo>
                    <a:pt x="211" y="119"/>
                    <a:pt x="212" y="121"/>
                    <a:pt x="212" y="124"/>
                  </a:cubicBezTo>
                  <a:cubicBezTo>
                    <a:pt x="213" y="126"/>
                    <a:pt x="213" y="129"/>
                    <a:pt x="213" y="131"/>
                  </a:cubicBezTo>
                  <a:cubicBezTo>
                    <a:pt x="211" y="132"/>
                    <a:pt x="209" y="133"/>
                    <a:pt x="206" y="134"/>
                  </a:cubicBezTo>
                  <a:cubicBezTo>
                    <a:pt x="204" y="134"/>
                    <a:pt x="201" y="135"/>
                    <a:pt x="198" y="135"/>
                  </a:cubicBezTo>
                  <a:cubicBezTo>
                    <a:pt x="195" y="136"/>
                    <a:pt x="192" y="136"/>
                    <a:pt x="189" y="137"/>
                  </a:cubicBezTo>
                  <a:cubicBezTo>
                    <a:pt x="186" y="137"/>
                    <a:pt x="184" y="137"/>
                    <a:pt x="181" y="137"/>
                  </a:cubicBezTo>
                  <a:cubicBezTo>
                    <a:pt x="174" y="137"/>
                    <a:pt x="168" y="136"/>
                    <a:pt x="163" y="134"/>
                  </a:cubicBezTo>
                  <a:cubicBezTo>
                    <a:pt x="158" y="132"/>
                    <a:pt x="154" y="130"/>
                    <a:pt x="151" y="127"/>
                  </a:cubicBezTo>
                  <a:cubicBezTo>
                    <a:pt x="148" y="123"/>
                    <a:pt x="146" y="119"/>
                    <a:pt x="144" y="115"/>
                  </a:cubicBezTo>
                  <a:cubicBezTo>
                    <a:pt x="143" y="110"/>
                    <a:pt x="142" y="105"/>
                    <a:pt x="142" y="100"/>
                  </a:cubicBezTo>
                  <a:cubicBezTo>
                    <a:pt x="142" y="92"/>
                    <a:pt x="143" y="85"/>
                    <a:pt x="146" y="78"/>
                  </a:cubicBezTo>
                  <a:cubicBezTo>
                    <a:pt x="148" y="70"/>
                    <a:pt x="152" y="64"/>
                    <a:pt x="157" y="58"/>
                  </a:cubicBezTo>
                  <a:cubicBezTo>
                    <a:pt x="161" y="52"/>
                    <a:pt x="167" y="48"/>
                    <a:pt x="174" y="44"/>
                  </a:cubicBezTo>
                  <a:cubicBezTo>
                    <a:pt x="180" y="41"/>
                    <a:pt x="187" y="39"/>
                    <a:pt x="195" y="39"/>
                  </a:cubicBezTo>
                  <a:cubicBezTo>
                    <a:pt x="203" y="39"/>
                    <a:pt x="210" y="41"/>
                    <a:pt x="215" y="45"/>
                  </a:cubicBezTo>
                  <a:cubicBezTo>
                    <a:pt x="219" y="49"/>
                    <a:pt x="222" y="54"/>
                    <a:pt x="222" y="61"/>
                  </a:cubicBezTo>
                  <a:cubicBezTo>
                    <a:pt x="222" y="66"/>
                    <a:pt x="220" y="71"/>
                    <a:pt x="218" y="75"/>
                  </a:cubicBezTo>
                  <a:cubicBezTo>
                    <a:pt x="215" y="79"/>
                    <a:pt x="211" y="82"/>
                    <a:pt x="207" y="85"/>
                  </a:cubicBezTo>
                  <a:cubicBezTo>
                    <a:pt x="202" y="88"/>
                    <a:pt x="197" y="90"/>
                    <a:pt x="190" y="92"/>
                  </a:cubicBezTo>
                  <a:cubicBezTo>
                    <a:pt x="184" y="94"/>
                    <a:pt x="177" y="95"/>
                    <a:pt x="170" y="96"/>
                  </a:cubicBezTo>
                  <a:lnTo>
                    <a:pt x="160" y="98"/>
                  </a:lnTo>
                  <a:close/>
                  <a:moveTo>
                    <a:pt x="172" y="82"/>
                  </a:moveTo>
                  <a:cubicBezTo>
                    <a:pt x="178" y="81"/>
                    <a:pt x="183" y="80"/>
                    <a:pt x="187" y="79"/>
                  </a:cubicBezTo>
                  <a:cubicBezTo>
                    <a:pt x="191" y="77"/>
                    <a:pt x="195" y="76"/>
                    <a:pt x="197" y="74"/>
                  </a:cubicBezTo>
                  <a:cubicBezTo>
                    <a:pt x="199" y="72"/>
                    <a:pt x="201" y="71"/>
                    <a:pt x="202" y="69"/>
                  </a:cubicBezTo>
                  <a:cubicBezTo>
                    <a:pt x="203" y="67"/>
                    <a:pt x="204" y="65"/>
                    <a:pt x="204" y="63"/>
                  </a:cubicBezTo>
                  <a:cubicBezTo>
                    <a:pt x="204" y="60"/>
                    <a:pt x="203" y="58"/>
                    <a:pt x="201" y="56"/>
                  </a:cubicBezTo>
                  <a:cubicBezTo>
                    <a:pt x="199" y="54"/>
                    <a:pt x="196" y="53"/>
                    <a:pt x="192" y="53"/>
                  </a:cubicBezTo>
                  <a:cubicBezTo>
                    <a:pt x="188" y="53"/>
                    <a:pt x="185" y="54"/>
                    <a:pt x="182" y="56"/>
                  </a:cubicBezTo>
                  <a:cubicBezTo>
                    <a:pt x="178" y="58"/>
                    <a:pt x="175" y="60"/>
                    <a:pt x="173" y="63"/>
                  </a:cubicBezTo>
                  <a:cubicBezTo>
                    <a:pt x="170" y="66"/>
                    <a:pt x="168" y="69"/>
                    <a:pt x="166" y="73"/>
                  </a:cubicBezTo>
                  <a:cubicBezTo>
                    <a:pt x="164" y="76"/>
                    <a:pt x="163" y="80"/>
                    <a:pt x="162" y="84"/>
                  </a:cubicBezTo>
                  <a:lnTo>
                    <a:pt x="172" y="82"/>
                  </a:lnTo>
                  <a:close/>
                  <a:moveTo>
                    <a:pt x="249" y="39"/>
                  </a:moveTo>
                  <a:cubicBezTo>
                    <a:pt x="250" y="32"/>
                    <a:pt x="251" y="26"/>
                    <a:pt x="252" y="21"/>
                  </a:cubicBezTo>
                  <a:cubicBezTo>
                    <a:pt x="253" y="16"/>
                    <a:pt x="253" y="11"/>
                    <a:pt x="253" y="8"/>
                  </a:cubicBezTo>
                  <a:cubicBezTo>
                    <a:pt x="253" y="6"/>
                    <a:pt x="253" y="5"/>
                    <a:pt x="253" y="4"/>
                  </a:cubicBezTo>
                  <a:cubicBezTo>
                    <a:pt x="253" y="3"/>
                    <a:pt x="253" y="2"/>
                    <a:pt x="253" y="1"/>
                  </a:cubicBezTo>
                  <a:cubicBezTo>
                    <a:pt x="254" y="1"/>
                    <a:pt x="256" y="0"/>
                    <a:pt x="258" y="0"/>
                  </a:cubicBezTo>
                  <a:cubicBezTo>
                    <a:pt x="260" y="0"/>
                    <a:pt x="261" y="0"/>
                    <a:pt x="263" y="0"/>
                  </a:cubicBezTo>
                  <a:cubicBezTo>
                    <a:pt x="264" y="0"/>
                    <a:pt x="265" y="0"/>
                    <a:pt x="267" y="0"/>
                  </a:cubicBezTo>
                  <a:cubicBezTo>
                    <a:pt x="268" y="0"/>
                    <a:pt x="270" y="1"/>
                    <a:pt x="271" y="1"/>
                  </a:cubicBezTo>
                  <a:cubicBezTo>
                    <a:pt x="271" y="2"/>
                    <a:pt x="271" y="3"/>
                    <a:pt x="271" y="4"/>
                  </a:cubicBezTo>
                  <a:cubicBezTo>
                    <a:pt x="271" y="5"/>
                    <a:pt x="271" y="6"/>
                    <a:pt x="271" y="8"/>
                  </a:cubicBezTo>
                  <a:cubicBezTo>
                    <a:pt x="271" y="9"/>
                    <a:pt x="271" y="11"/>
                    <a:pt x="271" y="12"/>
                  </a:cubicBezTo>
                  <a:cubicBezTo>
                    <a:pt x="271" y="14"/>
                    <a:pt x="271" y="16"/>
                    <a:pt x="271" y="18"/>
                  </a:cubicBezTo>
                  <a:cubicBezTo>
                    <a:pt x="270" y="20"/>
                    <a:pt x="270" y="23"/>
                    <a:pt x="270" y="25"/>
                  </a:cubicBezTo>
                  <a:cubicBezTo>
                    <a:pt x="269" y="27"/>
                    <a:pt x="269" y="29"/>
                    <a:pt x="269" y="31"/>
                  </a:cubicBezTo>
                  <a:cubicBezTo>
                    <a:pt x="254" y="108"/>
                    <a:pt x="254" y="108"/>
                    <a:pt x="254" y="108"/>
                  </a:cubicBezTo>
                  <a:cubicBezTo>
                    <a:pt x="254" y="110"/>
                    <a:pt x="254" y="112"/>
                    <a:pt x="254" y="113"/>
                  </a:cubicBezTo>
                  <a:cubicBezTo>
                    <a:pt x="254" y="115"/>
                    <a:pt x="254" y="117"/>
                    <a:pt x="254" y="118"/>
                  </a:cubicBezTo>
                  <a:cubicBezTo>
                    <a:pt x="255" y="119"/>
                    <a:pt x="256" y="120"/>
                    <a:pt x="257" y="120"/>
                  </a:cubicBezTo>
                  <a:cubicBezTo>
                    <a:pt x="257" y="121"/>
                    <a:pt x="258" y="121"/>
                    <a:pt x="259" y="122"/>
                  </a:cubicBezTo>
                  <a:cubicBezTo>
                    <a:pt x="260" y="122"/>
                    <a:pt x="261" y="122"/>
                    <a:pt x="262" y="122"/>
                  </a:cubicBezTo>
                  <a:cubicBezTo>
                    <a:pt x="264" y="122"/>
                    <a:pt x="265" y="122"/>
                    <a:pt x="266" y="121"/>
                  </a:cubicBezTo>
                  <a:cubicBezTo>
                    <a:pt x="268" y="121"/>
                    <a:pt x="269" y="121"/>
                    <a:pt x="270" y="121"/>
                  </a:cubicBezTo>
                  <a:cubicBezTo>
                    <a:pt x="271" y="124"/>
                    <a:pt x="271" y="128"/>
                    <a:pt x="271" y="132"/>
                  </a:cubicBezTo>
                  <a:cubicBezTo>
                    <a:pt x="271" y="132"/>
                    <a:pt x="271" y="133"/>
                    <a:pt x="271" y="133"/>
                  </a:cubicBezTo>
                  <a:cubicBezTo>
                    <a:pt x="271" y="134"/>
                    <a:pt x="271" y="134"/>
                    <a:pt x="271" y="134"/>
                  </a:cubicBezTo>
                  <a:cubicBezTo>
                    <a:pt x="269" y="135"/>
                    <a:pt x="267" y="136"/>
                    <a:pt x="265" y="136"/>
                  </a:cubicBezTo>
                  <a:cubicBezTo>
                    <a:pt x="262" y="136"/>
                    <a:pt x="259" y="136"/>
                    <a:pt x="257" y="136"/>
                  </a:cubicBezTo>
                  <a:cubicBezTo>
                    <a:pt x="254" y="136"/>
                    <a:pt x="251" y="136"/>
                    <a:pt x="248" y="135"/>
                  </a:cubicBezTo>
                  <a:cubicBezTo>
                    <a:pt x="245" y="135"/>
                    <a:pt x="243" y="134"/>
                    <a:pt x="241" y="132"/>
                  </a:cubicBezTo>
                  <a:cubicBezTo>
                    <a:pt x="239" y="131"/>
                    <a:pt x="238" y="128"/>
                    <a:pt x="237" y="126"/>
                  </a:cubicBezTo>
                  <a:cubicBezTo>
                    <a:pt x="236" y="123"/>
                    <a:pt x="235" y="120"/>
                    <a:pt x="235" y="116"/>
                  </a:cubicBezTo>
                  <a:cubicBezTo>
                    <a:pt x="235" y="114"/>
                    <a:pt x="236" y="111"/>
                    <a:pt x="236" y="109"/>
                  </a:cubicBezTo>
                  <a:cubicBezTo>
                    <a:pt x="237" y="106"/>
                    <a:pt x="237" y="104"/>
                    <a:pt x="238" y="101"/>
                  </a:cubicBezTo>
                  <a:lnTo>
                    <a:pt x="249" y="39"/>
                  </a:lnTo>
                  <a:close/>
                  <a:moveTo>
                    <a:pt x="348" y="119"/>
                  </a:moveTo>
                  <a:cubicBezTo>
                    <a:pt x="349" y="120"/>
                    <a:pt x="349" y="122"/>
                    <a:pt x="350" y="125"/>
                  </a:cubicBezTo>
                  <a:cubicBezTo>
                    <a:pt x="351" y="127"/>
                    <a:pt x="351" y="130"/>
                    <a:pt x="351" y="133"/>
                  </a:cubicBezTo>
                  <a:cubicBezTo>
                    <a:pt x="347" y="134"/>
                    <a:pt x="343" y="135"/>
                    <a:pt x="339" y="136"/>
                  </a:cubicBezTo>
                  <a:cubicBezTo>
                    <a:pt x="334" y="137"/>
                    <a:pt x="330" y="137"/>
                    <a:pt x="326" y="137"/>
                  </a:cubicBezTo>
                  <a:cubicBezTo>
                    <a:pt x="312" y="137"/>
                    <a:pt x="303" y="134"/>
                    <a:pt x="296" y="127"/>
                  </a:cubicBezTo>
                  <a:cubicBezTo>
                    <a:pt x="290" y="121"/>
                    <a:pt x="287" y="112"/>
                    <a:pt x="287" y="100"/>
                  </a:cubicBezTo>
                  <a:cubicBezTo>
                    <a:pt x="287" y="92"/>
                    <a:pt x="288" y="85"/>
                    <a:pt x="290" y="78"/>
                  </a:cubicBezTo>
                  <a:cubicBezTo>
                    <a:pt x="293" y="71"/>
                    <a:pt x="296" y="64"/>
                    <a:pt x="301" y="58"/>
                  </a:cubicBezTo>
                  <a:cubicBezTo>
                    <a:pt x="306" y="52"/>
                    <a:pt x="311" y="48"/>
                    <a:pt x="318" y="44"/>
                  </a:cubicBezTo>
                  <a:cubicBezTo>
                    <a:pt x="325" y="41"/>
                    <a:pt x="333" y="39"/>
                    <a:pt x="341" y="39"/>
                  </a:cubicBezTo>
                  <a:cubicBezTo>
                    <a:pt x="345" y="39"/>
                    <a:pt x="349" y="39"/>
                    <a:pt x="353" y="40"/>
                  </a:cubicBezTo>
                  <a:cubicBezTo>
                    <a:pt x="357" y="41"/>
                    <a:pt x="360" y="42"/>
                    <a:pt x="363" y="43"/>
                  </a:cubicBezTo>
                  <a:cubicBezTo>
                    <a:pt x="362" y="45"/>
                    <a:pt x="362" y="47"/>
                    <a:pt x="361" y="50"/>
                  </a:cubicBezTo>
                  <a:cubicBezTo>
                    <a:pt x="360" y="53"/>
                    <a:pt x="359" y="55"/>
                    <a:pt x="358" y="57"/>
                  </a:cubicBezTo>
                  <a:cubicBezTo>
                    <a:pt x="355" y="56"/>
                    <a:pt x="353" y="56"/>
                    <a:pt x="350" y="55"/>
                  </a:cubicBezTo>
                  <a:cubicBezTo>
                    <a:pt x="347" y="54"/>
                    <a:pt x="344" y="54"/>
                    <a:pt x="341" y="54"/>
                  </a:cubicBezTo>
                  <a:cubicBezTo>
                    <a:pt x="335" y="54"/>
                    <a:pt x="330" y="55"/>
                    <a:pt x="325" y="58"/>
                  </a:cubicBezTo>
                  <a:cubicBezTo>
                    <a:pt x="321" y="60"/>
                    <a:pt x="317" y="64"/>
                    <a:pt x="314" y="68"/>
                  </a:cubicBezTo>
                  <a:cubicBezTo>
                    <a:pt x="311" y="72"/>
                    <a:pt x="309" y="77"/>
                    <a:pt x="308" y="82"/>
                  </a:cubicBezTo>
                  <a:cubicBezTo>
                    <a:pt x="306" y="88"/>
                    <a:pt x="306" y="93"/>
                    <a:pt x="306" y="98"/>
                  </a:cubicBezTo>
                  <a:cubicBezTo>
                    <a:pt x="306" y="106"/>
                    <a:pt x="308" y="112"/>
                    <a:pt x="312" y="116"/>
                  </a:cubicBezTo>
                  <a:cubicBezTo>
                    <a:pt x="316" y="120"/>
                    <a:pt x="321" y="122"/>
                    <a:pt x="329" y="122"/>
                  </a:cubicBezTo>
                  <a:cubicBezTo>
                    <a:pt x="332" y="122"/>
                    <a:pt x="335" y="122"/>
                    <a:pt x="338" y="121"/>
                  </a:cubicBezTo>
                  <a:cubicBezTo>
                    <a:pt x="341" y="121"/>
                    <a:pt x="344" y="120"/>
                    <a:pt x="348" y="119"/>
                  </a:cubicBezTo>
                  <a:close/>
                  <a:moveTo>
                    <a:pt x="402" y="137"/>
                  </a:moveTo>
                  <a:cubicBezTo>
                    <a:pt x="391" y="137"/>
                    <a:pt x="382" y="134"/>
                    <a:pt x="377" y="128"/>
                  </a:cubicBezTo>
                  <a:cubicBezTo>
                    <a:pt x="371" y="122"/>
                    <a:pt x="368" y="113"/>
                    <a:pt x="368" y="101"/>
                  </a:cubicBezTo>
                  <a:cubicBezTo>
                    <a:pt x="368" y="94"/>
                    <a:pt x="369" y="87"/>
                    <a:pt x="371" y="80"/>
                  </a:cubicBezTo>
                  <a:cubicBezTo>
                    <a:pt x="373" y="73"/>
                    <a:pt x="377" y="66"/>
                    <a:pt x="381" y="60"/>
                  </a:cubicBezTo>
                  <a:cubicBezTo>
                    <a:pt x="385" y="54"/>
                    <a:pt x="391" y="49"/>
                    <a:pt x="397" y="45"/>
                  </a:cubicBezTo>
                  <a:cubicBezTo>
                    <a:pt x="404" y="41"/>
                    <a:pt x="411" y="39"/>
                    <a:pt x="420" y="39"/>
                  </a:cubicBezTo>
                  <a:cubicBezTo>
                    <a:pt x="432" y="39"/>
                    <a:pt x="440" y="42"/>
                    <a:pt x="446" y="48"/>
                  </a:cubicBezTo>
                  <a:cubicBezTo>
                    <a:pt x="452" y="55"/>
                    <a:pt x="455" y="64"/>
                    <a:pt x="455" y="75"/>
                  </a:cubicBezTo>
                  <a:cubicBezTo>
                    <a:pt x="455" y="82"/>
                    <a:pt x="454" y="89"/>
                    <a:pt x="452" y="96"/>
                  </a:cubicBezTo>
                  <a:cubicBezTo>
                    <a:pt x="450" y="104"/>
                    <a:pt x="446" y="110"/>
                    <a:pt x="442" y="116"/>
                  </a:cubicBezTo>
                  <a:cubicBezTo>
                    <a:pt x="438" y="123"/>
                    <a:pt x="432" y="127"/>
                    <a:pt x="426" y="131"/>
                  </a:cubicBezTo>
                  <a:cubicBezTo>
                    <a:pt x="419" y="135"/>
                    <a:pt x="411" y="137"/>
                    <a:pt x="402" y="137"/>
                  </a:cubicBezTo>
                  <a:close/>
                  <a:moveTo>
                    <a:pt x="404" y="123"/>
                  </a:moveTo>
                  <a:cubicBezTo>
                    <a:pt x="410" y="123"/>
                    <a:pt x="415" y="121"/>
                    <a:pt x="419" y="118"/>
                  </a:cubicBezTo>
                  <a:cubicBezTo>
                    <a:pt x="423" y="115"/>
                    <a:pt x="426" y="111"/>
                    <a:pt x="429" y="106"/>
                  </a:cubicBezTo>
                  <a:cubicBezTo>
                    <a:pt x="431" y="102"/>
                    <a:pt x="433" y="96"/>
                    <a:pt x="435" y="91"/>
                  </a:cubicBezTo>
                  <a:cubicBezTo>
                    <a:pt x="436" y="85"/>
                    <a:pt x="436" y="80"/>
                    <a:pt x="436" y="75"/>
                  </a:cubicBezTo>
                  <a:cubicBezTo>
                    <a:pt x="436" y="68"/>
                    <a:pt x="435" y="63"/>
                    <a:pt x="432" y="59"/>
                  </a:cubicBezTo>
                  <a:cubicBezTo>
                    <a:pt x="429" y="56"/>
                    <a:pt x="424" y="54"/>
                    <a:pt x="418" y="54"/>
                  </a:cubicBezTo>
                  <a:cubicBezTo>
                    <a:pt x="413" y="54"/>
                    <a:pt x="408" y="55"/>
                    <a:pt x="404" y="58"/>
                  </a:cubicBezTo>
                  <a:cubicBezTo>
                    <a:pt x="400" y="62"/>
                    <a:pt x="397" y="66"/>
                    <a:pt x="394" y="70"/>
                  </a:cubicBezTo>
                  <a:cubicBezTo>
                    <a:pt x="391" y="75"/>
                    <a:pt x="390" y="80"/>
                    <a:pt x="388" y="86"/>
                  </a:cubicBezTo>
                  <a:cubicBezTo>
                    <a:pt x="387" y="91"/>
                    <a:pt x="387" y="97"/>
                    <a:pt x="387" y="101"/>
                  </a:cubicBezTo>
                  <a:cubicBezTo>
                    <a:pt x="387" y="108"/>
                    <a:pt x="388" y="114"/>
                    <a:pt x="391" y="117"/>
                  </a:cubicBezTo>
                  <a:cubicBezTo>
                    <a:pt x="394" y="121"/>
                    <a:pt x="398" y="123"/>
                    <a:pt x="404" y="123"/>
                  </a:cubicBezTo>
                  <a:close/>
                  <a:moveTo>
                    <a:pt x="476" y="81"/>
                  </a:moveTo>
                  <a:cubicBezTo>
                    <a:pt x="478" y="73"/>
                    <a:pt x="479" y="67"/>
                    <a:pt x="480" y="62"/>
                  </a:cubicBezTo>
                  <a:cubicBezTo>
                    <a:pt x="480" y="57"/>
                    <a:pt x="481" y="52"/>
                    <a:pt x="481" y="48"/>
                  </a:cubicBezTo>
                  <a:cubicBezTo>
                    <a:pt x="481" y="46"/>
                    <a:pt x="481" y="45"/>
                    <a:pt x="481" y="44"/>
                  </a:cubicBezTo>
                  <a:cubicBezTo>
                    <a:pt x="481" y="43"/>
                    <a:pt x="481" y="42"/>
                    <a:pt x="480" y="41"/>
                  </a:cubicBezTo>
                  <a:cubicBezTo>
                    <a:pt x="482" y="41"/>
                    <a:pt x="483" y="40"/>
                    <a:pt x="485" y="40"/>
                  </a:cubicBezTo>
                  <a:cubicBezTo>
                    <a:pt x="486" y="40"/>
                    <a:pt x="488" y="40"/>
                    <a:pt x="489" y="40"/>
                  </a:cubicBezTo>
                  <a:cubicBezTo>
                    <a:pt x="490" y="40"/>
                    <a:pt x="492" y="40"/>
                    <a:pt x="493" y="40"/>
                  </a:cubicBezTo>
                  <a:cubicBezTo>
                    <a:pt x="495" y="40"/>
                    <a:pt x="496" y="41"/>
                    <a:pt x="497" y="41"/>
                  </a:cubicBezTo>
                  <a:cubicBezTo>
                    <a:pt x="498" y="42"/>
                    <a:pt x="498" y="43"/>
                    <a:pt x="498" y="44"/>
                  </a:cubicBezTo>
                  <a:cubicBezTo>
                    <a:pt x="498" y="45"/>
                    <a:pt x="498" y="47"/>
                    <a:pt x="498" y="49"/>
                  </a:cubicBezTo>
                  <a:cubicBezTo>
                    <a:pt x="498" y="50"/>
                    <a:pt x="498" y="52"/>
                    <a:pt x="498" y="53"/>
                  </a:cubicBezTo>
                  <a:cubicBezTo>
                    <a:pt x="498" y="55"/>
                    <a:pt x="498" y="56"/>
                    <a:pt x="497" y="57"/>
                  </a:cubicBezTo>
                  <a:cubicBezTo>
                    <a:pt x="501" y="52"/>
                    <a:pt x="505" y="48"/>
                    <a:pt x="510" y="44"/>
                  </a:cubicBezTo>
                  <a:cubicBezTo>
                    <a:pt x="516" y="41"/>
                    <a:pt x="522" y="39"/>
                    <a:pt x="529" y="39"/>
                  </a:cubicBezTo>
                  <a:cubicBezTo>
                    <a:pt x="536" y="39"/>
                    <a:pt x="541" y="41"/>
                    <a:pt x="544" y="44"/>
                  </a:cubicBezTo>
                  <a:cubicBezTo>
                    <a:pt x="548" y="47"/>
                    <a:pt x="550" y="52"/>
                    <a:pt x="550" y="58"/>
                  </a:cubicBezTo>
                  <a:cubicBezTo>
                    <a:pt x="554" y="52"/>
                    <a:pt x="558" y="48"/>
                    <a:pt x="564" y="44"/>
                  </a:cubicBezTo>
                  <a:cubicBezTo>
                    <a:pt x="570" y="41"/>
                    <a:pt x="576" y="39"/>
                    <a:pt x="583" y="39"/>
                  </a:cubicBezTo>
                  <a:cubicBezTo>
                    <a:pt x="597" y="39"/>
                    <a:pt x="604" y="47"/>
                    <a:pt x="604" y="63"/>
                  </a:cubicBezTo>
                  <a:cubicBezTo>
                    <a:pt x="604" y="65"/>
                    <a:pt x="604" y="67"/>
                    <a:pt x="604" y="69"/>
                  </a:cubicBezTo>
                  <a:cubicBezTo>
                    <a:pt x="604" y="71"/>
                    <a:pt x="603" y="73"/>
                    <a:pt x="603" y="76"/>
                  </a:cubicBezTo>
                  <a:cubicBezTo>
                    <a:pt x="592" y="135"/>
                    <a:pt x="592" y="135"/>
                    <a:pt x="592" y="135"/>
                  </a:cubicBezTo>
                  <a:cubicBezTo>
                    <a:pt x="591" y="135"/>
                    <a:pt x="590" y="135"/>
                    <a:pt x="588" y="136"/>
                  </a:cubicBezTo>
                  <a:cubicBezTo>
                    <a:pt x="586" y="136"/>
                    <a:pt x="585" y="136"/>
                    <a:pt x="583" y="136"/>
                  </a:cubicBezTo>
                  <a:cubicBezTo>
                    <a:pt x="582" y="136"/>
                    <a:pt x="580" y="136"/>
                    <a:pt x="579" y="136"/>
                  </a:cubicBezTo>
                  <a:cubicBezTo>
                    <a:pt x="577" y="135"/>
                    <a:pt x="576" y="135"/>
                    <a:pt x="575" y="135"/>
                  </a:cubicBezTo>
                  <a:cubicBezTo>
                    <a:pt x="584" y="79"/>
                    <a:pt x="584" y="79"/>
                    <a:pt x="584" y="79"/>
                  </a:cubicBezTo>
                  <a:cubicBezTo>
                    <a:pt x="585" y="77"/>
                    <a:pt x="585" y="75"/>
                    <a:pt x="585" y="73"/>
                  </a:cubicBezTo>
                  <a:cubicBezTo>
                    <a:pt x="585" y="71"/>
                    <a:pt x="586" y="69"/>
                    <a:pt x="586" y="68"/>
                  </a:cubicBezTo>
                  <a:cubicBezTo>
                    <a:pt x="586" y="63"/>
                    <a:pt x="585" y="60"/>
                    <a:pt x="583" y="58"/>
                  </a:cubicBezTo>
                  <a:cubicBezTo>
                    <a:pt x="581" y="56"/>
                    <a:pt x="578" y="55"/>
                    <a:pt x="574" y="55"/>
                  </a:cubicBezTo>
                  <a:cubicBezTo>
                    <a:pt x="571" y="55"/>
                    <a:pt x="569" y="55"/>
                    <a:pt x="566" y="56"/>
                  </a:cubicBezTo>
                  <a:cubicBezTo>
                    <a:pt x="563" y="58"/>
                    <a:pt x="561" y="60"/>
                    <a:pt x="558" y="63"/>
                  </a:cubicBezTo>
                  <a:cubicBezTo>
                    <a:pt x="556" y="66"/>
                    <a:pt x="553" y="69"/>
                    <a:pt x="551" y="74"/>
                  </a:cubicBezTo>
                  <a:cubicBezTo>
                    <a:pt x="549" y="79"/>
                    <a:pt x="548" y="85"/>
                    <a:pt x="546" y="92"/>
                  </a:cubicBezTo>
                  <a:cubicBezTo>
                    <a:pt x="539" y="135"/>
                    <a:pt x="539" y="135"/>
                    <a:pt x="539" y="135"/>
                  </a:cubicBezTo>
                  <a:cubicBezTo>
                    <a:pt x="537" y="135"/>
                    <a:pt x="536" y="135"/>
                    <a:pt x="534" y="136"/>
                  </a:cubicBezTo>
                  <a:cubicBezTo>
                    <a:pt x="532" y="136"/>
                    <a:pt x="531" y="136"/>
                    <a:pt x="529" y="136"/>
                  </a:cubicBezTo>
                  <a:cubicBezTo>
                    <a:pt x="528" y="136"/>
                    <a:pt x="527" y="136"/>
                    <a:pt x="525" y="136"/>
                  </a:cubicBezTo>
                  <a:cubicBezTo>
                    <a:pt x="523" y="135"/>
                    <a:pt x="522" y="135"/>
                    <a:pt x="521" y="135"/>
                  </a:cubicBezTo>
                  <a:cubicBezTo>
                    <a:pt x="531" y="79"/>
                    <a:pt x="531" y="79"/>
                    <a:pt x="531" y="79"/>
                  </a:cubicBezTo>
                  <a:cubicBezTo>
                    <a:pt x="531" y="77"/>
                    <a:pt x="531" y="75"/>
                    <a:pt x="531" y="73"/>
                  </a:cubicBezTo>
                  <a:cubicBezTo>
                    <a:pt x="532" y="71"/>
                    <a:pt x="532" y="69"/>
                    <a:pt x="532" y="68"/>
                  </a:cubicBezTo>
                  <a:cubicBezTo>
                    <a:pt x="532" y="63"/>
                    <a:pt x="531" y="60"/>
                    <a:pt x="529" y="58"/>
                  </a:cubicBezTo>
                  <a:cubicBezTo>
                    <a:pt x="527" y="56"/>
                    <a:pt x="524" y="55"/>
                    <a:pt x="520" y="55"/>
                  </a:cubicBezTo>
                  <a:cubicBezTo>
                    <a:pt x="518" y="55"/>
                    <a:pt x="515" y="55"/>
                    <a:pt x="512" y="56"/>
                  </a:cubicBezTo>
                  <a:cubicBezTo>
                    <a:pt x="509" y="58"/>
                    <a:pt x="507" y="60"/>
                    <a:pt x="504" y="63"/>
                  </a:cubicBezTo>
                  <a:cubicBezTo>
                    <a:pt x="502" y="66"/>
                    <a:pt x="499" y="70"/>
                    <a:pt x="497" y="75"/>
                  </a:cubicBezTo>
                  <a:cubicBezTo>
                    <a:pt x="495" y="80"/>
                    <a:pt x="493" y="87"/>
                    <a:pt x="492" y="94"/>
                  </a:cubicBezTo>
                  <a:cubicBezTo>
                    <a:pt x="485" y="135"/>
                    <a:pt x="485" y="135"/>
                    <a:pt x="485" y="135"/>
                  </a:cubicBezTo>
                  <a:cubicBezTo>
                    <a:pt x="483" y="135"/>
                    <a:pt x="482" y="135"/>
                    <a:pt x="480" y="136"/>
                  </a:cubicBezTo>
                  <a:cubicBezTo>
                    <a:pt x="478" y="136"/>
                    <a:pt x="477" y="136"/>
                    <a:pt x="475" y="136"/>
                  </a:cubicBezTo>
                  <a:cubicBezTo>
                    <a:pt x="474" y="136"/>
                    <a:pt x="473" y="136"/>
                    <a:pt x="471" y="136"/>
                  </a:cubicBezTo>
                  <a:cubicBezTo>
                    <a:pt x="469" y="135"/>
                    <a:pt x="468" y="135"/>
                    <a:pt x="467" y="135"/>
                  </a:cubicBezTo>
                  <a:lnTo>
                    <a:pt x="476" y="81"/>
                  </a:lnTo>
                  <a:close/>
                  <a:moveTo>
                    <a:pt x="638" y="98"/>
                  </a:moveTo>
                  <a:cubicBezTo>
                    <a:pt x="639" y="106"/>
                    <a:pt x="641" y="112"/>
                    <a:pt x="644" y="116"/>
                  </a:cubicBezTo>
                  <a:cubicBezTo>
                    <a:pt x="648" y="120"/>
                    <a:pt x="654" y="122"/>
                    <a:pt x="662" y="122"/>
                  </a:cubicBezTo>
                  <a:cubicBezTo>
                    <a:pt x="667" y="122"/>
                    <a:pt x="672" y="122"/>
                    <a:pt x="676" y="121"/>
                  </a:cubicBezTo>
                  <a:cubicBezTo>
                    <a:pt x="680" y="120"/>
                    <a:pt x="684" y="118"/>
                    <a:pt x="688" y="117"/>
                  </a:cubicBezTo>
                  <a:cubicBezTo>
                    <a:pt x="689" y="119"/>
                    <a:pt x="690" y="121"/>
                    <a:pt x="690" y="124"/>
                  </a:cubicBezTo>
                  <a:cubicBezTo>
                    <a:pt x="691" y="126"/>
                    <a:pt x="691" y="129"/>
                    <a:pt x="691" y="131"/>
                  </a:cubicBezTo>
                  <a:cubicBezTo>
                    <a:pt x="689" y="132"/>
                    <a:pt x="687" y="133"/>
                    <a:pt x="684" y="134"/>
                  </a:cubicBezTo>
                  <a:cubicBezTo>
                    <a:pt x="682" y="134"/>
                    <a:pt x="679" y="135"/>
                    <a:pt x="676" y="135"/>
                  </a:cubicBezTo>
                  <a:cubicBezTo>
                    <a:pt x="673" y="136"/>
                    <a:pt x="670" y="136"/>
                    <a:pt x="667" y="137"/>
                  </a:cubicBezTo>
                  <a:cubicBezTo>
                    <a:pt x="664" y="137"/>
                    <a:pt x="662" y="137"/>
                    <a:pt x="659" y="137"/>
                  </a:cubicBezTo>
                  <a:cubicBezTo>
                    <a:pt x="652" y="137"/>
                    <a:pt x="646" y="136"/>
                    <a:pt x="641" y="134"/>
                  </a:cubicBezTo>
                  <a:cubicBezTo>
                    <a:pt x="636" y="132"/>
                    <a:pt x="632" y="130"/>
                    <a:pt x="629" y="127"/>
                  </a:cubicBezTo>
                  <a:cubicBezTo>
                    <a:pt x="626" y="123"/>
                    <a:pt x="624" y="119"/>
                    <a:pt x="622" y="115"/>
                  </a:cubicBezTo>
                  <a:cubicBezTo>
                    <a:pt x="621" y="110"/>
                    <a:pt x="620" y="105"/>
                    <a:pt x="620" y="100"/>
                  </a:cubicBezTo>
                  <a:cubicBezTo>
                    <a:pt x="620" y="92"/>
                    <a:pt x="621" y="85"/>
                    <a:pt x="624" y="78"/>
                  </a:cubicBezTo>
                  <a:cubicBezTo>
                    <a:pt x="626" y="70"/>
                    <a:pt x="630" y="64"/>
                    <a:pt x="635" y="58"/>
                  </a:cubicBezTo>
                  <a:cubicBezTo>
                    <a:pt x="639" y="52"/>
                    <a:pt x="645" y="48"/>
                    <a:pt x="652" y="44"/>
                  </a:cubicBezTo>
                  <a:cubicBezTo>
                    <a:pt x="658" y="41"/>
                    <a:pt x="665" y="39"/>
                    <a:pt x="673" y="39"/>
                  </a:cubicBezTo>
                  <a:cubicBezTo>
                    <a:pt x="681" y="39"/>
                    <a:pt x="688" y="41"/>
                    <a:pt x="693" y="45"/>
                  </a:cubicBezTo>
                  <a:cubicBezTo>
                    <a:pt x="697" y="49"/>
                    <a:pt x="700" y="54"/>
                    <a:pt x="700" y="61"/>
                  </a:cubicBezTo>
                  <a:cubicBezTo>
                    <a:pt x="700" y="66"/>
                    <a:pt x="698" y="71"/>
                    <a:pt x="696" y="75"/>
                  </a:cubicBezTo>
                  <a:cubicBezTo>
                    <a:pt x="693" y="79"/>
                    <a:pt x="689" y="82"/>
                    <a:pt x="685" y="85"/>
                  </a:cubicBezTo>
                  <a:cubicBezTo>
                    <a:pt x="680" y="88"/>
                    <a:pt x="675" y="90"/>
                    <a:pt x="668" y="92"/>
                  </a:cubicBezTo>
                  <a:cubicBezTo>
                    <a:pt x="662" y="94"/>
                    <a:pt x="655" y="95"/>
                    <a:pt x="648" y="96"/>
                  </a:cubicBezTo>
                  <a:lnTo>
                    <a:pt x="638" y="98"/>
                  </a:lnTo>
                  <a:close/>
                  <a:moveTo>
                    <a:pt x="650" y="82"/>
                  </a:moveTo>
                  <a:cubicBezTo>
                    <a:pt x="656" y="81"/>
                    <a:pt x="661" y="80"/>
                    <a:pt x="665" y="79"/>
                  </a:cubicBezTo>
                  <a:cubicBezTo>
                    <a:pt x="669" y="77"/>
                    <a:pt x="673" y="76"/>
                    <a:pt x="675" y="74"/>
                  </a:cubicBezTo>
                  <a:cubicBezTo>
                    <a:pt x="678" y="72"/>
                    <a:pt x="679" y="71"/>
                    <a:pt x="680" y="69"/>
                  </a:cubicBezTo>
                  <a:cubicBezTo>
                    <a:pt x="681" y="67"/>
                    <a:pt x="682" y="65"/>
                    <a:pt x="682" y="63"/>
                  </a:cubicBezTo>
                  <a:cubicBezTo>
                    <a:pt x="682" y="60"/>
                    <a:pt x="681" y="58"/>
                    <a:pt x="679" y="56"/>
                  </a:cubicBezTo>
                  <a:cubicBezTo>
                    <a:pt x="677" y="54"/>
                    <a:pt x="674" y="53"/>
                    <a:pt x="670" y="53"/>
                  </a:cubicBezTo>
                  <a:cubicBezTo>
                    <a:pt x="666" y="53"/>
                    <a:pt x="663" y="54"/>
                    <a:pt x="660" y="56"/>
                  </a:cubicBezTo>
                  <a:cubicBezTo>
                    <a:pt x="656" y="58"/>
                    <a:pt x="653" y="60"/>
                    <a:pt x="651" y="63"/>
                  </a:cubicBezTo>
                  <a:cubicBezTo>
                    <a:pt x="648" y="66"/>
                    <a:pt x="646" y="69"/>
                    <a:pt x="644" y="73"/>
                  </a:cubicBezTo>
                  <a:cubicBezTo>
                    <a:pt x="642" y="76"/>
                    <a:pt x="641" y="80"/>
                    <a:pt x="640" y="84"/>
                  </a:cubicBezTo>
                  <a:lnTo>
                    <a:pt x="650" y="82"/>
                  </a:lnTo>
                  <a:close/>
                  <a:moveTo>
                    <a:pt x="770" y="56"/>
                  </a:moveTo>
                  <a:cubicBezTo>
                    <a:pt x="755" y="56"/>
                    <a:pt x="755" y="56"/>
                    <a:pt x="755" y="56"/>
                  </a:cubicBezTo>
                  <a:cubicBezTo>
                    <a:pt x="755" y="53"/>
                    <a:pt x="755" y="51"/>
                    <a:pt x="755" y="49"/>
                  </a:cubicBezTo>
                  <a:cubicBezTo>
                    <a:pt x="756" y="46"/>
                    <a:pt x="756" y="44"/>
                    <a:pt x="757" y="41"/>
                  </a:cubicBezTo>
                  <a:cubicBezTo>
                    <a:pt x="772" y="41"/>
                    <a:pt x="772" y="41"/>
                    <a:pt x="772" y="41"/>
                  </a:cubicBezTo>
                  <a:cubicBezTo>
                    <a:pt x="773" y="38"/>
                    <a:pt x="773" y="35"/>
                    <a:pt x="774" y="31"/>
                  </a:cubicBezTo>
                  <a:cubicBezTo>
                    <a:pt x="774" y="28"/>
                    <a:pt x="774" y="25"/>
                    <a:pt x="774" y="21"/>
                  </a:cubicBezTo>
                  <a:cubicBezTo>
                    <a:pt x="774" y="18"/>
                    <a:pt x="774" y="18"/>
                    <a:pt x="774" y="18"/>
                  </a:cubicBezTo>
                  <a:cubicBezTo>
                    <a:pt x="777" y="17"/>
                    <a:pt x="780" y="16"/>
                    <a:pt x="783" y="15"/>
                  </a:cubicBezTo>
                  <a:cubicBezTo>
                    <a:pt x="787" y="15"/>
                    <a:pt x="789" y="15"/>
                    <a:pt x="792" y="15"/>
                  </a:cubicBezTo>
                  <a:cubicBezTo>
                    <a:pt x="792" y="16"/>
                    <a:pt x="792" y="17"/>
                    <a:pt x="792" y="18"/>
                  </a:cubicBezTo>
                  <a:cubicBezTo>
                    <a:pt x="792" y="19"/>
                    <a:pt x="792" y="20"/>
                    <a:pt x="792" y="21"/>
                  </a:cubicBezTo>
                  <a:cubicBezTo>
                    <a:pt x="792" y="25"/>
                    <a:pt x="792" y="30"/>
                    <a:pt x="791" y="35"/>
                  </a:cubicBezTo>
                  <a:cubicBezTo>
                    <a:pt x="790" y="41"/>
                    <a:pt x="790" y="41"/>
                    <a:pt x="790" y="41"/>
                  </a:cubicBezTo>
                  <a:cubicBezTo>
                    <a:pt x="813" y="41"/>
                    <a:pt x="813" y="41"/>
                    <a:pt x="813" y="41"/>
                  </a:cubicBezTo>
                  <a:cubicBezTo>
                    <a:pt x="813" y="44"/>
                    <a:pt x="813" y="46"/>
                    <a:pt x="813" y="49"/>
                  </a:cubicBezTo>
                  <a:cubicBezTo>
                    <a:pt x="812" y="51"/>
                    <a:pt x="812" y="53"/>
                    <a:pt x="811" y="56"/>
                  </a:cubicBezTo>
                  <a:cubicBezTo>
                    <a:pt x="787" y="56"/>
                    <a:pt x="787" y="56"/>
                    <a:pt x="787" y="56"/>
                  </a:cubicBezTo>
                  <a:cubicBezTo>
                    <a:pt x="780" y="95"/>
                    <a:pt x="780" y="95"/>
                    <a:pt x="780" y="95"/>
                  </a:cubicBezTo>
                  <a:cubicBezTo>
                    <a:pt x="780" y="98"/>
                    <a:pt x="779" y="101"/>
                    <a:pt x="779" y="104"/>
                  </a:cubicBezTo>
                  <a:cubicBezTo>
                    <a:pt x="778" y="107"/>
                    <a:pt x="778" y="110"/>
                    <a:pt x="778" y="112"/>
                  </a:cubicBezTo>
                  <a:cubicBezTo>
                    <a:pt x="778" y="116"/>
                    <a:pt x="779" y="118"/>
                    <a:pt x="781" y="120"/>
                  </a:cubicBezTo>
                  <a:cubicBezTo>
                    <a:pt x="783" y="121"/>
                    <a:pt x="785" y="122"/>
                    <a:pt x="788" y="122"/>
                  </a:cubicBezTo>
                  <a:cubicBezTo>
                    <a:pt x="790" y="122"/>
                    <a:pt x="792" y="122"/>
                    <a:pt x="794" y="121"/>
                  </a:cubicBezTo>
                  <a:cubicBezTo>
                    <a:pt x="796" y="121"/>
                    <a:pt x="797" y="121"/>
                    <a:pt x="799" y="120"/>
                  </a:cubicBezTo>
                  <a:cubicBezTo>
                    <a:pt x="800" y="121"/>
                    <a:pt x="800" y="123"/>
                    <a:pt x="800" y="124"/>
                  </a:cubicBezTo>
                  <a:cubicBezTo>
                    <a:pt x="800" y="126"/>
                    <a:pt x="800" y="127"/>
                    <a:pt x="800" y="129"/>
                  </a:cubicBezTo>
                  <a:cubicBezTo>
                    <a:pt x="800" y="130"/>
                    <a:pt x="800" y="131"/>
                    <a:pt x="800" y="132"/>
                  </a:cubicBezTo>
                  <a:cubicBezTo>
                    <a:pt x="800" y="133"/>
                    <a:pt x="800" y="134"/>
                    <a:pt x="800" y="134"/>
                  </a:cubicBezTo>
                  <a:cubicBezTo>
                    <a:pt x="799" y="135"/>
                    <a:pt x="797" y="135"/>
                    <a:pt x="794" y="136"/>
                  </a:cubicBezTo>
                  <a:cubicBezTo>
                    <a:pt x="792" y="136"/>
                    <a:pt x="789" y="137"/>
                    <a:pt x="786" y="137"/>
                  </a:cubicBezTo>
                  <a:cubicBezTo>
                    <a:pt x="782" y="137"/>
                    <a:pt x="778" y="136"/>
                    <a:pt x="775" y="136"/>
                  </a:cubicBezTo>
                  <a:cubicBezTo>
                    <a:pt x="772" y="135"/>
                    <a:pt x="769" y="134"/>
                    <a:pt x="767" y="133"/>
                  </a:cubicBezTo>
                  <a:cubicBezTo>
                    <a:pt x="764" y="131"/>
                    <a:pt x="763" y="129"/>
                    <a:pt x="761" y="126"/>
                  </a:cubicBezTo>
                  <a:cubicBezTo>
                    <a:pt x="760" y="124"/>
                    <a:pt x="759" y="120"/>
                    <a:pt x="759" y="116"/>
                  </a:cubicBezTo>
                  <a:cubicBezTo>
                    <a:pt x="759" y="114"/>
                    <a:pt x="760" y="111"/>
                    <a:pt x="760" y="109"/>
                  </a:cubicBezTo>
                  <a:cubicBezTo>
                    <a:pt x="761" y="106"/>
                    <a:pt x="761" y="103"/>
                    <a:pt x="761" y="100"/>
                  </a:cubicBezTo>
                  <a:lnTo>
                    <a:pt x="770" y="56"/>
                  </a:lnTo>
                  <a:close/>
                  <a:moveTo>
                    <a:pt x="851" y="137"/>
                  </a:moveTo>
                  <a:cubicBezTo>
                    <a:pt x="840" y="137"/>
                    <a:pt x="831" y="134"/>
                    <a:pt x="826" y="128"/>
                  </a:cubicBezTo>
                  <a:cubicBezTo>
                    <a:pt x="820" y="122"/>
                    <a:pt x="817" y="113"/>
                    <a:pt x="817" y="101"/>
                  </a:cubicBezTo>
                  <a:cubicBezTo>
                    <a:pt x="817" y="94"/>
                    <a:pt x="818" y="87"/>
                    <a:pt x="820" y="80"/>
                  </a:cubicBezTo>
                  <a:cubicBezTo>
                    <a:pt x="822" y="73"/>
                    <a:pt x="825" y="66"/>
                    <a:pt x="830" y="60"/>
                  </a:cubicBezTo>
                  <a:cubicBezTo>
                    <a:pt x="834" y="54"/>
                    <a:pt x="839" y="49"/>
                    <a:pt x="846" y="45"/>
                  </a:cubicBezTo>
                  <a:cubicBezTo>
                    <a:pt x="853" y="41"/>
                    <a:pt x="860" y="39"/>
                    <a:pt x="869" y="39"/>
                  </a:cubicBezTo>
                  <a:cubicBezTo>
                    <a:pt x="881" y="39"/>
                    <a:pt x="889" y="42"/>
                    <a:pt x="895" y="48"/>
                  </a:cubicBezTo>
                  <a:cubicBezTo>
                    <a:pt x="901" y="55"/>
                    <a:pt x="904" y="64"/>
                    <a:pt x="904" y="75"/>
                  </a:cubicBezTo>
                  <a:cubicBezTo>
                    <a:pt x="904" y="82"/>
                    <a:pt x="903" y="89"/>
                    <a:pt x="901" y="96"/>
                  </a:cubicBezTo>
                  <a:cubicBezTo>
                    <a:pt x="898" y="104"/>
                    <a:pt x="895" y="110"/>
                    <a:pt x="891" y="116"/>
                  </a:cubicBezTo>
                  <a:cubicBezTo>
                    <a:pt x="887" y="123"/>
                    <a:pt x="881" y="127"/>
                    <a:pt x="875" y="131"/>
                  </a:cubicBezTo>
                  <a:cubicBezTo>
                    <a:pt x="868" y="135"/>
                    <a:pt x="860" y="137"/>
                    <a:pt x="851" y="137"/>
                  </a:cubicBezTo>
                  <a:close/>
                  <a:moveTo>
                    <a:pt x="853" y="123"/>
                  </a:moveTo>
                  <a:cubicBezTo>
                    <a:pt x="859" y="123"/>
                    <a:pt x="864" y="121"/>
                    <a:pt x="868" y="118"/>
                  </a:cubicBezTo>
                  <a:cubicBezTo>
                    <a:pt x="872" y="115"/>
                    <a:pt x="875" y="111"/>
                    <a:pt x="878" y="106"/>
                  </a:cubicBezTo>
                  <a:cubicBezTo>
                    <a:pt x="880" y="102"/>
                    <a:pt x="882" y="96"/>
                    <a:pt x="883" y="91"/>
                  </a:cubicBezTo>
                  <a:cubicBezTo>
                    <a:pt x="885" y="85"/>
                    <a:pt x="885" y="80"/>
                    <a:pt x="885" y="75"/>
                  </a:cubicBezTo>
                  <a:cubicBezTo>
                    <a:pt x="885" y="68"/>
                    <a:pt x="884" y="63"/>
                    <a:pt x="881" y="59"/>
                  </a:cubicBezTo>
                  <a:cubicBezTo>
                    <a:pt x="878" y="56"/>
                    <a:pt x="873" y="54"/>
                    <a:pt x="867" y="54"/>
                  </a:cubicBezTo>
                  <a:cubicBezTo>
                    <a:pt x="862" y="54"/>
                    <a:pt x="857" y="55"/>
                    <a:pt x="853" y="58"/>
                  </a:cubicBezTo>
                  <a:cubicBezTo>
                    <a:pt x="849" y="62"/>
                    <a:pt x="845" y="66"/>
                    <a:pt x="843" y="70"/>
                  </a:cubicBezTo>
                  <a:cubicBezTo>
                    <a:pt x="840" y="75"/>
                    <a:pt x="838" y="80"/>
                    <a:pt x="837" y="86"/>
                  </a:cubicBezTo>
                  <a:cubicBezTo>
                    <a:pt x="836" y="91"/>
                    <a:pt x="836" y="97"/>
                    <a:pt x="836" y="101"/>
                  </a:cubicBezTo>
                  <a:cubicBezTo>
                    <a:pt x="836" y="108"/>
                    <a:pt x="837" y="114"/>
                    <a:pt x="840" y="117"/>
                  </a:cubicBezTo>
                  <a:cubicBezTo>
                    <a:pt x="843" y="121"/>
                    <a:pt x="847" y="123"/>
                    <a:pt x="853" y="123"/>
                  </a:cubicBezTo>
                  <a:close/>
                  <a:moveTo>
                    <a:pt x="955" y="81"/>
                  </a:moveTo>
                  <a:cubicBezTo>
                    <a:pt x="956" y="73"/>
                    <a:pt x="958" y="67"/>
                    <a:pt x="958" y="62"/>
                  </a:cubicBezTo>
                  <a:cubicBezTo>
                    <a:pt x="959" y="57"/>
                    <a:pt x="960" y="52"/>
                    <a:pt x="960" y="48"/>
                  </a:cubicBezTo>
                  <a:cubicBezTo>
                    <a:pt x="960" y="46"/>
                    <a:pt x="960" y="45"/>
                    <a:pt x="959" y="44"/>
                  </a:cubicBezTo>
                  <a:cubicBezTo>
                    <a:pt x="959" y="43"/>
                    <a:pt x="959" y="42"/>
                    <a:pt x="959" y="41"/>
                  </a:cubicBezTo>
                  <a:cubicBezTo>
                    <a:pt x="961" y="41"/>
                    <a:pt x="962" y="40"/>
                    <a:pt x="963" y="40"/>
                  </a:cubicBezTo>
                  <a:cubicBezTo>
                    <a:pt x="965" y="40"/>
                    <a:pt x="966" y="40"/>
                    <a:pt x="968" y="40"/>
                  </a:cubicBezTo>
                  <a:cubicBezTo>
                    <a:pt x="969" y="40"/>
                    <a:pt x="970" y="40"/>
                    <a:pt x="972" y="40"/>
                  </a:cubicBezTo>
                  <a:cubicBezTo>
                    <a:pt x="973" y="40"/>
                    <a:pt x="975" y="41"/>
                    <a:pt x="976" y="41"/>
                  </a:cubicBezTo>
                  <a:cubicBezTo>
                    <a:pt x="976" y="42"/>
                    <a:pt x="977" y="43"/>
                    <a:pt x="977" y="44"/>
                  </a:cubicBezTo>
                  <a:cubicBezTo>
                    <a:pt x="977" y="45"/>
                    <a:pt x="977" y="47"/>
                    <a:pt x="977" y="49"/>
                  </a:cubicBezTo>
                  <a:cubicBezTo>
                    <a:pt x="977" y="50"/>
                    <a:pt x="977" y="52"/>
                    <a:pt x="977" y="53"/>
                  </a:cubicBezTo>
                  <a:cubicBezTo>
                    <a:pt x="977" y="54"/>
                    <a:pt x="976" y="55"/>
                    <a:pt x="976" y="57"/>
                  </a:cubicBezTo>
                  <a:cubicBezTo>
                    <a:pt x="979" y="52"/>
                    <a:pt x="984" y="47"/>
                    <a:pt x="989" y="44"/>
                  </a:cubicBezTo>
                  <a:cubicBezTo>
                    <a:pt x="994" y="41"/>
                    <a:pt x="1001" y="39"/>
                    <a:pt x="1008" y="39"/>
                  </a:cubicBezTo>
                  <a:cubicBezTo>
                    <a:pt x="1017" y="39"/>
                    <a:pt x="1023" y="42"/>
                    <a:pt x="1028" y="48"/>
                  </a:cubicBezTo>
                  <a:cubicBezTo>
                    <a:pt x="1033" y="54"/>
                    <a:pt x="1035" y="62"/>
                    <a:pt x="1035" y="73"/>
                  </a:cubicBezTo>
                  <a:cubicBezTo>
                    <a:pt x="1035" y="81"/>
                    <a:pt x="1034" y="90"/>
                    <a:pt x="1031" y="97"/>
                  </a:cubicBezTo>
                  <a:cubicBezTo>
                    <a:pt x="1029" y="105"/>
                    <a:pt x="1025" y="112"/>
                    <a:pt x="1020" y="118"/>
                  </a:cubicBezTo>
                  <a:cubicBezTo>
                    <a:pt x="1014" y="124"/>
                    <a:pt x="1008" y="129"/>
                    <a:pt x="1000" y="132"/>
                  </a:cubicBezTo>
                  <a:cubicBezTo>
                    <a:pt x="992" y="135"/>
                    <a:pt x="983" y="137"/>
                    <a:pt x="973" y="137"/>
                  </a:cubicBezTo>
                  <a:cubicBezTo>
                    <a:pt x="971" y="137"/>
                    <a:pt x="969" y="137"/>
                    <a:pt x="968" y="137"/>
                  </a:cubicBezTo>
                  <a:cubicBezTo>
                    <a:pt x="966" y="137"/>
                    <a:pt x="965" y="137"/>
                    <a:pt x="963" y="137"/>
                  </a:cubicBezTo>
                  <a:cubicBezTo>
                    <a:pt x="956" y="178"/>
                    <a:pt x="956" y="178"/>
                    <a:pt x="956" y="178"/>
                  </a:cubicBezTo>
                  <a:cubicBezTo>
                    <a:pt x="955" y="179"/>
                    <a:pt x="953" y="179"/>
                    <a:pt x="951" y="179"/>
                  </a:cubicBezTo>
                  <a:cubicBezTo>
                    <a:pt x="950" y="179"/>
                    <a:pt x="948" y="179"/>
                    <a:pt x="947" y="179"/>
                  </a:cubicBezTo>
                  <a:cubicBezTo>
                    <a:pt x="946" y="179"/>
                    <a:pt x="944" y="179"/>
                    <a:pt x="942" y="179"/>
                  </a:cubicBezTo>
                  <a:cubicBezTo>
                    <a:pt x="941" y="179"/>
                    <a:pt x="939" y="179"/>
                    <a:pt x="938" y="178"/>
                  </a:cubicBezTo>
                  <a:lnTo>
                    <a:pt x="955" y="81"/>
                  </a:lnTo>
                  <a:close/>
                  <a:moveTo>
                    <a:pt x="966" y="121"/>
                  </a:moveTo>
                  <a:cubicBezTo>
                    <a:pt x="967" y="121"/>
                    <a:pt x="969" y="122"/>
                    <a:pt x="971" y="122"/>
                  </a:cubicBezTo>
                  <a:cubicBezTo>
                    <a:pt x="973" y="122"/>
                    <a:pt x="975" y="122"/>
                    <a:pt x="977" y="122"/>
                  </a:cubicBezTo>
                  <a:cubicBezTo>
                    <a:pt x="982" y="122"/>
                    <a:pt x="987" y="121"/>
                    <a:pt x="992" y="119"/>
                  </a:cubicBezTo>
                  <a:cubicBezTo>
                    <a:pt x="997" y="116"/>
                    <a:pt x="1001" y="113"/>
                    <a:pt x="1005" y="109"/>
                  </a:cubicBezTo>
                  <a:cubicBezTo>
                    <a:pt x="1008" y="105"/>
                    <a:pt x="1011" y="100"/>
                    <a:pt x="1013" y="94"/>
                  </a:cubicBezTo>
                  <a:cubicBezTo>
                    <a:pt x="1015" y="89"/>
                    <a:pt x="1016" y="83"/>
                    <a:pt x="1016" y="76"/>
                  </a:cubicBezTo>
                  <a:cubicBezTo>
                    <a:pt x="1016" y="69"/>
                    <a:pt x="1015" y="64"/>
                    <a:pt x="1012" y="60"/>
                  </a:cubicBezTo>
                  <a:cubicBezTo>
                    <a:pt x="1009" y="57"/>
                    <a:pt x="1005" y="55"/>
                    <a:pt x="1000" y="55"/>
                  </a:cubicBezTo>
                  <a:cubicBezTo>
                    <a:pt x="996" y="55"/>
                    <a:pt x="993" y="55"/>
                    <a:pt x="990" y="57"/>
                  </a:cubicBezTo>
                  <a:cubicBezTo>
                    <a:pt x="988" y="58"/>
                    <a:pt x="985" y="60"/>
                    <a:pt x="982" y="63"/>
                  </a:cubicBezTo>
                  <a:cubicBezTo>
                    <a:pt x="980" y="66"/>
                    <a:pt x="978" y="70"/>
                    <a:pt x="976" y="75"/>
                  </a:cubicBezTo>
                  <a:cubicBezTo>
                    <a:pt x="974" y="79"/>
                    <a:pt x="972" y="85"/>
                    <a:pt x="971" y="92"/>
                  </a:cubicBezTo>
                  <a:lnTo>
                    <a:pt x="966" y="121"/>
                  </a:lnTo>
                  <a:close/>
                  <a:moveTo>
                    <a:pt x="1084" y="137"/>
                  </a:moveTo>
                  <a:cubicBezTo>
                    <a:pt x="1072" y="137"/>
                    <a:pt x="1064" y="134"/>
                    <a:pt x="1058" y="128"/>
                  </a:cubicBezTo>
                  <a:cubicBezTo>
                    <a:pt x="1052" y="122"/>
                    <a:pt x="1049" y="113"/>
                    <a:pt x="1049" y="101"/>
                  </a:cubicBezTo>
                  <a:cubicBezTo>
                    <a:pt x="1049" y="94"/>
                    <a:pt x="1051" y="87"/>
                    <a:pt x="1053" y="80"/>
                  </a:cubicBezTo>
                  <a:cubicBezTo>
                    <a:pt x="1055" y="73"/>
                    <a:pt x="1058" y="66"/>
                    <a:pt x="1062" y="60"/>
                  </a:cubicBezTo>
                  <a:cubicBezTo>
                    <a:pt x="1067" y="54"/>
                    <a:pt x="1072" y="49"/>
                    <a:pt x="1079" y="45"/>
                  </a:cubicBezTo>
                  <a:cubicBezTo>
                    <a:pt x="1085" y="41"/>
                    <a:pt x="1093" y="39"/>
                    <a:pt x="1102" y="39"/>
                  </a:cubicBezTo>
                  <a:cubicBezTo>
                    <a:pt x="1113" y="39"/>
                    <a:pt x="1122" y="42"/>
                    <a:pt x="1127" y="48"/>
                  </a:cubicBezTo>
                  <a:cubicBezTo>
                    <a:pt x="1133" y="55"/>
                    <a:pt x="1136" y="64"/>
                    <a:pt x="1136" y="75"/>
                  </a:cubicBezTo>
                  <a:cubicBezTo>
                    <a:pt x="1136" y="82"/>
                    <a:pt x="1135" y="89"/>
                    <a:pt x="1133" y="96"/>
                  </a:cubicBezTo>
                  <a:cubicBezTo>
                    <a:pt x="1131" y="104"/>
                    <a:pt x="1128" y="110"/>
                    <a:pt x="1123" y="116"/>
                  </a:cubicBezTo>
                  <a:cubicBezTo>
                    <a:pt x="1119" y="123"/>
                    <a:pt x="1114" y="127"/>
                    <a:pt x="1107" y="131"/>
                  </a:cubicBezTo>
                  <a:cubicBezTo>
                    <a:pt x="1101" y="135"/>
                    <a:pt x="1093" y="137"/>
                    <a:pt x="1084" y="137"/>
                  </a:cubicBezTo>
                  <a:close/>
                  <a:moveTo>
                    <a:pt x="1086" y="123"/>
                  </a:moveTo>
                  <a:cubicBezTo>
                    <a:pt x="1091" y="123"/>
                    <a:pt x="1096" y="121"/>
                    <a:pt x="1100" y="118"/>
                  </a:cubicBezTo>
                  <a:cubicBezTo>
                    <a:pt x="1104" y="115"/>
                    <a:pt x="1108" y="111"/>
                    <a:pt x="1110" y="106"/>
                  </a:cubicBezTo>
                  <a:cubicBezTo>
                    <a:pt x="1113" y="102"/>
                    <a:pt x="1115" y="96"/>
                    <a:pt x="1116" y="91"/>
                  </a:cubicBezTo>
                  <a:cubicBezTo>
                    <a:pt x="1117" y="85"/>
                    <a:pt x="1118" y="80"/>
                    <a:pt x="1118" y="75"/>
                  </a:cubicBezTo>
                  <a:cubicBezTo>
                    <a:pt x="1118" y="68"/>
                    <a:pt x="1116" y="63"/>
                    <a:pt x="1113" y="59"/>
                  </a:cubicBezTo>
                  <a:cubicBezTo>
                    <a:pt x="1110" y="56"/>
                    <a:pt x="1106" y="54"/>
                    <a:pt x="1100" y="54"/>
                  </a:cubicBezTo>
                  <a:cubicBezTo>
                    <a:pt x="1094" y="54"/>
                    <a:pt x="1089" y="55"/>
                    <a:pt x="1085" y="58"/>
                  </a:cubicBezTo>
                  <a:cubicBezTo>
                    <a:pt x="1081" y="62"/>
                    <a:pt x="1078" y="66"/>
                    <a:pt x="1075" y="70"/>
                  </a:cubicBezTo>
                  <a:cubicBezTo>
                    <a:pt x="1073" y="75"/>
                    <a:pt x="1071" y="80"/>
                    <a:pt x="1070" y="86"/>
                  </a:cubicBezTo>
                  <a:cubicBezTo>
                    <a:pt x="1069" y="91"/>
                    <a:pt x="1068" y="97"/>
                    <a:pt x="1068" y="101"/>
                  </a:cubicBezTo>
                  <a:cubicBezTo>
                    <a:pt x="1068" y="108"/>
                    <a:pt x="1069" y="114"/>
                    <a:pt x="1072" y="117"/>
                  </a:cubicBezTo>
                  <a:cubicBezTo>
                    <a:pt x="1075" y="121"/>
                    <a:pt x="1080" y="123"/>
                    <a:pt x="1086" y="123"/>
                  </a:cubicBezTo>
                  <a:close/>
                  <a:moveTo>
                    <a:pt x="1174" y="91"/>
                  </a:moveTo>
                  <a:cubicBezTo>
                    <a:pt x="1172" y="90"/>
                    <a:pt x="1170" y="89"/>
                    <a:pt x="1168" y="88"/>
                  </a:cubicBezTo>
                  <a:cubicBezTo>
                    <a:pt x="1166" y="87"/>
                    <a:pt x="1164" y="86"/>
                    <a:pt x="1162" y="84"/>
                  </a:cubicBezTo>
                  <a:cubicBezTo>
                    <a:pt x="1160" y="82"/>
                    <a:pt x="1159" y="80"/>
                    <a:pt x="1158" y="77"/>
                  </a:cubicBezTo>
                  <a:cubicBezTo>
                    <a:pt x="1157" y="75"/>
                    <a:pt x="1156" y="72"/>
                    <a:pt x="1156" y="68"/>
                  </a:cubicBezTo>
                  <a:cubicBezTo>
                    <a:pt x="1156" y="63"/>
                    <a:pt x="1157" y="59"/>
                    <a:pt x="1159" y="56"/>
                  </a:cubicBezTo>
                  <a:cubicBezTo>
                    <a:pt x="1161" y="52"/>
                    <a:pt x="1163" y="49"/>
                    <a:pt x="1167" y="47"/>
                  </a:cubicBezTo>
                  <a:cubicBezTo>
                    <a:pt x="1170" y="44"/>
                    <a:pt x="1174" y="42"/>
                    <a:pt x="1178" y="41"/>
                  </a:cubicBezTo>
                  <a:cubicBezTo>
                    <a:pt x="1183" y="40"/>
                    <a:pt x="1188" y="39"/>
                    <a:pt x="1194" y="39"/>
                  </a:cubicBezTo>
                  <a:cubicBezTo>
                    <a:pt x="1199" y="39"/>
                    <a:pt x="1203" y="39"/>
                    <a:pt x="1208" y="41"/>
                  </a:cubicBezTo>
                  <a:cubicBezTo>
                    <a:pt x="1212" y="42"/>
                    <a:pt x="1216" y="43"/>
                    <a:pt x="1219" y="44"/>
                  </a:cubicBezTo>
                  <a:cubicBezTo>
                    <a:pt x="1218" y="49"/>
                    <a:pt x="1216" y="54"/>
                    <a:pt x="1213" y="58"/>
                  </a:cubicBezTo>
                  <a:cubicBezTo>
                    <a:pt x="1211" y="57"/>
                    <a:pt x="1208" y="56"/>
                    <a:pt x="1205" y="55"/>
                  </a:cubicBezTo>
                  <a:cubicBezTo>
                    <a:pt x="1201" y="54"/>
                    <a:pt x="1197" y="53"/>
                    <a:pt x="1193" y="53"/>
                  </a:cubicBezTo>
                  <a:cubicBezTo>
                    <a:pt x="1188" y="53"/>
                    <a:pt x="1183" y="54"/>
                    <a:pt x="1180" y="56"/>
                  </a:cubicBezTo>
                  <a:cubicBezTo>
                    <a:pt x="1176" y="58"/>
                    <a:pt x="1175" y="61"/>
                    <a:pt x="1175" y="66"/>
                  </a:cubicBezTo>
                  <a:cubicBezTo>
                    <a:pt x="1175" y="68"/>
                    <a:pt x="1175" y="71"/>
                    <a:pt x="1177" y="73"/>
                  </a:cubicBezTo>
                  <a:cubicBezTo>
                    <a:pt x="1179" y="75"/>
                    <a:pt x="1182" y="76"/>
                    <a:pt x="1186" y="78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1"/>
                    <a:pt x="1195" y="82"/>
                    <a:pt x="1197" y="83"/>
                  </a:cubicBezTo>
                  <a:cubicBezTo>
                    <a:pt x="1200" y="85"/>
                    <a:pt x="1202" y="86"/>
                    <a:pt x="1204" y="88"/>
                  </a:cubicBezTo>
                  <a:cubicBezTo>
                    <a:pt x="1206" y="90"/>
                    <a:pt x="1208" y="92"/>
                    <a:pt x="1209" y="94"/>
                  </a:cubicBezTo>
                  <a:cubicBezTo>
                    <a:pt x="1210" y="97"/>
                    <a:pt x="1211" y="100"/>
                    <a:pt x="1211" y="104"/>
                  </a:cubicBezTo>
                  <a:cubicBezTo>
                    <a:pt x="1211" y="109"/>
                    <a:pt x="1210" y="114"/>
                    <a:pt x="1208" y="119"/>
                  </a:cubicBezTo>
                  <a:cubicBezTo>
                    <a:pt x="1205" y="123"/>
                    <a:pt x="1202" y="126"/>
                    <a:pt x="1198" y="129"/>
                  </a:cubicBezTo>
                  <a:cubicBezTo>
                    <a:pt x="1195" y="132"/>
                    <a:pt x="1190" y="134"/>
                    <a:pt x="1185" y="135"/>
                  </a:cubicBezTo>
                  <a:cubicBezTo>
                    <a:pt x="1180" y="137"/>
                    <a:pt x="1175" y="137"/>
                    <a:pt x="1169" y="137"/>
                  </a:cubicBezTo>
                  <a:cubicBezTo>
                    <a:pt x="1164" y="137"/>
                    <a:pt x="1159" y="137"/>
                    <a:pt x="1154" y="136"/>
                  </a:cubicBezTo>
                  <a:cubicBezTo>
                    <a:pt x="1150" y="135"/>
                    <a:pt x="1146" y="134"/>
                    <a:pt x="1143" y="133"/>
                  </a:cubicBezTo>
                  <a:cubicBezTo>
                    <a:pt x="1143" y="130"/>
                    <a:pt x="1143" y="127"/>
                    <a:pt x="1144" y="125"/>
                  </a:cubicBezTo>
                  <a:cubicBezTo>
                    <a:pt x="1145" y="123"/>
                    <a:pt x="1146" y="120"/>
                    <a:pt x="1147" y="118"/>
                  </a:cubicBezTo>
                  <a:cubicBezTo>
                    <a:pt x="1150" y="119"/>
                    <a:pt x="1154" y="120"/>
                    <a:pt x="1158" y="121"/>
                  </a:cubicBezTo>
                  <a:cubicBezTo>
                    <a:pt x="1163" y="122"/>
                    <a:pt x="1167" y="122"/>
                    <a:pt x="1170" y="122"/>
                  </a:cubicBezTo>
                  <a:cubicBezTo>
                    <a:pt x="1173" y="122"/>
                    <a:pt x="1176" y="122"/>
                    <a:pt x="1179" y="122"/>
                  </a:cubicBezTo>
                  <a:cubicBezTo>
                    <a:pt x="1181" y="121"/>
                    <a:pt x="1184" y="120"/>
                    <a:pt x="1186" y="119"/>
                  </a:cubicBezTo>
                  <a:cubicBezTo>
                    <a:pt x="1188" y="118"/>
                    <a:pt x="1189" y="116"/>
                    <a:pt x="1190" y="114"/>
                  </a:cubicBezTo>
                  <a:cubicBezTo>
                    <a:pt x="1192" y="112"/>
                    <a:pt x="1192" y="110"/>
                    <a:pt x="1192" y="107"/>
                  </a:cubicBezTo>
                  <a:cubicBezTo>
                    <a:pt x="1192" y="103"/>
                    <a:pt x="1191" y="100"/>
                    <a:pt x="1189" y="99"/>
                  </a:cubicBezTo>
                  <a:cubicBezTo>
                    <a:pt x="1187" y="97"/>
                    <a:pt x="1184" y="95"/>
                    <a:pt x="1180" y="93"/>
                  </a:cubicBezTo>
                  <a:lnTo>
                    <a:pt x="1174" y="91"/>
                  </a:lnTo>
                  <a:close/>
                  <a:moveTo>
                    <a:pt x="1253" y="91"/>
                  </a:moveTo>
                  <a:cubicBezTo>
                    <a:pt x="1251" y="90"/>
                    <a:pt x="1249" y="89"/>
                    <a:pt x="1247" y="88"/>
                  </a:cubicBezTo>
                  <a:cubicBezTo>
                    <a:pt x="1245" y="87"/>
                    <a:pt x="1243" y="86"/>
                    <a:pt x="1242" y="84"/>
                  </a:cubicBezTo>
                  <a:cubicBezTo>
                    <a:pt x="1240" y="82"/>
                    <a:pt x="1238" y="80"/>
                    <a:pt x="1237" y="77"/>
                  </a:cubicBezTo>
                  <a:cubicBezTo>
                    <a:pt x="1236" y="75"/>
                    <a:pt x="1236" y="72"/>
                    <a:pt x="1236" y="68"/>
                  </a:cubicBezTo>
                  <a:cubicBezTo>
                    <a:pt x="1236" y="63"/>
                    <a:pt x="1236" y="59"/>
                    <a:pt x="1238" y="56"/>
                  </a:cubicBezTo>
                  <a:cubicBezTo>
                    <a:pt x="1240" y="52"/>
                    <a:pt x="1243" y="49"/>
                    <a:pt x="1246" y="47"/>
                  </a:cubicBezTo>
                  <a:cubicBezTo>
                    <a:pt x="1249" y="44"/>
                    <a:pt x="1253" y="42"/>
                    <a:pt x="1258" y="41"/>
                  </a:cubicBezTo>
                  <a:cubicBezTo>
                    <a:pt x="1262" y="40"/>
                    <a:pt x="1267" y="39"/>
                    <a:pt x="1273" y="39"/>
                  </a:cubicBezTo>
                  <a:cubicBezTo>
                    <a:pt x="1278" y="39"/>
                    <a:pt x="1283" y="39"/>
                    <a:pt x="1287" y="41"/>
                  </a:cubicBezTo>
                  <a:cubicBezTo>
                    <a:pt x="1292" y="42"/>
                    <a:pt x="1295" y="43"/>
                    <a:pt x="1298" y="44"/>
                  </a:cubicBezTo>
                  <a:cubicBezTo>
                    <a:pt x="1297" y="49"/>
                    <a:pt x="1295" y="54"/>
                    <a:pt x="1293" y="58"/>
                  </a:cubicBezTo>
                  <a:cubicBezTo>
                    <a:pt x="1291" y="57"/>
                    <a:pt x="1288" y="56"/>
                    <a:pt x="1284" y="55"/>
                  </a:cubicBezTo>
                  <a:cubicBezTo>
                    <a:pt x="1280" y="54"/>
                    <a:pt x="1276" y="53"/>
                    <a:pt x="1272" y="53"/>
                  </a:cubicBezTo>
                  <a:cubicBezTo>
                    <a:pt x="1267" y="53"/>
                    <a:pt x="1263" y="54"/>
                    <a:pt x="1259" y="56"/>
                  </a:cubicBezTo>
                  <a:cubicBezTo>
                    <a:pt x="1256" y="58"/>
                    <a:pt x="1254" y="61"/>
                    <a:pt x="1254" y="66"/>
                  </a:cubicBezTo>
                  <a:cubicBezTo>
                    <a:pt x="1254" y="68"/>
                    <a:pt x="1255" y="71"/>
                    <a:pt x="1257" y="73"/>
                  </a:cubicBezTo>
                  <a:cubicBezTo>
                    <a:pt x="1258" y="75"/>
                    <a:pt x="1261" y="76"/>
                    <a:pt x="1265" y="78"/>
                  </a:cubicBezTo>
                  <a:cubicBezTo>
                    <a:pt x="1269" y="80"/>
                    <a:pt x="1269" y="80"/>
                    <a:pt x="1269" y="80"/>
                  </a:cubicBezTo>
                  <a:cubicBezTo>
                    <a:pt x="1272" y="81"/>
                    <a:pt x="1274" y="82"/>
                    <a:pt x="1277" y="83"/>
                  </a:cubicBezTo>
                  <a:cubicBezTo>
                    <a:pt x="1279" y="85"/>
                    <a:pt x="1281" y="86"/>
                    <a:pt x="1283" y="88"/>
                  </a:cubicBezTo>
                  <a:cubicBezTo>
                    <a:pt x="1285" y="90"/>
                    <a:pt x="1287" y="92"/>
                    <a:pt x="1288" y="94"/>
                  </a:cubicBezTo>
                  <a:cubicBezTo>
                    <a:pt x="1290" y="97"/>
                    <a:pt x="1290" y="100"/>
                    <a:pt x="1290" y="104"/>
                  </a:cubicBezTo>
                  <a:cubicBezTo>
                    <a:pt x="1290" y="109"/>
                    <a:pt x="1289" y="114"/>
                    <a:pt x="1287" y="119"/>
                  </a:cubicBezTo>
                  <a:cubicBezTo>
                    <a:pt x="1285" y="123"/>
                    <a:pt x="1282" y="126"/>
                    <a:pt x="1278" y="129"/>
                  </a:cubicBezTo>
                  <a:cubicBezTo>
                    <a:pt x="1274" y="132"/>
                    <a:pt x="1270" y="134"/>
                    <a:pt x="1265" y="135"/>
                  </a:cubicBezTo>
                  <a:cubicBezTo>
                    <a:pt x="1259" y="137"/>
                    <a:pt x="1254" y="137"/>
                    <a:pt x="1248" y="137"/>
                  </a:cubicBezTo>
                  <a:cubicBezTo>
                    <a:pt x="1243" y="137"/>
                    <a:pt x="1238" y="137"/>
                    <a:pt x="1234" y="136"/>
                  </a:cubicBezTo>
                  <a:cubicBezTo>
                    <a:pt x="1229" y="135"/>
                    <a:pt x="1225" y="134"/>
                    <a:pt x="1222" y="133"/>
                  </a:cubicBezTo>
                  <a:cubicBezTo>
                    <a:pt x="1222" y="130"/>
                    <a:pt x="1223" y="127"/>
                    <a:pt x="1224" y="125"/>
                  </a:cubicBezTo>
                  <a:cubicBezTo>
                    <a:pt x="1224" y="123"/>
                    <a:pt x="1225" y="120"/>
                    <a:pt x="1227" y="118"/>
                  </a:cubicBezTo>
                  <a:cubicBezTo>
                    <a:pt x="1230" y="119"/>
                    <a:pt x="1233" y="120"/>
                    <a:pt x="1238" y="121"/>
                  </a:cubicBezTo>
                  <a:cubicBezTo>
                    <a:pt x="1242" y="122"/>
                    <a:pt x="1246" y="122"/>
                    <a:pt x="1250" y="122"/>
                  </a:cubicBezTo>
                  <a:cubicBezTo>
                    <a:pt x="1253" y="122"/>
                    <a:pt x="1256" y="122"/>
                    <a:pt x="1258" y="122"/>
                  </a:cubicBezTo>
                  <a:cubicBezTo>
                    <a:pt x="1261" y="121"/>
                    <a:pt x="1263" y="120"/>
                    <a:pt x="1265" y="119"/>
                  </a:cubicBezTo>
                  <a:cubicBezTo>
                    <a:pt x="1267" y="118"/>
                    <a:pt x="1269" y="116"/>
                    <a:pt x="1270" y="114"/>
                  </a:cubicBezTo>
                  <a:cubicBezTo>
                    <a:pt x="1271" y="112"/>
                    <a:pt x="1272" y="110"/>
                    <a:pt x="1272" y="107"/>
                  </a:cubicBezTo>
                  <a:cubicBezTo>
                    <a:pt x="1272" y="103"/>
                    <a:pt x="1271" y="100"/>
                    <a:pt x="1268" y="99"/>
                  </a:cubicBezTo>
                  <a:cubicBezTo>
                    <a:pt x="1266" y="97"/>
                    <a:pt x="1263" y="95"/>
                    <a:pt x="1259" y="93"/>
                  </a:cubicBezTo>
                  <a:lnTo>
                    <a:pt x="1253" y="91"/>
                  </a:lnTo>
                  <a:close/>
                  <a:moveTo>
                    <a:pt x="1326" y="56"/>
                  </a:moveTo>
                  <a:cubicBezTo>
                    <a:pt x="1315" y="56"/>
                    <a:pt x="1315" y="56"/>
                    <a:pt x="1315" y="56"/>
                  </a:cubicBezTo>
                  <a:cubicBezTo>
                    <a:pt x="1315" y="53"/>
                    <a:pt x="1315" y="51"/>
                    <a:pt x="1315" y="48"/>
                  </a:cubicBezTo>
                  <a:cubicBezTo>
                    <a:pt x="1316" y="46"/>
                    <a:pt x="1316" y="44"/>
                    <a:pt x="1317" y="41"/>
                  </a:cubicBezTo>
                  <a:cubicBezTo>
                    <a:pt x="1347" y="41"/>
                    <a:pt x="1347" y="41"/>
                    <a:pt x="1347" y="41"/>
                  </a:cubicBezTo>
                  <a:cubicBezTo>
                    <a:pt x="1330" y="135"/>
                    <a:pt x="1330" y="135"/>
                    <a:pt x="1330" y="135"/>
                  </a:cubicBezTo>
                  <a:cubicBezTo>
                    <a:pt x="1329" y="135"/>
                    <a:pt x="1327" y="135"/>
                    <a:pt x="1326" y="135"/>
                  </a:cubicBezTo>
                  <a:cubicBezTo>
                    <a:pt x="1324" y="136"/>
                    <a:pt x="1322" y="136"/>
                    <a:pt x="1321" y="136"/>
                  </a:cubicBezTo>
                  <a:cubicBezTo>
                    <a:pt x="1320" y="136"/>
                    <a:pt x="1318" y="136"/>
                    <a:pt x="1317" y="135"/>
                  </a:cubicBezTo>
                  <a:cubicBezTo>
                    <a:pt x="1315" y="135"/>
                    <a:pt x="1314" y="135"/>
                    <a:pt x="1312" y="135"/>
                  </a:cubicBezTo>
                  <a:lnTo>
                    <a:pt x="1326" y="56"/>
                  </a:lnTo>
                  <a:close/>
                  <a:moveTo>
                    <a:pt x="1326" y="22"/>
                  </a:moveTo>
                  <a:cubicBezTo>
                    <a:pt x="1326" y="18"/>
                    <a:pt x="1326" y="15"/>
                    <a:pt x="1327" y="12"/>
                  </a:cubicBezTo>
                  <a:cubicBezTo>
                    <a:pt x="1328" y="8"/>
                    <a:pt x="1328" y="5"/>
                    <a:pt x="1329" y="2"/>
                  </a:cubicBezTo>
                  <a:cubicBezTo>
                    <a:pt x="1331" y="2"/>
                    <a:pt x="1333" y="1"/>
                    <a:pt x="1335" y="1"/>
                  </a:cubicBezTo>
                  <a:cubicBezTo>
                    <a:pt x="1337" y="1"/>
                    <a:pt x="1339" y="1"/>
                    <a:pt x="1340" y="1"/>
                  </a:cubicBezTo>
                  <a:cubicBezTo>
                    <a:pt x="1342" y="1"/>
                    <a:pt x="1343" y="1"/>
                    <a:pt x="1345" y="1"/>
                  </a:cubicBezTo>
                  <a:cubicBezTo>
                    <a:pt x="1347" y="1"/>
                    <a:pt x="1349" y="2"/>
                    <a:pt x="1350" y="2"/>
                  </a:cubicBezTo>
                  <a:cubicBezTo>
                    <a:pt x="1350" y="5"/>
                    <a:pt x="1350" y="9"/>
                    <a:pt x="1349" y="12"/>
                  </a:cubicBezTo>
                  <a:cubicBezTo>
                    <a:pt x="1349" y="15"/>
                    <a:pt x="1348" y="19"/>
                    <a:pt x="1347" y="22"/>
                  </a:cubicBezTo>
                  <a:cubicBezTo>
                    <a:pt x="1345" y="22"/>
                    <a:pt x="1343" y="22"/>
                    <a:pt x="1341" y="22"/>
                  </a:cubicBezTo>
                  <a:cubicBezTo>
                    <a:pt x="1339" y="22"/>
                    <a:pt x="1338" y="22"/>
                    <a:pt x="1336" y="22"/>
                  </a:cubicBezTo>
                  <a:cubicBezTo>
                    <a:pt x="1335" y="22"/>
                    <a:pt x="1333" y="22"/>
                    <a:pt x="1331" y="22"/>
                  </a:cubicBezTo>
                  <a:cubicBezTo>
                    <a:pt x="1329" y="22"/>
                    <a:pt x="1328" y="22"/>
                    <a:pt x="1326" y="22"/>
                  </a:cubicBezTo>
                  <a:close/>
                  <a:moveTo>
                    <a:pt x="1378" y="38"/>
                  </a:moveTo>
                  <a:cubicBezTo>
                    <a:pt x="1379" y="32"/>
                    <a:pt x="1380" y="26"/>
                    <a:pt x="1380" y="21"/>
                  </a:cubicBezTo>
                  <a:cubicBezTo>
                    <a:pt x="1381" y="16"/>
                    <a:pt x="1381" y="11"/>
                    <a:pt x="1381" y="8"/>
                  </a:cubicBezTo>
                  <a:cubicBezTo>
                    <a:pt x="1381" y="6"/>
                    <a:pt x="1381" y="5"/>
                    <a:pt x="1381" y="4"/>
                  </a:cubicBezTo>
                  <a:cubicBezTo>
                    <a:pt x="1381" y="3"/>
                    <a:pt x="1381" y="2"/>
                    <a:pt x="1381" y="1"/>
                  </a:cubicBezTo>
                  <a:cubicBezTo>
                    <a:pt x="1383" y="1"/>
                    <a:pt x="1384" y="0"/>
                    <a:pt x="1386" y="0"/>
                  </a:cubicBezTo>
                  <a:cubicBezTo>
                    <a:pt x="1388" y="0"/>
                    <a:pt x="1390" y="0"/>
                    <a:pt x="1391" y="0"/>
                  </a:cubicBezTo>
                  <a:cubicBezTo>
                    <a:pt x="1392" y="0"/>
                    <a:pt x="1394" y="0"/>
                    <a:pt x="1395" y="0"/>
                  </a:cubicBezTo>
                  <a:cubicBezTo>
                    <a:pt x="1397" y="0"/>
                    <a:pt x="1398" y="0"/>
                    <a:pt x="1399" y="1"/>
                  </a:cubicBezTo>
                  <a:cubicBezTo>
                    <a:pt x="1400" y="2"/>
                    <a:pt x="1400" y="3"/>
                    <a:pt x="1400" y="4"/>
                  </a:cubicBezTo>
                  <a:cubicBezTo>
                    <a:pt x="1400" y="5"/>
                    <a:pt x="1400" y="6"/>
                    <a:pt x="1400" y="7"/>
                  </a:cubicBezTo>
                  <a:cubicBezTo>
                    <a:pt x="1400" y="10"/>
                    <a:pt x="1400" y="14"/>
                    <a:pt x="1399" y="18"/>
                  </a:cubicBezTo>
                  <a:cubicBezTo>
                    <a:pt x="1398" y="23"/>
                    <a:pt x="1398" y="27"/>
                    <a:pt x="1397" y="31"/>
                  </a:cubicBezTo>
                  <a:cubicBezTo>
                    <a:pt x="1393" y="55"/>
                    <a:pt x="1393" y="55"/>
                    <a:pt x="1393" y="55"/>
                  </a:cubicBezTo>
                  <a:cubicBezTo>
                    <a:pt x="1394" y="53"/>
                    <a:pt x="1396" y="51"/>
                    <a:pt x="1398" y="49"/>
                  </a:cubicBezTo>
                  <a:cubicBezTo>
                    <a:pt x="1400" y="47"/>
                    <a:pt x="1402" y="45"/>
                    <a:pt x="1404" y="44"/>
                  </a:cubicBezTo>
                  <a:cubicBezTo>
                    <a:pt x="1407" y="42"/>
                    <a:pt x="1410" y="41"/>
                    <a:pt x="1413" y="40"/>
                  </a:cubicBezTo>
                  <a:cubicBezTo>
                    <a:pt x="1416" y="39"/>
                    <a:pt x="1419" y="39"/>
                    <a:pt x="1423" y="39"/>
                  </a:cubicBezTo>
                  <a:cubicBezTo>
                    <a:pt x="1431" y="39"/>
                    <a:pt x="1438" y="42"/>
                    <a:pt x="1443" y="48"/>
                  </a:cubicBezTo>
                  <a:cubicBezTo>
                    <a:pt x="1448" y="54"/>
                    <a:pt x="1450" y="62"/>
                    <a:pt x="1450" y="73"/>
                  </a:cubicBezTo>
                  <a:cubicBezTo>
                    <a:pt x="1450" y="81"/>
                    <a:pt x="1449" y="90"/>
                    <a:pt x="1446" y="97"/>
                  </a:cubicBezTo>
                  <a:cubicBezTo>
                    <a:pt x="1444" y="105"/>
                    <a:pt x="1440" y="112"/>
                    <a:pt x="1435" y="118"/>
                  </a:cubicBezTo>
                  <a:cubicBezTo>
                    <a:pt x="1429" y="124"/>
                    <a:pt x="1423" y="129"/>
                    <a:pt x="1415" y="132"/>
                  </a:cubicBezTo>
                  <a:cubicBezTo>
                    <a:pt x="1407" y="135"/>
                    <a:pt x="1397" y="137"/>
                    <a:pt x="1386" y="137"/>
                  </a:cubicBezTo>
                  <a:cubicBezTo>
                    <a:pt x="1382" y="137"/>
                    <a:pt x="1377" y="137"/>
                    <a:pt x="1373" y="136"/>
                  </a:cubicBezTo>
                  <a:cubicBezTo>
                    <a:pt x="1368" y="135"/>
                    <a:pt x="1364" y="134"/>
                    <a:pt x="1361" y="133"/>
                  </a:cubicBezTo>
                  <a:lnTo>
                    <a:pt x="1378" y="38"/>
                  </a:lnTo>
                  <a:close/>
                  <a:moveTo>
                    <a:pt x="1381" y="121"/>
                  </a:moveTo>
                  <a:cubicBezTo>
                    <a:pt x="1382" y="121"/>
                    <a:pt x="1384" y="121"/>
                    <a:pt x="1386" y="122"/>
                  </a:cubicBezTo>
                  <a:cubicBezTo>
                    <a:pt x="1388" y="122"/>
                    <a:pt x="1390" y="122"/>
                    <a:pt x="1392" y="122"/>
                  </a:cubicBezTo>
                  <a:cubicBezTo>
                    <a:pt x="1397" y="122"/>
                    <a:pt x="1402" y="121"/>
                    <a:pt x="1407" y="119"/>
                  </a:cubicBezTo>
                  <a:cubicBezTo>
                    <a:pt x="1412" y="116"/>
                    <a:pt x="1416" y="113"/>
                    <a:pt x="1420" y="109"/>
                  </a:cubicBezTo>
                  <a:cubicBezTo>
                    <a:pt x="1423" y="105"/>
                    <a:pt x="1426" y="100"/>
                    <a:pt x="1428" y="94"/>
                  </a:cubicBezTo>
                  <a:cubicBezTo>
                    <a:pt x="1430" y="89"/>
                    <a:pt x="1431" y="83"/>
                    <a:pt x="1431" y="76"/>
                  </a:cubicBezTo>
                  <a:cubicBezTo>
                    <a:pt x="1431" y="69"/>
                    <a:pt x="1430" y="64"/>
                    <a:pt x="1427" y="60"/>
                  </a:cubicBezTo>
                  <a:cubicBezTo>
                    <a:pt x="1424" y="57"/>
                    <a:pt x="1420" y="55"/>
                    <a:pt x="1415" y="55"/>
                  </a:cubicBezTo>
                  <a:cubicBezTo>
                    <a:pt x="1411" y="55"/>
                    <a:pt x="1408" y="55"/>
                    <a:pt x="1405" y="57"/>
                  </a:cubicBezTo>
                  <a:cubicBezTo>
                    <a:pt x="1403" y="58"/>
                    <a:pt x="1400" y="60"/>
                    <a:pt x="1397" y="63"/>
                  </a:cubicBezTo>
                  <a:cubicBezTo>
                    <a:pt x="1395" y="66"/>
                    <a:pt x="1393" y="70"/>
                    <a:pt x="1391" y="75"/>
                  </a:cubicBezTo>
                  <a:cubicBezTo>
                    <a:pt x="1389" y="79"/>
                    <a:pt x="1387" y="85"/>
                    <a:pt x="1386" y="92"/>
                  </a:cubicBezTo>
                  <a:lnTo>
                    <a:pt x="1381" y="121"/>
                  </a:lnTo>
                  <a:close/>
                  <a:moveTo>
                    <a:pt x="1477" y="39"/>
                  </a:moveTo>
                  <a:cubicBezTo>
                    <a:pt x="1479" y="32"/>
                    <a:pt x="1480" y="26"/>
                    <a:pt x="1480" y="21"/>
                  </a:cubicBezTo>
                  <a:cubicBezTo>
                    <a:pt x="1481" y="16"/>
                    <a:pt x="1481" y="11"/>
                    <a:pt x="1481" y="8"/>
                  </a:cubicBezTo>
                  <a:cubicBezTo>
                    <a:pt x="1481" y="6"/>
                    <a:pt x="1481" y="5"/>
                    <a:pt x="1481" y="4"/>
                  </a:cubicBezTo>
                  <a:cubicBezTo>
                    <a:pt x="1481" y="3"/>
                    <a:pt x="1481" y="2"/>
                    <a:pt x="1481" y="1"/>
                  </a:cubicBezTo>
                  <a:cubicBezTo>
                    <a:pt x="1483" y="1"/>
                    <a:pt x="1484" y="0"/>
                    <a:pt x="1486" y="0"/>
                  </a:cubicBezTo>
                  <a:cubicBezTo>
                    <a:pt x="1488" y="0"/>
                    <a:pt x="1490" y="0"/>
                    <a:pt x="1491" y="0"/>
                  </a:cubicBezTo>
                  <a:cubicBezTo>
                    <a:pt x="1492" y="0"/>
                    <a:pt x="1494" y="0"/>
                    <a:pt x="1495" y="0"/>
                  </a:cubicBezTo>
                  <a:cubicBezTo>
                    <a:pt x="1497" y="0"/>
                    <a:pt x="1498" y="1"/>
                    <a:pt x="1499" y="1"/>
                  </a:cubicBezTo>
                  <a:cubicBezTo>
                    <a:pt x="1500" y="2"/>
                    <a:pt x="1500" y="3"/>
                    <a:pt x="1500" y="4"/>
                  </a:cubicBezTo>
                  <a:cubicBezTo>
                    <a:pt x="1500" y="5"/>
                    <a:pt x="1500" y="6"/>
                    <a:pt x="1500" y="8"/>
                  </a:cubicBezTo>
                  <a:cubicBezTo>
                    <a:pt x="1500" y="9"/>
                    <a:pt x="1500" y="11"/>
                    <a:pt x="1500" y="12"/>
                  </a:cubicBezTo>
                  <a:cubicBezTo>
                    <a:pt x="1499" y="14"/>
                    <a:pt x="1499" y="16"/>
                    <a:pt x="1499" y="18"/>
                  </a:cubicBezTo>
                  <a:cubicBezTo>
                    <a:pt x="1499" y="20"/>
                    <a:pt x="1498" y="23"/>
                    <a:pt x="1498" y="25"/>
                  </a:cubicBezTo>
                  <a:cubicBezTo>
                    <a:pt x="1498" y="27"/>
                    <a:pt x="1497" y="29"/>
                    <a:pt x="1497" y="31"/>
                  </a:cubicBezTo>
                  <a:cubicBezTo>
                    <a:pt x="1483" y="108"/>
                    <a:pt x="1483" y="108"/>
                    <a:pt x="1483" y="108"/>
                  </a:cubicBezTo>
                  <a:cubicBezTo>
                    <a:pt x="1482" y="110"/>
                    <a:pt x="1482" y="112"/>
                    <a:pt x="1482" y="113"/>
                  </a:cubicBezTo>
                  <a:cubicBezTo>
                    <a:pt x="1482" y="115"/>
                    <a:pt x="1482" y="117"/>
                    <a:pt x="1483" y="118"/>
                  </a:cubicBezTo>
                  <a:cubicBezTo>
                    <a:pt x="1483" y="119"/>
                    <a:pt x="1484" y="120"/>
                    <a:pt x="1485" y="120"/>
                  </a:cubicBezTo>
                  <a:cubicBezTo>
                    <a:pt x="1486" y="121"/>
                    <a:pt x="1487" y="121"/>
                    <a:pt x="1488" y="122"/>
                  </a:cubicBezTo>
                  <a:cubicBezTo>
                    <a:pt x="1489" y="122"/>
                    <a:pt x="1490" y="122"/>
                    <a:pt x="1491" y="122"/>
                  </a:cubicBezTo>
                  <a:cubicBezTo>
                    <a:pt x="1492" y="122"/>
                    <a:pt x="1493" y="122"/>
                    <a:pt x="1495" y="121"/>
                  </a:cubicBezTo>
                  <a:cubicBezTo>
                    <a:pt x="1496" y="121"/>
                    <a:pt x="1497" y="121"/>
                    <a:pt x="1498" y="121"/>
                  </a:cubicBezTo>
                  <a:cubicBezTo>
                    <a:pt x="1499" y="124"/>
                    <a:pt x="1500" y="128"/>
                    <a:pt x="1500" y="132"/>
                  </a:cubicBezTo>
                  <a:cubicBezTo>
                    <a:pt x="1500" y="132"/>
                    <a:pt x="1500" y="133"/>
                    <a:pt x="1500" y="133"/>
                  </a:cubicBezTo>
                  <a:cubicBezTo>
                    <a:pt x="1500" y="134"/>
                    <a:pt x="1500" y="134"/>
                    <a:pt x="1500" y="134"/>
                  </a:cubicBezTo>
                  <a:cubicBezTo>
                    <a:pt x="1498" y="135"/>
                    <a:pt x="1496" y="136"/>
                    <a:pt x="1493" y="136"/>
                  </a:cubicBezTo>
                  <a:cubicBezTo>
                    <a:pt x="1490" y="136"/>
                    <a:pt x="1488" y="136"/>
                    <a:pt x="1485" y="136"/>
                  </a:cubicBezTo>
                  <a:cubicBezTo>
                    <a:pt x="1482" y="136"/>
                    <a:pt x="1479" y="136"/>
                    <a:pt x="1476" y="135"/>
                  </a:cubicBezTo>
                  <a:cubicBezTo>
                    <a:pt x="1474" y="135"/>
                    <a:pt x="1472" y="134"/>
                    <a:pt x="1470" y="132"/>
                  </a:cubicBezTo>
                  <a:cubicBezTo>
                    <a:pt x="1468" y="131"/>
                    <a:pt x="1466" y="128"/>
                    <a:pt x="1465" y="126"/>
                  </a:cubicBezTo>
                  <a:cubicBezTo>
                    <a:pt x="1464" y="123"/>
                    <a:pt x="1464" y="120"/>
                    <a:pt x="1464" y="116"/>
                  </a:cubicBezTo>
                  <a:cubicBezTo>
                    <a:pt x="1464" y="114"/>
                    <a:pt x="1464" y="111"/>
                    <a:pt x="1464" y="109"/>
                  </a:cubicBezTo>
                  <a:cubicBezTo>
                    <a:pt x="1465" y="106"/>
                    <a:pt x="1465" y="104"/>
                    <a:pt x="1466" y="101"/>
                  </a:cubicBezTo>
                  <a:lnTo>
                    <a:pt x="1477" y="39"/>
                  </a:lnTo>
                  <a:close/>
                  <a:moveTo>
                    <a:pt x="1532" y="98"/>
                  </a:moveTo>
                  <a:cubicBezTo>
                    <a:pt x="1533" y="106"/>
                    <a:pt x="1535" y="112"/>
                    <a:pt x="1538" y="116"/>
                  </a:cubicBezTo>
                  <a:cubicBezTo>
                    <a:pt x="1542" y="120"/>
                    <a:pt x="1548" y="122"/>
                    <a:pt x="1556" y="122"/>
                  </a:cubicBezTo>
                  <a:cubicBezTo>
                    <a:pt x="1561" y="122"/>
                    <a:pt x="1566" y="122"/>
                    <a:pt x="1570" y="121"/>
                  </a:cubicBezTo>
                  <a:cubicBezTo>
                    <a:pt x="1574" y="120"/>
                    <a:pt x="1578" y="118"/>
                    <a:pt x="1582" y="117"/>
                  </a:cubicBezTo>
                  <a:cubicBezTo>
                    <a:pt x="1583" y="119"/>
                    <a:pt x="1584" y="121"/>
                    <a:pt x="1584" y="124"/>
                  </a:cubicBezTo>
                  <a:cubicBezTo>
                    <a:pt x="1585" y="126"/>
                    <a:pt x="1585" y="129"/>
                    <a:pt x="1585" y="131"/>
                  </a:cubicBezTo>
                  <a:cubicBezTo>
                    <a:pt x="1583" y="132"/>
                    <a:pt x="1581" y="133"/>
                    <a:pt x="1578" y="134"/>
                  </a:cubicBezTo>
                  <a:cubicBezTo>
                    <a:pt x="1576" y="134"/>
                    <a:pt x="1573" y="135"/>
                    <a:pt x="1570" y="135"/>
                  </a:cubicBezTo>
                  <a:cubicBezTo>
                    <a:pt x="1567" y="136"/>
                    <a:pt x="1564" y="136"/>
                    <a:pt x="1561" y="137"/>
                  </a:cubicBezTo>
                  <a:cubicBezTo>
                    <a:pt x="1558" y="137"/>
                    <a:pt x="1556" y="137"/>
                    <a:pt x="1553" y="137"/>
                  </a:cubicBezTo>
                  <a:cubicBezTo>
                    <a:pt x="1546" y="137"/>
                    <a:pt x="1540" y="136"/>
                    <a:pt x="1535" y="134"/>
                  </a:cubicBezTo>
                  <a:cubicBezTo>
                    <a:pt x="1530" y="132"/>
                    <a:pt x="1526" y="130"/>
                    <a:pt x="1523" y="127"/>
                  </a:cubicBezTo>
                  <a:cubicBezTo>
                    <a:pt x="1520" y="123"/>
                    <a:pt x="1518" y="119"/>
                    <a:pt x="1516" y="115"/>
                  </a:cubicBezTo>
                  <a:cubicBezTo>
                    <a:pt x="1515" y="110"/>
                    <a:pt x="1514" y="105"/>
                    <a:pt x="1514" y="100"/>
                  </a:cubicBezTo>
                  <a:cubicBezTo>
                    <a:pt x="1514" y="92"/>
                    <a:pt x="1515" y="85"/>
                    <a:pt x="1518" y="78"/>
                  </a:cubicBezTo>
                  <a:cubicBezTo>
                    <a:pt x="1520" y="70"/>
                    <a:pt x="1524" y="64"/>
                    <a:pt x="1529" y="58"/>
                  </a:cubicBezTo>
                  <a:cubicBezTo>
                    <a:pt x="1533" y="52"/>
                    <a:pt x="1539" y="48"/>
                    <a:pt x="1545" y="44"/>
                  </a:cubicBezTo>
                  <a:cubicBezTo>
                    <a:pt x="1552" y="41"/>
                    <a:pt x="1559" y="39"/>
                    <a:pt x="1567" y="39"/>
                  </a:cubicBezTo>
                  <a:cubicBezTo>
                    <a:pt x="1575" y="39"/>
                    <a:pt x="1582" y="41"/>
                    <a:pt x="1586" y="45"/>
                  </a:cubicBezTo>
                  <a:cubicBezTo>
                    <a:pt x="1591" y="49"/>
                    <a:pt x="1594" y="54"/>
                    <a:pt x="1594" y="61"/>
                  </a:cubicBezTo>
                  <a:cubicBezTo>
                    <a:pt x="1594" y="66"/>
                    <a:pt x="1592" y="71"/>
                    <a:pt x="1590" y="75"/>
                  </a:cubicBezTo>
                  <a:cubicBezTo>
                    <a:pt x="1587" y="79"/>
                    <a:pt x="1583" y="82"/>
                    <a:pt x="1579" y="85"/>
                  </a:cubicBezTo>
                  <a:cubicBezTo>
                    <a:pt x="1574" y="88"/>
                    <a:pt x="1569" y="90"/>
                    <a:pt x="1562" y="92"/>
                  </a:cubicBezTo>
                  <a:cubicBezTo>
                    <a:pt x="1556" y="94"/>
                    <a:pt x="1549" y="95"/>
                    <a:pt x="1542" y="96"/>
                  </a:cubicBezTo>
                  <a:lnTo>
                    <a:pt x="1532" y="98"/>
                  </a:lnTo>
                  <a:close/>
                  <a:moveTo>
                    <a:pt x="1544" y="82"/>
                  </a:moveTo>
                  <a:cubicBezTo>
                    <a:pt x="1550" y="81"/>
                    <a:pt x="1555" y="80"/>
                    <a:pt x="1559" y="79"/>
                  </a:cubicBezTo>
                  <a:cubicBezTo>
                    <a:pt x="1563" y="77"/>
                    <a:pt x="1567" y="76"/>
                    <a:pt x="1569" y="74"/>
                  </a:cubicBezTo>
                  <a:cubicBezTo>
                    <a:pt x="1571" y="72"/>
                    <a:pt x="1573" y="71"/>
                    <a:pt x="1574" y="69"/>
                  </a:cubicBezTo>
                  <a:cubicBezTo>
                    <a:pt x="1575" y="67"/>
                    <a:pt x="1576" y="65"/>
                    <a:pt x="1576" y="63"/>
                  </a:cubicBezTo>
                  <a:cubicBezTo>
                    <a:pt x="1576" y="60"/>
                    <a:pt x="1575" y="58"/>
                    <a:pt x="1573" y="56"/>
                  </a:cubicBezTo>
                  <a:cubicBezTo>
                    <a:pt x="1571" y="54"/>
                    <a:pt x="1568" y="53"/>
                    <a:pt x="1564" y="53"/>
                  </a:cubicBezTo>
                  <a:cubicBezTo>
                    <a:pt x="1560" y="53"/>
                    <a:pt x="1557" y="54"/>
                    <a:pt x="1553" y="56"/>
                  </a:cubicBezTo>
                  <a:cubicBezTo>
                    <a:pt x="1550" y="58"/>
                    <a:pt x="1547" y="60"/>
                    <a:pt x="1545" y="63"/>
                  </a:cubicBezTo>
                  <a:cubicBezTo>
                    <a:pt x="1542" y="66"/>
                    <a:pt x="1540" y="69"/>
                    <a:pt x="1538" y="73"/>
                  </a:cubicBezTo>
                  <a:cubicBezTo>
                    <a:pt x="1536" y="76"/>
                    <a:pt x="1535" y="80"/>
                    <a:pt x="1534" y="84"/>
                  </a:cubicBezTo>
                  <a:lnTo>
                    <a:pt x="1544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4D4F5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09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304800"/>
            <a:ext cx="11277600" cy="6858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711200" y="990601"/>
            <a:ext cx="11277600" cy="1130737"/>
          </a:xfrm>
        </p:spPr>
        <p:txBody>
          <a:bodyPr/>
          <a:lstStyle>
            <a:lvl1pPr>
              <a:lnSpc>
                <a:spcPts val="1400"/>
              </a:lnSpc>
              <a:spcBef>
                <a:spcPts val="400"/>
              </a:spcBef>
              <a:spcAft>
                <a:spcPts val="0"/>
              </a:spcAft>
              <a:defRPr sz="1600"/>
            </a:lvl1pPr>
            <a:lvl2pPr>
              <a:lnSpc>
                <a:spcPts val="1400"/>
              </a:lnSpc>
              <a:spcBef>
                <a:spcPts val="400"/>
              </a:spcBef>
              <a:spcAft>
                <a:spcPts val="0"/>
              </a:spcAft>
              <a:defRPr sz="1400"/>
            </a:lvl2pPr>
            <a:lvl3pPr>
              <a:lnSpc>
                <a:spcPts val="1400"/>
              </a:lnSpc>
              <a:spcBef>
                <a:spcPts val="400"/>
              </a:spcBef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Bef>
                <a:spcPts val="400"/>
              </a:spcBef>
              <a:spcAft>
                <a:spcPts val="0"/>
              </a:spcAft>
              <a:defRPr sz="1100"/>
            </a:lvl4pPr>
            <a:lvl5pPr>
              <a:lnSpc>
                <a:spcPts val="1400"/>
              </a:lnSpc>
              <a:spcBef>
                <a:spcPts val="400"/>
              </a:spcBef>
              <a:spcAft>
                <a:spcPts val="0"/>
              </a:spcAft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197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Dark">
    <p:bg>
      <p:bgPr>
        <a:solidFill>
          <a:srgbClr val="4848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E4229-FDA3-419F-948E-EC3B542AE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6"/>
            <a:ext cx="10515600" cy="768096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D5E140-8BC8-449A-8EB6-5236A4689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04D5C2E-AF49-4B3E-833F-5946220A398E}" type="datetime1">
              <a:rPr lang="en-US" smtClean="0"/>
              <a:pPr/>
              <a:t>6/2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3E766-E3A6-4451-8208-02143C37E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esigned by Powered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F041C4-DDAB-4C12-865A-AD93CBA2A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F294920-2F4F-4D88-AD0A-053AE5A679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2719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DA311E-6A8E-51C7-6E01-F6723A3541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476246" y="808727"/>
            <a:ext cx="13493220" cy="5704747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1025822 h 5704747"/>
              <a:gd name="connsiteX3" fmla="*/ 12623921 w 13430861"/>
              <a:gd name="connsiteY3" fmla="*/ 1025822 h 5704747"/>
              <a:gd name="connsiteX4" fmla="*/ 12623921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1025822"/>
                </a:lnTo>
                <a:lnTo>
                  <a:pt x="12623921" y="1025822"/>
                </a:lnTo>
                <a:lnTo>
                  <a:pt x="12623921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pic>
        <p:nvPicPr>
          <p:cNvPr id="8" name="Picture 7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4035CBD4-CAE9-6966-843C-818EF82552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8803" y="375376"/>
            <a:ext cx="7336721" cy="4897262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AE59C32-79DE-5262-0CFB-E1F988AB57DE}"/>
              </a:ext>
            </a:extLst>
          </p:cNvPr>
          <p:cNvSpPr/>
          <p:nvPr userDrawn="1"/>
        </p:nvSpPr>
        <p:spPr>
          <a:xfrm>
            <a:off x="2435615" y="3342037"/>
            <a:ext cx="4395368" cy="3515963"/>
          </a:xfrm>
          <a:custGeom>
            <a:avLst/>
            <a:gdLst>
              <a:gd name="connsiteX0" fmla="*/ 2197684 w 4395368"/>
              <a:gd name="connsiteY0" fmla="*/ 0 h 3515963"/>
              <a:gd name="connsiteX1" fmla="*/ 4395368 w 4395368"/>
              <a:gd name="connsiteY1" fmla="*/ 2197684 h 3515963"/>
              <a:gd name="connsiteX2" fmla="*/ 4020039 w 4395368"/>
              <a:gd name="connsiteY2" fmla="*/ 3426430 h 3515963"/>
              <a:gd name="connsiteX3" fmla="*/ 3953087 w 4395368"/>
              <a:gd name="connsiteY3" fmla="*/ 3515963 h 3515963"/>
              <a:gd name="connsiteX4" fmla="*/ 442282 w 4395368"/>
              <a:gd name="connsiteY4" fmla="*/ 3515963 h 3515963"/>
              <a:gd name="connsiteX5" fmla="*/ 375330 w 4395368"/>
              <a:gd name="connsiteY5" fmla="*/ 3426430 h 3515963"/>
              <a:gd name="connsiteX6" fmla="*/ 0 w 4395368"/>
              <a:gd name="connsiteY6" fmla="*/ 2197684 h 3515963"/>
              <a:gd name="connsiteX7" fmla="*/ 2197684 w 4395368"/>
              <a:gd name="connsiteY7" fmla="*/ 0 h 3515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95368" h="3515963">
                <a:moveTo>
                  <a:pt x="2197684" y="0"/>
                </a:moveTo>
                <a:cubicBezTo>
                  <a:pt x="3411432" y="0"/>
                  <a:pt x="4395368" y="983937"/>
                  <a:pt x="4395368" y="2197684"/>
                </a:cubicBezTo>
                <a:cubicBezTo>
                  <a:pt x="4395368" y="2652839"/>
                  <a:pt x="4257002" y="3075677"/>
                  <a:pt x="4020039" y="3426430"/>
                </a:cubicBezTo>
                <a:lnTo>
                  <a:pt x="3953087" y="3515963"/>
                </a:lnTo>
                <a:lnTo>
                  <a:pt x="442282" y="3515963"/>
                </a:lnTo>
                <a:lnTo>
                  <a:pt x="375330" y="3426430"/>
                </a:lnTo>
                <a:cubicBezTo>
                  <a:pt x="138366" y="3075677"/>
                  <a:pt x="0" y="2652839"/>
                  <a:pt x="0" y="2197684"/>
                </a:cubicBezTo>
                <a:cubicBezTo>
                  <a:pt x="0" y="983937"/>
                  <a:pt x="983937" y="0"/>
                  <a:pt x="2197684" y="0"/>
                </a:cubicBezTo>
                <a:close/>
              </a:path>
            </a:pathLst>
          </a:custGeom>
          <a:solidFill>
            <a:srgbClr val="0092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16" name="Title 1">
            <a:extLst>
              <a:ext uri="{FF2B5EF4-FFF2-40B4-BE49-F238E27FC236}">
                <a16:creationId xmlns:a16="http://schemas.microsoft.com/office/drawing/2014/main" id="{9287E933-881A-9D4D-E338-3ED9919DA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076" y="911978"/>
            <a:ext cx="3848100" cy="1453775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rgbClr val="1C1644"/>
                </a:solidFill>
                <a:latin typeface="Frutiger 45 Light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12" name="Freeform: Shape 1211">
            <a:extLst>
              <a:ext uri="{FF2B5EF4-FFF2-40B4-BE49-F238E27FC236}">
                <a16:creationId xmlns:a16="http://schemas.microsoft.com/office/drawing/2014/main" id="{63E0392D-8399-BED9-AB1C-73EB110917F0}"/>
              </a:ext>
            </a:extLst>
          </p:cNvPr>
          <p:cNvSpPr/>
          <p:nvPr userDrawn="1"/>
        </p:nvSpPr>
        <p:spPr>
          <a:xfrm rot="357460">
            <a:off x="-122845" y="4370712"/>
            <a:ext cx="12350386" cy="2338019"/>
          </a:xfrm>
          <a:custGeom>
            <a:avLst/>
            <a:gdLst>
              <a:gd name="connsiteX0" fmla="*/ 0 w 12330273"/>
              <a:gd name="connsiteY0" fmla="*/ 393502 h 2416556"/>
              <a:gd name="connsiteX1" fmla="*/ 9758786 w 12330273"/>
              <a:gd name="connsiteY1" fmla="*/ 255809 h 2416556"/>
              <a:gd name="connsiteX2" fmla="*/ 12210070 w 12330273"/>
              <a:gd name="connsiteY2" fmla="*/ 0 h 2416556"/>
              <a:gd name="connsiteX3" fmla="*/ 12330273 w 12330273"/>
              <a:gd name="connsiteY3" fmla="*/ 1151835 h 2416556"/>
              <a:gd name="connsiteX4" fmla="*/ 7600493 w 12330273"/>
              <a:gd name="connsiteY4" fmla="*/ 1645422 h 2416556"/>
              <a:gd name="connsiteX5" fmla="*/ 4940900 w 12330273"/>
              <a:gd name="connsiteY5" fmla="*/ 1922969 h 2416556"/>
              <a:gd name="connsiteX6" fmla="*/ 211121 w 12330273"/>
              <a:gd name="connsiteY6" fmla="*/ 2416556 h 2416556"/>
              <a:gd name="connsiteX7" fmla="*/ 74719 w 12330273"/>
              <a:gd name="connsiteY7" fmla="*/ 1109487 h 2416556"/>
              <a:gd name="connsiteX8" fmla="*/ 74718 w 12330273"/>
              <a:gd name="connsiteY8" fmla="*/ 1109487 h 241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30273" h="2416556">
                <a:moveTo>
                  <a:pt x="0" y="393502"/>
                </a:moveTo>
                <a:lnTo>
                  <a:pt x="9758786" y="255809"/>
                </a:lnTo>
                <a:lnTo>
                  <a:pt x="12210070" y="0"/>
                </a:lnTo>
                <a:lnTo>
                  <a:pt x="12330273" y="1151835"/>
                </a:lnTo>
                <a:lnTo>
                  <a:pt x="7600493" y="1645422"/>
                </a:lnTo>
                <a:lnTo>
                  <a:pt x="4940900" y="1922969"/>
                </a:lnTo>
                <a:lnTo>
                  <a:pt x="211121" y="2416556"/>
                </a:lnTo>
                <a:lnTo>
                  <a:pt x="74719" y="1109487"/>
                </a:lnTo>
                <a:lnTo>
                  <a:pt x="74718" y="1109487"/>
                </a:lnTo>
                <a:close/>
              </a:path>
            </a:pathLst>
          </a:custGeom>
          <a:gradFill>
            <a:gsLst>
              <a:gs pos="100000">
                <a:srgbClr val="192838"/>
              </a:gs>
              <a:gs pos="59200">
                <a:srgbClr val="1C1644"/>
              </a:gs>
              <a:gs pos="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17" name="Text Placeholder 52">
            <a:extLst>
              <a:ext uri="{FF2B5EF4-FFF2-40B4-BE49-F238E27FC236}">
                <a16:creationId xmlns:a16="http://schemas.microsoft.com/office/drawing/2014/main" id="{ED614A23-A78D-904F-B508-4921BDB31C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076" y="2683610"/>
            <a:ext cx="3848100" cy="48825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1C164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  <a:endParaRPr lang="en-IN"/>
          </a:p>
        </p:txBody>
      </p:sp>
      <p:sp>
        <p:nvSpPr>
          <p:cNvPr id="1218" name="Rectangle 1217">
            <a:extLst>
              <a:ext uri="{FF2B5EF4-FFF2-40B4-BE49-F238E27FC236}">
                <a16:creationId xmlns:a16="http://schemas.microsoft.com/office/drawing/2014/main" id="{458A1EBD-54CA-7811-8995-0EC8D23183E5}"/>
              </a:ext>
            </a:extLst>
          </p:cNvPr>
          <p:cNvSpPr/>
          <p:nvPr userDrawn="1"/>
        </p:nvSpPr>
        <p:spPr>
          <a:xfrm>
            <a:off x="457200" y="651601"/>
            <a:ext cx="4176100" cy="4563337"/>
          </a:xfrm>
          <a:prstGeom prst="rect">
            <a:avLst/>
          </a:prstGeom>
          <a:noFill/>
          <a:ln w="38100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255" name="Straight Connector 1254">
            <a:extLst>
              <a:ext uri="{FF2B5EF4-FFF2-40B4-BE49-F238E27FC236}">
                <a16:creationId xmlns:a16="http://schemas.microsoft.com/office/drawing/2014/main" id="{16AC0D34-BE0D-A206-3933-C011D0F286A1}"/>
              </a:ext>
            </a:extLst>
          </p:cNvPr>
          <p:cNvCxnSpPr/>
          <p:nvPr userDrawn="1"/>
        </p:nvCxnSpPr>
        <p:spPr>
          <a:xfrm>
            <a:off x="637076" y="2536629"/>
            <a:ext cx="3848100" cy="0"/>
          </a:xfrm>
          <a:prstGeom prst="line">
            <a:avLst/>
          </a:prstGeom>
          <a:ln w="38100"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lowchart: Manual Input 2">
            <a:extLst>
              <a:ext uri="{FF2B5EF4-FFF2-40B4-BE49-F238E27FC236}">
                <a16:creationId xmlns:a16="http://schemas.microsoft.com/office/drawing/2014/main" id="{6C3E176F-A90A-C03D-0993-B95F166B61D9}"/>
              </a:ext>
            </a:extLst>
          </p:cNvPr>
          <p:cNvSpPr/>
          <p:nvPr userDrawn="1"/>
        </p:nvSpPr>
        <p:spPr>
          <a:xfrm flipV="1">
            <a:off x="8442414" y="0"/>
            <a:ext cx="3749586" cy="1068680"/>
          </a:xfrm>
          <a:prstGeom prst="flowChartManualInpu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490912-DD5F-7F35-493C-C53F87D1BADE}"/>
              </a:ext>
            </a:extLst>
          </p:cNvPr>
          <p:cNvSpPr/>
          <p:nvPr userDrawn="1"/>
        </p:nvSpPr>
        <p:spPr>
          <a:xfrm>
            <a:off x="0" y="6000489"/>
            <a:ext cx="12192000" cy="857512"/>
          </a:xfrm>
          <a:prstGeom prst="rect">
            <a:avLst/>
          </a:prstGeom>
          <a:gradFill flip="none" rotWithShape="1">
            <a:gsLst>
              <a:gs pos="100000">
                <a:srgbClr val="192838"/>
              </a:gs>
              <a:gs pos="59200">
                <a:srgbClr val="1C1644"/>
              </a:gs>
              <a:gs pos="0">
                <a:srgbClr val="06558D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F796FB-CD5C-5EB4-72B3-E3C5A44058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2391" y="195817"/>
            <a:ext cx="1889703" cy="53676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01A51B-A87D-C98D-80B6-A7104BE728C1}"/>
              </a:ext>
            </a:extLst>
          </p:cNvPr>
          <p:cNvCxnSpPr/>
          <p:nvPr userDrawn="1"/>
        </p:nvCxnSpPr>
        <p:spPr>
          <a:xfrm>
            <a:off x="10607824" y="298910"/>
            <a:ext cx="0" cy="32840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B7E9D4D-FCDE-FF20-C431-8C97E04304B0}"/>
              </a:ext>
            </a:extLst>
          </p:cNvPr>
          <p:cNvCxnSpPr>
            <a:cxnSpLocks/>
          </p:cNvCxnSpPr>
          <p:nvPr userDrawn="1"/>
        </p:nvCxnSpPr>
        <p:spPr>
          <a:xfrm>
            <a:off x="8442414" y="883280"/>
            <a:ext cx="3749586" cy="209686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Flowchart: Document 21">
            <a:extLst>
              <a:ext uri="{FF2B5EF4-FFF2-40B4-BE49-F238E27FC236}">
                <a16:creationId xmlns:a16="http://schemas.microsoft.com/office/drawing/2014/main" id="{54EA8293-85A9-0790-044C-45A2AB751766}"/>
              </a:ext>
            </a:extLst>
          </p:cNvPr>
          <p:cNvSpPr/>
          <p:nvPr userDrawn="1"/>
        </p:nvSpPr>
        <p:spPr>
          <a:xfrm flipH="1" flipV="1">
            <a:off x="-1" y="5667374"/>
            <a:ext cx="12191999" cy="1190625"/>
          </a:xfrm>
          <a:prstGeom prst="flowChartDocument">
            <a:avLst/>
          </a:prstGeom>
          <a:gradFill>
            <a:gsLst>
              <a:gs pos="100000">
                <a:srgbClr val="192838"/>
              </a:gs>
              <a:gs pos="59200">
                <a:srgbClr val="1C1644"/>
              </a:gs>
              <a:gs pos="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872D98-6D4B-AB6B-FB4B-7DE546C3956B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5655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Manual Input 2">
            <a:extLst>
              <a:ext uri="{FF2B5EF4-FFF2-40B4-BE49-F238E27FC236}">
                <a16:creationId xmlns:a16="http://schemas.microsoft.com/office/drawing/2014/main" id="{EE1150C3-E55F-F673-1F85-539BBFBEC897}"/>
              </a:ext>
            </a:extLst>
          </p:cNvPr>
          <p:cNvSpPr/>
          <p:nvPr userDrawn="1"/>
        </p:nvSpPr>
        <p:spPr>
          <a:xfrm>
            <a:off x="11458575" y="6345238"/>
            <a:ext cx="523292" cy="512762"/>
          </a:xfrm>
          <a:prstGeom prst="flowChartManualInput">
            <a:avLst/>
          </a:prstGeom>
          <a:solidFill>
            <a:srgbClr val="0092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41FAD8-DD4F-206E-6A0B-E3F9F69D9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304800"/>
            <a:ext cx="11604625" cy="603250"/>
          </a:xfrm>
        </p:spPr>
        <p:txBody>
          <a:bodyPr anchor="t">
            <a:noAutofit/>
          </a:bodyPr>
          <a:lstStyle>
            <a:lvl1pPr>
              <a:defRPr sz="2800" b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D149515A-0FB4-D910-4ECF-61B881A2640B}"/>
              </a:ext>
            </a:extLst>
          </p:cNvPr>
          <p:cNvSpPr txBox="1">
            <a:spLocks/>
          </p:cNvSpPr>
          <p:nvPr userDrawn="1"/>
        </p:nvSpPr>
        <p:spPr>
          <a:xfrm>
            <a:off x="11153773" y="637683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chemeClr val="bg1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chemeClr val="bg1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E5BD07-2780-469D-18AE-CCBE6CABC5A5}"/>
              </a:ext>
            </a:extLst>
          </p:cNvPr>
          <p:cNvSpPr/>
          <p:nvPr userDrawn="1"/>
        </p:nvSpPr>
        <p:spPr>
          <a:xfrm>
            <a:off x="0" y="304800"/>
            <a:ext cx="121920" cy="603250"/>
          </a:xfrm>
          <a:prstGeom prst="rect">
            <a:avLst/>
          </a:prstGeom>
          <a:solidFill>
            <a:srgbClr val="0655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5295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82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DEF5AB41-6584-DD30-C405-8F2C0C3D58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476246" y="808727"/>
            <a:ext cx="13493220" cy="5704747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1025822 h 5704747"/>
              <a:gd name="connsiteX3" fmla="*/ 12623921 w 13430861"/>
              <a:gd name="connsiteY3" fmla="*/ 1025822 h 5704747"/>
              <a:gd name="connsiteX4" fmla="*/ 12623921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1025822"/>
                </a:lnTo>
                <a:lnTo>
                  <a:pt x="12623921" y="1025822"/>
                </a:lnTo>
                <a:lnTo>
                  <a:pt x="12623921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sp>
        <p:nvSpPr>
          <p:cNvPr id="10" name="Flowchart: Delay 9">
            <a:extLst>
              <a:ext uri="{FF2B5EF4-FFF2-40B4-BE49-F238E27FC236}">
                <a16:creationId xmlns:a16="http://schemas.microsoft.com/office/drawing/2014/main" id="{B3DD67BE-2E10-54A1-726E-CB18A53BF512}"/>
              </a:ext>
            </a:extLst>
          </p:cNvPr>
          <p:cNvSpPr/>
          <p:nvPr userDrawn="1"/>
        </p:nvSpPr>
        <p:spPr>
          <a:xfrm rot="16200000">
            <a:off x="7366512" y="1876029"/>
            <a:ext cx="4310743" cy="3435233"/>
          </a:xfrm>
          <a:prstGeom prst="flowChartDelay">
            <a:avLst/>
          </a:prstGeom>
          <a:solidFill>
            <a:srgbClr val="01879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lowchart: Delay 8">
            <a:extLst>
              <a:ext uri="{FF2B5EF4-FFF2-40B4-BE49-F238E27FC236}">
                <a16:creationId xmlns:a16="http://schemas.microsoft.com/office/drawing/2014/main" id="{D0C9FD9A-BBE7-42E6-1CCA-1E0FBC475AEA}"/>
              </a:ext>
            </a:extLst>
          </p:cNvPr>
          <p:cNvSpPr/>
          <p:nvPr userDrawn="1"/>
        </p:nvSpPr>
        <p:spPr>
          <a:xfrm rot="5400000">
            <a:off x="7373092" y="444336"/>
            <a:ext cx="4310743" cy="3422072"/>
          </a:xfrm>
          <a:prstGeom prst="flowChartDelay">
            <a:avLst/>
          </a:prstGeom>
          <a:solidFill>
            <a:srgbClr val="0092D5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DB07B58-3558-60A0-E2A0-3372893D3DE0}"/>
              </a:ext>
            </a:extLst>
          </p:cNvPr>
          <p:cNvCxnSpPr/>
          <p:nvPr userDrawn="1"/>
        </p:nvCxnSpPr>
        <p:spPr>
          <a:xfrm>
            <a:off x="7826609" y="696065"/>
            <a:ext cx="0" cy="854075"/>
          </a:xfrm>
          <a:prstGeom prst="line">
            <a:avLst/>
          </a:prstGeom>
          <a:ln>
            <a:solidFill>
              <a:srgbClr val="19283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C076B8-FAB8-ED9B-D5DF-01CA9C6DC463}"/>
              </a:ext>
            </a:extLst>
          </p:cNvPr>
          <p:cNvCxnSpPr/>
          <p:nvPr userDrawn="1"/>
        </p:nvCxnSpPr>
        <p:spPr>
          <a:xfrm>
            <a:off x="7826609" y="696065"/>
            <a:ext cx="4365391" cy="0"/>
          </a:xfrm>
          <a:prstGeom prst="line">
            <a:avLst/>
          </a:prstGeom>
          <a:ln>
            <a:solidFill>
              <a:srgbClr val="19283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00AC132-1FCE-0D79-DF8A-C5ED6FC0A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7817427" y="1219200"/>
            <a:ext cx="9182" cy="723900"/>
          </a:xfrm>
          <a:prstGeom prst="line">
            <a:avLst/>
          </a:prstGeom>
          <a:ln w="57150"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9FFB3ED-17BF-2B9B-0E28-7D21F06D35A7}"/>
              </a:ext>
            </a:extLst>
          </p:cNvPr>
          <p:cNvCxnSpPr>
            <a:cxnSpLocks/>
          </p:cNvCxnSpPr>
          <p:nvPr userDrawn="1"/>
        </p:nvCxnSpPr>
        <p:spPr>
          <a:xfrm>
            <a:off x="11228415" y="0"/>
            <a:ext cx="0" cy="1304925"/>
          </a:xfrm>
          <a:prstGeom prst="line">
            <a:avLst/>
          </a:prstGeom>
          <a:ln>
            <a:solidFill>
              <a:srgbClr val="19283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D0CEC6C-E24A-1354-ED59-D2C55A2D28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23823" y="1076323"/>
            <a:ext cx="9182" cy="723900"/>
          </a:xfrm>
          <a:prstGeom prst="line">
            <a:avLst/>
          </a:prstGeom>
          <a:ln w="57150"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erson and a child looking at each other&#10;&#10;Description automatically generated">
            <a:extLst>
              <a:ext uri="{FF2B5EF4-FFF2-40B4-BE49-F238E27FC236}">
                <a16:creationId xmlns:a16="http://schemas.microsoft.com/office/drawing/2014/main" id="{5401B1CB-B98A-131D-9015-81EA0F61BF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00671">
            <a:off x="6015185" y="2160513"/>
            <a:ext cx="5857910" cy="390750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14AE40B-313D-2F34-FB68-8E26FC2B4BDF}"/>
              </a:ext>
            </a:extLst>
          </p:cNvPr>
          <p:cNvSpPr/>
          <p:nvPr userDrawn="1"/>
        </p:nvSpPr>
        <p:spPr>
          <a:xfrm>
            <a:off x="12987" y="0"/>
            <a:ext cx="5306265" cy="6345238"/>
          </a:xfrm>
          <a:prstGeom prst="rect">
            <a:avLst/>
          </a:prstGeom>
          <a:gradFill flip="none" rotWithShape="1">
            <a:gsLst>
              <a:gs pos="39000">
                <a:srgbClr val="FFFFFF"/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6110B0-1AF7-738F-41C7-8B9EF4AFDBFC}"/>
              </a:ext>
            </a:extLst>
          </p:cNvPr>
          <p:cNvSpPr/>
          <p:nvPr userDrawn="1"/>
        </p:nvSpPr>
        <p:spPr>
          <a:xfrm>
            <a:off x="479426" y="-18994"/>
            <a:ext cx="2225980" cy="483197"/>
          </a:xfrm>
          <a:prstGeom prst="rect">
            <a:avLst/>
          </a:prstGeom>
          <a:solidFill>
            <a:srgbClr val="1C16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spc="600"/>
              <a:t>AGENDA</a:t>
            </a:r>
            <a:endParaRPr lang="en-IN" sz="2400" spc="60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ACE3B50-771E-7FB6-BF8A-1DAFD1F529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08050"/>
            <a:ext cx="4852988" cy="426402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Flowchart: Manual Input 24">
            <a:extLst>
              <a:ext uri="{FF2B5EF4-FFF2-40B4-BE49-F238E27FC236}">
                <a16:creationId xmlns:a16="http://schemas.microsoft.com/office/drawing/2014/main" id="{A5DE3E60-DDCA-2117-06F2-9DE6AE6FCAC2}"/>
              </a:ext>
            </a:extLst>
          </p:cNvPr>
          <p:cNvSpPr/>
          <p:nvPr userDrawn="1"/>
        </p:nvSpPr>
        <p:spPr>
          <a:xfrm>
            <a:off x="0" y="5391148"/>
            <a:ext cx="12332094" cy="1466850"/>
          </a:xfrm>
          <a:prstGeom prst="flowChartManualInput">
            <a:avLst/>
          </a:prstGeom>
          <a:gradFill>
            <a:gsLst>
              <a:gs pos="0">
                <a:srgbClr val="192838"/>
              </a:gs>
              <a:gs pos="575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9269FF-4FF8-02AD-19C3-6CA272A818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4AF6603-AD29-14C9-E47E-D5EC82CB4B84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CAFF40-3575-E923-9D37-655655BEA8F1}"/>
              </a:ext>
            </a:extLst>
          </p:cNvPr>
          <p:cNvSpPr/>
          <p:nvPr userDrawn="1"/>
        </p:nvSpPr>
        <p:spPr>
          <a:xfrm>
            <a:off x="479425" y="464203"/>
            <a:ext cx="2225980" cy="112661"/>
          </a:xfrm>
          <a:prstGeom prst="rect">
            <a:avLst/>
          </a:prstGeom>
          <a:solidFill>
            <a:srgbClr val="D228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4863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845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4F17178D-726F-DAFE-7908-3FC1248012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514349" y="247263"/>
            <a:ext cx="14478000" cy="6149519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702263 h 5704747"/>
              <a:gd name="connsiteX3" fmla="*/ 11868514 w 13430861"/>
              <a:gd name="connsiteY3" fmla="*/ 702263 h 5704747"/>
              <a:gd name="connsiteX4" fmla="*/ 11868514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702263"/>
                </a:lnTo>
                <a:lnTo>
                  <a:pt x="11868514" y="702263"/>
                </a:lnTo>
                <a:lnTo>
                  <a:pt x="11868514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A22DBABD-D69B-301B-3570-BE9AC2F42774}"/>
              </a:ext>
            </a:extLst>
          </p:cNvPr>
          <p:cNvSpPr/>
          <p:nvPr userDrawn="1"/>
        </p:nvSpPr>
        <p:spPr>
          <a:xfrm>
            <a:off x="7370763" y="1577663"/>
            <a:ext cx="3533775" cy="3533775"/>
          </a:xfrm>
          <a:prstGeom prst="ellipse">
            <a:avLst/>
          </a:prstGeom>
          <a:gradFill>
            <a:gsLst>
              <a:gs pos="0">
                <a:srgbClr val="192838"/>
              </a:gs>
              <a:gs pos="170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32E125-75E9-F8F4-95F0-03F0DFD73AAD}"/>
              </a:ext>
            </a:extLst>
          </p:cNvPr>
          <p:cNvSpPr/>
          <p:nvPr userDrawn="1"/>
        </p:nvSpPr>
        <p:spPr>
          <a:xfrm>
            <a:off x="6418263" y="276225"/>
            <a:ext cx="2571750" cy="3743325"/>
          </a:xfrm>
          <a:prstGeom prst="rect">
            <a:avLst/>
          </a:prstGeom>
          <a:noFill/>
          <a:ln w="38100">
            <a:solidFill>
              <a:srgbClr val="D228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Manual Input 30">
            <a:extLst>
              <a:ext uri="{FF2B5EF4-FFF2-40B4-BE49-F238E27FC236}">
                <a16:creationId xmlns:a16="http://schemas.microsoft.com/office/drawing/2014/main" id="{8E520CB0-E149-8C6E-DC42-86924944D85E}"/>
              </a:ext>
            </a:extLst>
          </p:cNvPr>
          <p:cNvSpPr/>
          <p:nvPr userDrawn="1"/>
        </p:nvSpPr>
        <p:spPr>
          <a:xfrm>
            <a:off x="1016000" y="1950721"/>
            <a:ext cx="5191760" cy="2068830"/>
          </a:xfrm>
          <a:prstGeom prst="flowChartManualInput">
            <a:avLst/>
          </a:prstGeom>
          <a:noFill/>
          <a:ln w="28575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14417F3C-76DA-A324-99BF-51FBCC6B0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839" y="2600150"/>
            <a:ext cx="5010150" cy="1179513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rgbClr val="1C164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A65E603-F646-C3CF-D8AF-3ACD5CE7858C}"/>
              </a:ext>
            </a:extLst>
          </p:cNvPr>
          <p:cNvCxnSpPr>
            <a:cxnSpLocks/>
          </p:cNvCxnSpPr>
          <p:nvPr userDrawn="1"/>
        </p:nvCxnSpPr>
        <p:spPr>
          <a:xfrm>
            <a:off x="833120" y="0"/>
            <a:ext cx="0" cy="469392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7DBACBC-E471-2B39-A530-42FB13445722}"/>
              </a:ext>
            </a:extLst>
          </p:cNvPr>
          <p:cNvCxnSpPr>
            <a:cxnSpLocks/>
          </p:cNvCxnSpPr>
          <p:nvPr userDrawn="1"/>
        </p:nvCxnSpPr>
        <p:spPr>
          <a:xfrm>
            <a:off x="0" y="4226560"/>
            <a:ext cx="7518400" cy="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9310330-A597-66C3-EFF7-836013454DE9}"/>
              </a:ext>
            </a:extLst>
          </p:cNvPr>
          <p:cNvCxnSpPr/>
          <p:nvPr userDrawn="1"/>
        </p:nvCxnSpPr>
        <p:spPr>
          <a:xfrm flipV="1">
            <a:off x="1016000" y="1770057"/>
            <a:ext cx="5262880" cy="434975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5E85000A-FCC8-D3D0-140F-2500A690693B}"/>
              </a:ext>
            </a:extLst>
          </p:cNvPr>
          <p:cNvSpPr/>
          <p:nvPr userDrawn="1"/>
        </p:nvSpPr>
        <p:spPr>
          <a:xfrm>
            <a:off x="4835527" y="1577663"/>
            <a:ext cx="857246" cy="890900"/>
          </a:xfrm>
          <a:prstGeom prst="rect">
            <a:avLst/>
          </a:prstGeom>
          <a:solidFill>
            <a:srgbClr val="01879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E9E8511-4B6B-BD05-5D37-24287244998C}"/>
              </a:ext>
            </a:extLst>
          </p:cNvPr>
          <p:cNvSpPr/>
          <p:nvPr userDrawn="1"/>
        </p:nvSpPr>
        <p:spPr>
          <a:xfrm>
            <a:off x="4927030" y="1577663"/>
            <a:ext cx="857246" cy="890900"/>
          </a:xfrm>
          <a:prstGeom prst="rect">
            <a:avLst/>
          </a:prstGeom>
          <a:solidFill>
            <a:srgbClr val="1C16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F8C9E5DD-12FA-E0D8-858D-24A03ECA07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6350" y="1677988"/>
            <a:ext cx="582613" cy="682625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F1B007-7682-9316-C31B-CF239EEBAD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3039" y="373931"/>
            <a:ext cx="2370704" cy="3547912"/>
          </a:xfrm>
          <a:prstGeom prst="rect">
            <a:avLst/>
          </a:prstGeom>
        </p:spPr>
      </p:pic>
      <p:pic>
        <p:nvPicPr>
          <p:cNvPr id="8" name="Picture 7" descr="A person holding a phone and a credit card&#10;&#10;Description automatically generated">
            <a:extLst>
              <a:ext uri="{FF2B5EF4-FFF2-40B4-BE49-F238E27FC236}">
                <a16:creationId xmlns:a16="http://schemas.microsoft.com/office/drawing/2014/main" id="{B2E220CF-F6C4-FBA5-D79A-189066DE25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7882" y="725159"/>
            <a:ext cx="10346689" cy="5820013"/>
          </a:xfrm>
          <a:prstGeom prst="rect">
            <a:avLst/>
          </a:prstGeom>
        </p:spPr>
      </p:pic>
      <p:sp>
        <p:nvSpPr>
          <p:cNvPr id="5" name="Flowchart: Manual Input 4">
            <a:extLst>
              <a:ext uri="{FF2B5EF4-FFF2-40B4-BE49-F238E27FC236}">
                <a16:creationId xmlns:a16="http://schemas.microsoft.com/office/drawing/2014/main" id="{177E9B7A-E266-107B-F12E-C99226734D22}"/>
              </a:ext>
            </a:extLst>
          </p:cNvPr>
          <p:cNvSpPr/>
          <p:nvPr userDrawn="1"/>
        </p:nvSpPr>
        <p:spPr>
          <a:xfrm flipH="1">
            <a:off x="0" y="5180012"/>
            <a:ext cx="12192000" cy="1677988"/>
          </a:xfrm>
          <a:prstGeom prst="flowChartManualInput">
            <a:avLst/>
          </a:prstGeom>
          <a:gradFill>
            <a:gsLst>
              <a:gs pos="100000">
                <a:srgbClr val="192838"/>
              </a:gs>
              <a:gs pos="44238">
                <a:srgbClr val="1C1644"/>
              </a:gs>
              <a:gs pos="2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92D400-1A40-B643-474F-AE2AF6FA88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5AC508-654E-B588-4C79-5728154D2475}"/>
              </a:ext>
            </a:extLst>
          </p:cNvPr>
          <p:cNvCxnSpPr/>
          <p:nvPr userDrawn="1"/>
        </p:nvCxnSpPr>
        <p:spPr>
          <a:xfrm>
            <a:off x="1843646" y="6425185"/>
            <a:ext cx="0" cy="248979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7629F1E-9D78-705D-51DB-8FA8370611F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AE9CBC-F228-F612-CE15-D3404C0C0B1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2625" y="6450879"/>
            <a:ext cx="752781" cy="23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801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4F17178D-726F-DAFE-7908-3FC1248012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514349" y="247263"/>
            <a:ext cx="14478000" cy="6149519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702263 h 5704747"/>
              <a:gd name="connsiteX3" fmla="*/ 11868514 w 13430861"/>
              <a:gd name="connsiteY3" fmla="*/ 702263 h 5704747"/>
              <a:gd name="connsiteX4" fmla="*/ 11868514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702263"/>
                </a:lnTo>
                <a:lnTo>
                  <a:pt x="11868514" y="702263"/>
                </a:lnTo>
                <a:lnTo>
                  <a:pt x="11868514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A22DBABD-D69B-301B-3570-BE9AC2F42774}"/>
              </a:ext>
            </a:extLst>
          </p:cNvPr>
          <p:cNvSpPr/>
          <p:nvPr userDrawn="1"/>
        </p:nvSpPr>
        <p:spPr>
          <a:xfrm>
            <a:off x="7370763" y="1577663"/>
            <a:ext cx="3533775" cy="3533775"/>
          </a:xfrm>
          <a:prstGeom prst="ellipse">
            <a:avLst/>
          </a:prstGeom>
          <a:gradFill>
            <a:gsLst>
              <a:gs pos="0">
                <a:srgbClr val="192838"/>
              </a:gs>
              <a:gs pos="170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Manual Input 30">
            <a:extLst>
              <a:ext uri="{FF2B5EF4-FFF2-40B4-BE49-F238E27FC236}">
                <a16:creationId xmlns:a16="http://schemas.microsoft.com/office/drawing/2014/main" id="{8E520CB0-E149-8C6E-DC42-86924944D85E}"/>
              </a:ext>
            </a:extLst>
          </p:cNvPr>
          <p:cNvSpPr/>
          <p:nvPr userDrawn="1"/>
        </p:nvSpPr>
        <p:spPr>
          <a:xfrm>
            <a:off x="1016000" y="1950721"/>
            <a:ext cx="5191760" cy="2068830"/>
          </a:xfrm>
          <a:prstGeom prst="flowChartManualInput">
            <a:avLst/>
          </a:prstGeom>
          <a:noFill/>
          <a:ln w="28575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14417F3C-76DA-A324-99BF-51FBCC6B0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839" y="2600150"/>
            <a:ext cx="5010150" cy="1179513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rgbClr val="1C164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A65E603-F646-C3CF-D8AF-3ACD5CE7858C}"/>
              </a:ext>
            </a:extLst>
          </p:cNvPr>
          <p:cNvCxnSpPr>
            <a:cxnSpLocks/>
          </p:cNvCxnSpPr>
          <p:nvPr userDrawn="1"/>
        </p:nvCxnSpPr>
        <p:spPr>
          <a:xfrm>
            <a:off x="833120" y="0"/>
            <a:ext cx="0" cy="469392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7DBACBC-E471-2B39-A530-42FB13445722}"/>
              </a:ext>
            </a:extLst>
          </p:cNvPr>
          <p:cNvCxnSpPr>
            <a:cxnSpLocks/>
          </p:cNvCxnSpPr>
          <p:nvPr userDrawn="1"/>
        </p:nvCxnSpPr>
        <p:spPr>
          <a:xfrm>
            <a:off x="0" y="4226560"/>
            <a:ext cx="7518400" cy="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9310330-A597-66C3-EFF7-836013454DE9}"/>
              </a:ext>
            </a:extLst>
          </p:cNvPr>
          <p:cNvCxnSpPr/>
          <p:nvPr userDrawn="1"/>
        </p:nvCxnSpPr>
        <p:spPr>
          <a:xfrm flipV="1">
            <a:off x="1016000" y="1770057"/>
            <a:ext cx="5262880" cy="434975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Manual Input 4">
            <a:extLst>
              <a:ext uri="{FF2B5EF4-FFF2-40B4-BE49-F238E27FC236}">
                <a16:creationId xmlns:a16="http://schemas.microsoft.com/office/drawing/2014/main" id="{177E9B7A-E266-107B-F12E-C99226734D22}"/>
              </a:ext>
            </a:extLst>
          </p:cNvPr>
          <p:cNvSpPr/>
          <p:nvPr userDrawn="1"/>
        </p:nvSpPr>
        <p:spPr>
          <a:xfrm flipH="1">
            <a:off x="0" y="5180012"/>
            <a:ext cx="12192000" cy="1677988"/>
          </a:xfrm>
          <a:prstGeom prst="flowChartManualInput">
            <a:avLst/>
          </a:prstGeom>
          <a:gradFill>
            <a:gsLst>
              <a:gs pos="100000">
                <a:srgbClr val="192838"/>
              </a:gs>
              <a:gs pos="44238">
                <a:srgbClr val="1C1644"/>
              </a:gs>
              <a:gs pos="2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92D400-1A40-B643-474F-AE2AF6FA88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7629F1E-9D78-705D-51DB-8FA8370611F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30" name="Picture 29" descr="A person holding a phone and a glass of water and a croissant&#10;&#10;Description automatically generated">
            <a:extLst>
              <a:ext uri="{FF2B5EF4-FFF2-40B4-BE49-F238E27FC236}">
                <a16:creationId xmlns:a16="http://schemas.microsoft.com/office/drawing/2014/main" id="{9B1074DF-12F8-25E6-2974-AEBB122241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0900" y="670987"/>
            <a:ext cx="38862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41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4F17178D-726F-DAFE-7908-3FC1248012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514349" y="247263"/>
            <a:ext cx="14478000" cy="6149519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702263 h 5704747"/>
              <a:gd name="connsiteX3" fmla="*/ 11868514 w 13430861"/>
              <a:gd name="connsiteY3" fmla="*/ 702263 h 5704747"/>
              <a:gd name="connsiteX4" fmla="*/ 11868514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702263"/>
                </a:lnTo>
                <a:lnTo>
                  <a:pt x="11868514" y="702263"/>
                </a:lnTo>
                <a:lnTo>
                  <a:pt x="11868514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A22DBABD-D69B-301B-3570-BE9AC2F42774}"/>
              </a:ext>
            </a:extLst>
          </p:cNvPr>
          <p:cNvSpPr/>
          <p:nvPr userDrawn="1"/>
        </p:nvSpPr>
        <p:spPr>
          <a:xfrm>
            <a:off x="7370763" y="1577663"/>
            <a:ext cx="3533775" cy="3533775"/>
          </a:xfrm>
          <a:prstGeom prst="ellipse">
            <a:avLst/>
          </a:prstGeom>
          <a:gradFill>
            <a:gsLst>
              <a:gs pos="0">
                <a:srgbClr val="192838"/>
              </a:gs>
              <a:gs pos="170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32E125-75E9-F8F4-95F0-03F0DFD73AAD}"/>
              </a:ext>
            </a:extLst>
          </p:cNvPr>
          <p:cNvSpPr/>
          <p:nvPr userDrawn="1"/>
        </p:nvSpPr>
        <p:spPr>
          <a:xfrm>
            <a:off x="6418263" y="276225"/>
            <a:ext cx="2571750" cy="3743325"/>
          </a:xfrm>
          <a:prstGeom prst="rect">
            <a:avLst/>
          </a:prstGeom>
          <a:noFill/>
          <a:ln w="38100">
            <a:solidFill>
              <a:srgbClr val="D228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Manual Input 30">
            <a:extLst>
              <a:ext uri="{FF2B5EF4-FFF2-40B4-BE49-F238E27FC236}">
                <a16:creationId xmlns:a16="http://schemas.microsoft.com/office/drawing/2014/main" id="{8E520CB0-E149-8C6E-DC42-86924944D85E}"/>
              </a:ext>
            </a:extLst>
          </p:cNvPr>
          <p:cNvSpPr/>
          <p:nvPr userDrawn="1"/>
        </p:nvSpPr>
        <p:spPr>
          <a:xfrm>
            <a:off x="1016000" y="1950721"/>
            <a:ext cx="5191760" cy="2068830"/>
          </a:xfrm>
          <a:prstGeom prst="flowChartManualInput">
            <a:avLst/>
          </a:prstGeom>
          <a:noFill/>
          <a:ln w="28575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14417F3C-76DA-A324-99BF-51FBCC6B0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839" y="2600150"/>
            <a:ext cx="5010150" cy="1179513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rgbClr val="1C164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A65E603-F646-C3CF-D8AF-3ACD5CE7858C}"/>
              </a:ext>
            </a:extLst>
          </p:cNvPr>
          <p:cNvCxnSpPr>
            <a:cxnSpLocks/>
          </p:cNvCxnSpPr>
          <p:nvPr userDrawn="1"/>
        </p:nvCxnSpPr>
        <p:spPr>
          <a:xfrm>
            <a:off x="833120" y="0"/>
            <a:ext cx="0" cy="469392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7DBACBC-E471-2B39-A530-42FB13445722}"/>
              </a:ext>
            </a:extLst>
          </p:cNvPr>
          <p:cNvCxnSpPr>
            <a:cxnSpLocks/>
          </p:cNvCxnSpPr>
          <p:nvPr userDrawn="1"/>
        </p:nvCxnSpPr>
        <p:spPr>
          <a:xfrm>
            <a:off x="0" y="4226560"/>
            <a:ext cx="7518400" cy="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9310330-A597-66C3-EFF7-836013454DE9}"/>
              </a:ext>
            </a:extLst>
          </p:cNvPr>
          <p:cNvCxnSpPr/>
          <p:nvPr userDrawn="1"/>
        </p:nvCxnSpPr>
        <p:spPr>
          <a:xfrm flipV="1">
            <a:off x="1016000" y="1770057"/>
            <a:ext cx="5262880" cy="434975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5E85000A-FCC8-D3D0-140F-2500A690693B}"/>
              </a:ext>
            </a:extLst>
          </p:cNvPr>
          <p:cNvSpPr/>
          <p:nvPr userDrawn="1"/>
        </p:nvSpPr>
        <p:spPr>
          <a:xfrm>
            <a:off x="4835527" y="1577663"/>
            <a:ext cx="857246" cy="890900"/>
          </a:xfrm>
          <a:prstGeom prst="rect">
            <a:avLst/>
          </a:prstGeom>
          <a:solidFill>
            <a:srgbClr val="01879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E9E8511-4B6B-BD05-5D37-24287244998C}"/>
              </a:ext>
            </a:extLst>
          </p:cNvPr>
          <p:cNvSpPr/>
          <p:nvPr userDrawn="1"/>
        </p:nvSpPr>
        <p:spPr>
          <a:xfrm>
            <a:off x="4927030" y="1577663"/>
            <a:ext cx="857246" cy="890900"/>
          </a:xfrm>
          <a:prstGeom prst="rect">
            <a:avLst/>
          </a:prstGeom>
          <a:solidFill>
            <a:srgbClr val="1C16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F8C9E5DD-12FA-E0D8-858D-24A03ECA07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6350" y="1677988"/>
            <a:ext cx="582613" cy="682625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F1B007-7682-9316-C31B-CF239EEBAD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3039" y="373931"/>
            <a:ext cx="2370704" cy="3547912"/>
          </a:xfrm>
          <a:prstGeom prst="rect">
            <a:avLst/>
          </a:prstGeom>
        </p:spPr>
      </p:pic>
      <p:pic>
        <p:nvPicPr>
          <p:cNvPr id="6" name="Picture 5" descr="A person holding a credit card and using a computer&#10;&#10;Description automatically generated">
            <a:extLst>
              <a:ext uri="{FF2B5EF4-FFF2-40B4-BE49-F238E27FC236}">
                <a16:creationId xmlns:a16="http://schemas.microsoft.com/office/drawing/2014/main" id="{76F04550-AB87-6ECA-F580-54CBA87600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237" y="894735"/>
            <a:ext cx="7308924" cy="4875067"/>
          </a:xfrm>
          <a:prstGeom prst="rect">
            <a:avLst/>
          </a:prstGeom>
        </p:spPr>
      </p:pic>
      <p:sp>
        <p:nvSpPr>
          <p:cNvPr id="5" name="Flowchart: Manual Input 4">
            <a:extLst>
              <a:ext uri="{FF2B5EF4-FFF2-40B4-BE49-F238E27FC236}">
                <a16:creationId xmlns:a16="http://schemas.microsoft.com/office/drawing/2014/main" id="{177E9B7A-E266-107B-F12E-C99226734D22}"/>
              </a:ext>
            </a:extLst>
          </p:cNvPr>
          <p:cNvSpPr/>
          <p:nvPr userDrawn="1"/>
        </p:nvSpPr>
        <p:spPr>
          <a:xfrm flipH="1">
            <a:off x="0" y="5180012"/>
            <a:ext cx="12192000" cy="1677988"/>
          </a:xfrm>
          <a:prstGeom prst="flowChartManualInput">
            <a:avLst/>
          </a:prstGeom>
          <a:gradFill>
            <a:gsLst>
              <a:gs pos="100000">
                <a:srgbClr val="192838"/>
              </a:gs>
              <a:gs pos="44238">
                <a:srgbClr val="1C1644"/>
              </a:gs>
              <a:gs pos="2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92D400-1A40-B643-474F-AE2AF6FA88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5AC508-654E-B588-4C79-5728154D2475}"/>
              </a:ext>
            </a:extLst>
          </p:cNvPr>
          <p:cNvCxnSpPr/>
          <p:nvPr userDrawn="1"/>
        </p:nvCxnSpPr>
        <p:spPr>
          <a:xfrm>
            <a:off x="1843646" y="6425185"/>
            <a:ext cx="0" cy="248979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7629F1E-9D78-705D-51DB-8FA8370611F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AE9CBC-F228-F612-CE15-D3404C0C0B1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2625" y="6450879"/>
            <a:ext cx="752781" cy="23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21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4F17178D-726F-DAFE-7908-3FC1248012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514349" y="247263"/>
            <a:ext cx="14478000" cy="6149519"/>
          </a:xfrm>
          <a:custGeom>
            <a:avLst/>
            <a:gdLst>
              <a:gd name="connsiteX0" fmla="*/ 442911 w 13430861"/>
              <a:gd name="connsiteY0" fmla="*/ 0 h 5704747"/>
              <a:gd name="connsiteX1" fmla="*/ 13430861 w 13430861"/>
              <a:gd name="connsiteY1" fmla="*/ 0 h 5704747"/>
              <a:gd name="connsiteX2" fmla="*/ 13430861 w 13430861"/>
              <a:gd name="connsiteY2" fmla="*/ 702263 h 5704747"/>
              <a:gd name="connsiteX3" fmla="*/ 11868514 w 13430861"/>
              <a:gd name="connsiteY3" fmla="*/ 702263 h 5704747"/>
              <a:gd name="connsiteX4" fmla="*/ 11868514 w 13430861"/>
              <a:gd name="connsiteY4" fmla="*/ 5704747 h 5704747"/>
              <a:gd name="connsiteX5" fmla="*/ 0 w 13430861"/>
              <a:gd name="connsiteY5" fmla="*/ 5704747 h 5704747"/>
              <a:gd name="connsiteX6" fmla="*/ 0 w 13430861"/>
              <a:gd name="connsiteY6" fmla="*/ 4054610 h 5704747"/>
              <a:gd name="connsiteX7" fmla="*/ 442911 w 13430861"/>
              <a:gd name="connsiteY7" fmla="*/ 4054610 h 5704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30861" h="5704747">
                <a:moveTo>
                  <a:pt x="442911" y="0"/>
                </a:moveTo>
                <a:lnTo>
                  <a:pt x="13430861" y="0"/>
                </a:lnTo>
                <a:lnTo>
                  <a:pt x="13430861" y="702263"/>
                </a:lnTo>
                <a:lnTo>
                  <a:pt x="11868514" y="702263"/>
                </a:lnTo>
                <a:lnTo>
                  <a:pt x="11868514" y="5704747"/>
                </a:lnTo>
                <a:lnTo>
                  <a:pt x="0" y="5704747"/>
                </a:lnTo>
                <a:lnTo>
                  <a:pt x="0" y="4054610"/>
                </a:lnTo>
                <a:lnTo>
                  <a:pt x="442911" y="4054610"/>
                </a:lnTo>
                <a:close/>
              </a:path>
            </a:pathLst>
          </a:cu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A22DBABD-D69B-301B-3570-BE9AC2F42774}"/>
              </a:ext>
            </a:extLst>
          </p:cNvPr>
          <p:cNvSpPr/>
          <p:nvPr userDrawn="1"/>
        </p:nvSpPr>
        <p:spPr>
          <a:xfrm>
            <a:off x="7370763" y="1577663"/>
            <a:ext cx="3533775" cy="3533775"/>
          </a:xfrm>
          <a:prstGeom prst="ellipse">
            <a:avLst/>
          </a:prstGeom>
          <a:gradFill>
            <a:gsLst>
              <a:gs pos="0">
                <a:srgbClr val="192838"/>
              </a:gs>
              <a:gs pos="170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Manual Input 30">
            <a:extLst>
              <a:ext uri="{FF2B5EF4-FFF2-40B4-BE49-F238E27FC236}">
                <a16:creationId xmlns:a16="http://schemas.microsoft.com/office/drawing/2014/main" id="{8E520CB0-E149-8C6E-DC42-86924944D85E}"/>
              </a:ext>
            </a:extLst>
          </p:cNvPr>
          <p:cNvSpPr/>
          <p:nvPr userDrawn="1"/>
        </p:nvSpPr>
        <p:spPr>
          <a:xfrm>
            <a:off x="1016000" y="1950721"/>
            <a:ext cx="5191760" cy="2068830"/>
          </a:xfrm>
          <a:prstGeom prst="flowChartManualInput">
            <a:avLst/>
          </a:prstGeom>
          <a:noFill/>
          <a:ln w="28575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14417F3C-76DA-A324-99BF-51FBCC6B0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839" y="2600150"/>
            <a:ext cx="5010150" cy="1179513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rgbClr val="1C164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A65E603-F646-C3CF-D8AF-3ACD5CE7858C}"/>
              </a:ext>
            </a:extLst>
          </p:cNvPr>
          <p:cNvCxnSpPr>
            <a:cxnSpLocks/>
          </p:cNvCxnSpPr>
          <p:nvPr userDrawn="1"/>
        </p:nvCxnSpPr>
        <p:spPr>
          <a:xfrm>
            <a:off x="833120" y="0"/>
            <a:ext cx="0" cy="469392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7DBACBC-E471-2B39-A530-42FB13445722}"/>
              </a:ext>
            </a:extLst>
          </p:cNvPr>
          <p:cNvCxnSpPr>
            <a:cxnSpLocks/>
          </p:cNvCxnSpPr>
          <p:nvPr userDrawn="1"/>
        </p:nvCxnSpPr>
        <p:spPr>
          <a:xfrm>
            <a:off x="0" y="4226560"/>
            <a:ext cx="7518400" cy="0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9310330-A597-66C3-EFF7-836013454DE9}"/>
              </a:ext>
            </a:extLst>
          </p:cNvPr>
          <p:cNvCxnSpPr/>
          <p:nvPr userDrawn="1"/>
        </p:nvCxnSpPr>
        <p:spPr>
          <a:xfrm flipV="1">
            <a:off x="1016000" y="1770057"/>
            <a:ext cx="5262880" cy="434975"/>
          </a:xfrm>
          <a:prstGeom prst="line">
            <a:avLst/>
          </a:prstGeom>
          <a:ln>
            <a:solidFill>
              <a:srgbClr val="D2282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person in a red flannel shirt&#10;&#10;Description automatically generated">
            <a:extLst>
              <a:ext uri="{FF2B5EF4-FFF2-40B4-BE49-F238E27FC236}">
                <a16:creationId xmlns:a16="http://schemas.microsoft.com/office/drawing/2014/main" id="{A477858F-69AF-A045-9BDF-7CF2C1480C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6631" y="1271530"/>
            <a:ext cx="6698489" cy="4465659"/>
          </a:xfrm>
          <a:prstGeom prst="rect">
            <a:avLst/>
          </a:prstGeom>
        </p:spPr>
      </p:pic>
      <p:sp>
        <p:nvSpPr>
          <p:cNvPr id="5" name="Flowchart: Manual Input 4">
            <a:extLst>
              <a:ext uri="{FF2B5EF4-FFF2-40B4-BE49-F238E27FC236}">
                <a16:creationId xmlns:a16="http://schemas.microsoft.com/office/drawing/2014/main" id="{177E9B7A-E266-107B-F12E-C99226734D22}"/>
              </a:ext>
            </a:extLst>
          </p:cNvPr>
          <p:cNvSpPr/>
          <p:nvPr userDrawn="1"/>
        </p:nvSpPr>
        <p:spPr>
          <a:xfrm flipH="1">
            <a:off x="0" y="5180012"/>
            <a:ext cx="12192000" cy="1677988"/>
          </a:xfrm>
          <a:prstGeom prst="flowChartManualInput">
            <a:avLst/>
          </a:prstGeom>
          <a:gradFill>
            <a:gsLst>
              <a:gs pos="100000">
                <a:srgbClr val="192838"/>
              </a:gs>
              <a:gs pos="44238">
                <a:srgbClr val="1C1644"/>
              </a:gs>
              <a:gs pos="2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92D400-1A40-B643-474F-AE2AF6FA8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7629F1E-9D78-705D-51DB-8FA8370611F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chemeClr val="bg1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chemeClr val="bg1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06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39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86F1E6-2DC7-9B0E-B043-4670F7B95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BBCA127-2EBC-BAA3-70CA-9893A69C26FB}"/>
              </a:ext>
            </a:extLst>
          </p:cNvPr>
          <p:cNvSpPr/>
          <p:nvPr userDrawn="1"/>
        </p:nvSpPr>
        <p:spPr>
          <a:xfrm>
            <a:off x="1466850" y="1095375"/>
            <a:ext cx="8743950" cy="4667250"/>
          </a:xfrm>
          <a:prstGeom prst="rect">
            <a:avLst/>
          </a:prstGeom>
          <a:noFill/>
          <a:ln w="38100">
            <a:solidFill>
              <a:srgbClr val="0092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F3B680-DCF8-F76B-7AA8-9BAC0521BE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68"/>
          <a:stretch>
            <a:fillRect/>
          </a:stretch>
        </p:blipFill>
        <p:spPr>
          <a:xfrm>
            <a:off x="3523" y="633947"/>
            <a:ext cx="14268451" cy="6149519"/>
          </a:xfrm>
          <a:custGeom>
            <a:avLst/>
            <a:gdLst>
              <a:gd name="connsiteX0" fmla="*/ 0 w 14268451"/>
              <a:gd name="connsiteY0" fmla="*/ 0 h 6149519"/>
              <a:gd name="connsiteX1" fmla="*/ 14268451 w 14268451"/>
              <a:gd name="connsiteY1" fmla="*/ 0 h 6149519"/>
              <a:gd name="connsiteX2" fmla="*/ 14268451 w 14268451"/>
              <a:gd name="connsiteY2" fmla="*/ 538637 h 6149519"/>
              <a:gd name="connsiteX3" fmla="*/ 12192000 w 14268451"/>
              <a:gd name="connsiteY3" fmla="*/ 538637 h 6149519"/>
              <a:gd name="connsiteX4" fmla="*/ 12192000 w 14268451"/>
              <a:gd name="connsiteY4" fmla="*/ 6149519 h 6149519"/>
              <a:gd name="connsiteX5" fmla="*/ 0 w 14268451"/>
              <a:gd name="connsiteY5" fmla="*/ 6149519 h 614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68451" h="6149519">
                <a:moveTo>
                  <a:pt x="0" y="0"/>
                </a:moveTo>
                <a:lnTo>
                  <a:pt x="14268451" y="0"/>
                </a:lnTo>
                <a:lnTo>
                  <a:pt x="14268451" y="538637"/>
                </a:lnTo>
                <a:lnTo>
                  <a:pt x="12192000" y="538637"/>
                </a:lnTo>
                <a:lnTo>
                  <a:pt x="12192000" y="6149519"/>
                </a:lnTo>
                <a:lnTo>
                  <a:pt x="0" y="6149519"/>
                </a:lnTo>
                <a:close/>
              </a:path>
            </a:pathLst>
          </a:cu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55523772-CF85-5114-9ABD-68E99F913677}"/>
              </a:ext>
            </a:extLst>
          </p:cNvPr>
          <p:cNvSpPr/>
          <p:nvPr userDrawn="1"/>
        </p:nvSpPr>
        <p:spPr>
          <a:xfrm>
            <a:off x="7800975" y="1617659"/>
            <a:ext cx="4391025" cy="3609975"/>
          </a:xfrm>
          <a:prstGeom prst="rect">
            <a:avLst/>
          </a:prstGeom>
          <a:gradFill>
            <a:gsLst>
              <a:gs pos="0">
                <a:srgbClr val="192838"/>
              </a:gs>
              <a:gs pos="51100">
                <a:srgbClr val="1C1644"/>
              </a:gs>
              <a:gs pos="100000">
                <a:srgbClr val="06558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504E5D9-D9FA-48E4-FFAE-6572716F1870}"/>
              </a:ext>
            </a:extLst>
          </p:cNvPr>
          <p:cNvGrpSpPr/>
          <p:nvPr userDrawn="1"/>
        </p:nvGrpSpPr>
        <p:grpSpPr>
          <a:xfrm>
            <a:off x="8462004" y="1467321"/>
            <a:ext cx="4004706" cy="2775805"/>
            <a:chOff x="1026733" y="2045720"/>
            <a:chExt cx="4004706" cy="2775805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F4A91F4-8CFA-B235-74BD-CF2EC4EA3B96}"/>
                </a:ext>
              </a:extLst>
            </p:cNvPr>
            <p:cNvSpPr txBox="1"/>
            <p:nvPr/>
          </p:nvSpPr>
          <p:spPr>
            <a:xfrm>
              <a:off x="1026733" y="2603119"/>
              <a:ext cx="3549421" cy="168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1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Frutiger 45 Light"/>
                </a:rPr>
                <a:t>future, faster.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6682DF2-AB69-3600-260A-D2CEC513A28A}"/>
                </a:ext>
              </a:extLst>
            </p:cNvPr>
            <p:cNvSpPr txBox="1"/>
            <p:nvPr/>
          </p:nvSpPr>
          <p:spPr>
            <a:xfrm>
              <a:off x="1901387" y="3137538"/>
              <a:ext cx="2764733" cy="168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1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Frutiger 45 Light"/>
                </a:rPr>
                <a:t>Together.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4BE49B9-3D77-EDBC-B417-BB499965B5EC}"/>
                </a:ext>
              </a:extLst>
            </p:cNvPr>
            <p:cNvSpPr txBox="1"/>
            <p:nvPr/>
          </p:nvSpPr>
          <p:spPr>
            <a:xfrm>
              <a:off x="1026733" y="2045720"/>
              <a:ext cx="4004706" cy="16839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i="1" u="none" strike="noStrike" kern="1200" cap="none" normalizeH="0" baseline="0" noProof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Frutiger 45 Light"/>
                </a:rPr>
                <a:t>Getting to t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9857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night, infrastructure, road, highway&#10;&#10;Description automatically generated">
            <a:extLst>
              <a:ext uri="{FF2B5EF4-FFF2-40B4-BE49-F238E27FC236}">
                <a16:creationId xmlns:a16="http://schemas.microsoft.com/office/drawing/2014/main" id="{773B72D8-42A0-5137-2B36-2486ABA1DA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8895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01380F-E336-F88A-1B66-3D7EC252506B}"/>
              </a:ext>
            </a:extLst>
          </p:cNvPr>
          <p:cNvSpPr/>
          <p:nvPr userDrawn="1"/>
        </p:nvSpPr>
        <p:spPr>
          <a:xfrm>
            <a:off x="-1" y="1"/>
            <a:ext cx="12188951" cy="6858000"/>
          </a:xfrm>
          <a:prstGeom prst="rect">
            <a:avLst/>
          </a:prstGeom>
          <a:solidFill>
            <a:srgbClr val="001132">
              <a:alpha val="8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F878B9-BCBB-31D4-2488-D03270E4E5FF}"/>
              </a:ext>
            </a:extLst>
          </p:cNvPr>
          <p:cNvSpPr/>
          <p:nvPr userDrawn="1"/>
        </p:nvSpPr>
        <p:spPr>
          <a:xfrm rot="20438064">
            <a:off x="4657986" y="-11803232"/>
            <a:ext cx="17346908" cy="17768584"/>
          </a:xfrm>
          <a:prstGeom prst="ellipse">
            <a:avLst/>
          </a:prstGeom>
          <a:gradFill flip="none" rotWithShape="1">
            <a:gsLst>
              <a:gs pos="0">
                <a:srgbClr val="0070C0"/>
              </a:gs>
              <a:gs pos="45000">
                <a:srgbClr val="0070C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0C42B8-7100-681A-8CC4-C6FC27DEFE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231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0C42B8-7100-681A-8CC4-C6FC27DEF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3">
            <a:extLst>
              <a:ext uri="{FF2B5EF4-FFF2-40B4-BE49-F238E27FC236}">
                <a16:creationId xmlns:a16="http://schemas.microsoft.com/office/drawing/2014/main" id="{1D4CDB21-9CC2-BCA2-9CC0-5CB0766F490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43026" y="227218"/>
            <a:ext cx="7847383" cy="3046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200" b="1">
                <a:solidFill>
                  <a:schemeClr val="bg1"/>
                </a:solidFill>
                <a:latin typeface="Calibiri"/>
              </a:defRPr>
            </a:lvl1pPr>
          </a:lstStyle>
          <a:p>
            <a:pPr lvl="0"/>
            <a:r>
              <a:rPr lang="en-US"/>
              <a:t>Click to Edit Master Title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1E16A28-7BF2-C1C3-4BA1-C351E3D8A60F}"/>
              </a:ext>
            </a:extLst>
          </p:cNvPr>
          <p:cNvSpPr/>
          <p:nvPr userDrawn="1"/>
        </p:nvSpPr>
        <p:spPr bwMode="auto">
          <a:xfrm rot="5400000">
            <a:off x="-202962" y="252286"/>
            <a:ext cx="651932" cy="270072"/>
          </a:xfrm>
          <a:prstGeom prst="triangle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bg1"/>
              </a:gs>
            </a:gsLst>
            <a:lin ang="189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400" b="0" i="0" u="none" strike="noStrike" cap="none" normalizeH="0" baseline="0">
              <a:ln>
                <a:noFill/>
              </a:ln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4924C74D-CCF2-7C31-50DE-ABCABE7BA5EA}"/>
              </a:ext>
            </a:extLst>
          </p:cNvPr>
          <p:cNvSpPr/>
          <p:nvPr userDrawn="1"/>
        </p:nvSpPr>
        <p:spPr bwMode="auto">
          <a:xfrm flipH="1">
            <a:off x="2671090" y="6515198"/>
            <a:ext cx="9529314" cy="342802"/>
          </a:xfrm>
          <a:prstGeom prst="homePlate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rgbClr val="00A0E1">
                  <a:alpha val="78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14377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400" b="0" i="0" u="none" strike="noStrike" cap="none" normalizeH="0" baseline="0">
              <a:ln>
                <a:noFill/>
              </a:ln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2693E2-796A-D63E-2FE8-37B9340DDDDB}"/>
              </a:ext>
            </a:extLst>
          </p:cNvPr>
          <p:cNvSpPr/>
          <p:nvPr userDrawn="1"/>
        </p:nvSpPr>
        <p:spPr>
          <a:xfrm>
            <a:off x="11671439" y="6559822"/>
            <a:ext cx="3674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 defTabSz="609555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fld id="{9C5957C0-C9FD-924F-A662-3B71DAE40C56}" type="slidenum">
              <a:rPr lang="uk-UA" sz="1200">
                <a:solidFill>
                  <a:srgbClr val="010511"/>
                </a:solidFill>
                <a:latin typeface="Calibiri"/>
                <a:ea typeface="ヒラギノ角ゴ Pro W3" pitchFamily="124" charset="-128"/>
                <a:cs typeface="Calibri Light"/>
              </a:rPr>
              <a:pPr marL="0" indent="0" algn="ctr" defTabSz="609555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‹#›</a:t>
            </a:fld>
            <a:endParaRPr lang="uk-UA" sz="1200">
              <a:solidFill>
                <a:srgbClr val="010511"/>
              </a:solidFill>
              <a:latin typeface="Calibiri"/>
              <a:ea typeface="ヒラギノ角ゴ Pro W3" pitchFamily="124" charset="-128"/>
              <a:cs typeface="Calibri Ligh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7A104D-CC61-2F28-C029-BBE79D418642}"/>
              </a:ext>
            </a:extLst>
          </p:cNvPr>
          <p:cNvSpPr txBox="1"/>
          <p:nvPr userDrawn="1"/>
        </p:nvSpPr>
        <p:spPr>
          <a:xfrm>
            <a:off x="5397807" y="6548202"/>
            <a:ext cx="3336609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lnSpc>
                <a:spcPct val="107000"/>
              </a:lnSpc>
              <a:spcAft>
                <a:spcPts val="800"/>
              </a:spcAft>
              <a:buFontTx/>
              <a:buNone/>
            </a:pPr>
            <a:r>
              <a:rPr lang="en-US" sz="1200">
                <a:solidFill>
                  <a:srgbClr val="010511"/>
                </a:solidFill>
                <a:effectLst/>
                <a:latin typeface="Calibri "/>
                <a:ea typeface="Frutiger LT Pro 45 Light" panose="020B0403030504020204" pitchFamily="34" charset="77"/>
                <a:cs typeface="Calibri" panose="020F0502020204030204" pitchFamily="34" charset="0"/>
              </a:rPr>
              <a:t>© LTIMindtree | Privileged and Confidential 2024</a:t>
            </a:r>
            <a:endParaRPr lang="en-IN" sz="1200">
              <a:solidFill>
                <a:srgbClr val="010511"/>
              </a:solidFill>
              <a:effectLst/>
              <a:latin typeface="Calibri 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25" name="Picture 2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33D165F-1965-D936-2AE1-480A54BE1A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909" y="6497190"/>
            <a:ext cx="1371702" cy="28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6397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80B8E11D-6BED-B48C-252B-0F04157126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813091" y="5882639"/>
            <a:ext cx="1388513" cy="9899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86A238B-F154-7E78-DB9A-BBAE86520111}"/>
              </a:ext>
            </a:extLst>
          </p:cNvPr>
          <p:cNvSpPr txBox="1"/>
          <p:nvPr userDrawn="1"/>
        </p:nvSpPr>
        <p:spPr>
          <a:xfrm>
            <a:off x="3048000" y="6540326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5B7B342C-2053-B8D5-B7A5-C18344A02B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862"/>
            <a:ext cx="5760164" cy="4106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4F0261-E97B-48CA-B4CC-5464A4D57446}"/>
              </a:ext>
            </a:extLst>
          </p:cNvPr>
          <p:cNvSpPr/>
          <p:nvPr userDrawn="1"/>
        </p:nvSpPr>
        <p:spPr>
          <a:xfrm rot="10800000" flipH="1">
            <a:off x="0" y="-1"/>
            <a:ext cx="12192000" cy="181927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77000"/>
                </a:schemeClr>
              </a:gs>
              <a:gs pos="17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Pro 45 Light" panose="020B0403030504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1D5034-7424-7EA7-D4FF-8B9BED086555}"/>
              </a:ext>
            </a:extLst>
          </p:cNvPr>
          <p:cNvSpPr/>
          <p:nvPr userDrawn="1"/>
        </p:nvSpPr>
        <p:spPr>
          <a:xfrm>
            <a:off x="11812077" y="6544777"/>
            <a:ext cx="182743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9C5957C0-C9FD-924F-A662-3B71DAE40C56}" type="slidenum">
              <a:rPr lang="uk-UA" sz="1200">
                <a:solidFill>
                  <a:schemeClr val="tx1"/>
                </a:solidFill>
              </a:rPr>
              <a:pPr lvl="0" algn="r"/>
              <a:t>‹#›</a:t>
            </a:fld>
            <a:endParaRPr lang="uk-UA" sz="120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3E564D-6925-4F2F-B203-1854CEEB24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507" y="6456896"/>
            <a:ext cx="1134753" cy="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43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466980"/>
            <a:ext cx="12192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2743200"/>
            <a:ext cx="7721600" cy="1066800"/>
          </a:xfrm>
        </p:spPr>
        <p:txBody>
          <a:bodyPr anchor="t">
            <a:normAutofit/>
          </a:bodyPr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- Limit this to just two lines onl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4572005"/>
            <a:ext cx="7721600" cy="276999"/>
          </a:xfrm>
        </p:spPr>
        <p:txBody>
          <a:bodyPr>
            <a:normAutofit/>
          </a:bodyPr>
          <a:lstStyle>
            <a:lvl1pPr marL="4763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- Limit it to just one line only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11200" y="6477000"/>
            <a:ext cx="140455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© Mindtree limited 2015</a:t>
            </a:r>
          </a:p>
        </p:txBody>
      </p:sp>
      <p:pic>
        <p:nvPicPr>
          <p:cNvPr id="1026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01" y="832104"/>
            <a:ext cx="3262195" cy="768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34569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944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5353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15077767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0475379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kumimoji="0" lang="en-IN" sz="1067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6093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 Light"/>
              </a:rPr>
              <a:pPr marL="0" marR="0" lvl="0" indent="0" algn="ctr" defTabSz="6093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marR="0" lvl="0" indent="-171446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1733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utiger 45 Light" pitchFamily="2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utiger 45 Light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813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5213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0E2A6B-A809-4840-BF14-8648BC0BDF87}" type="slidenum">
              <a:rPr kumimoji="0" lang="id-ID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9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78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2586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85" y="1371601"/>
            <a:ext cx="10972800" cy="1637371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840"/>
              </a:spcBef>
              <a:defRPr sz="1800"/>
            </a:lvl1pPr>
            <a:lvl2pPr>
              <a:lnSpc>
                <a:spcPct val="120000"/>
              </a:lnSpc>
              <a:spcBef>
                <a:spcPts val="840"/>
              </a:spcBef>
              <a:defRPr sz="1800"/>
            </a:lvl2pPr>
            <a:lvl3pPr marL="457200" indent="-228600">
              <a:lnSpc>
                <a:spcPct val="120000"/>
              </a:lnSpc>
              <a:spcBef>
                <a:spcPts val="840"/>
              </a:spcBef>
              <a:buSzPct val="80000"/>
              <a:buFont typeface="Arial" panose="020B0604020202020204" pitchFamily="34" charset="0"/>
              <a:buChar char="–"/>
              <a:defRPr sz="1800"/>
            </a:lvl3pPr>
            <a:lvl4pPr>
              <a:lnSpc>
                <a:spcPct val="120000"/>
              </a:lnSpc>
              <a:spcBef>
                <a:spcPts val="840"/>
              </a:spcBef>
              <a:defRPr sz="1800"/>
            </a:lvl4pPr>
            <a:lvl5pPr>
              <a:lnSpc>
                <a:spcPct val="120000"/>
              </a:lnSpc>
              <a:spcBef>
                <a:spcPts val="84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9130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7456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067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809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31579415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571758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kumimoji="0" lang="en-IN" sz="1067" b="0" i="0" u="none" strike="noStrike" kern="1200" cap="none" spc="0" normalizeH="0" baseline="0" noProof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6093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 Light"/>
              </a:rPr>
              <a:pPr marL="0" marR="0" lvl="0" indent="0" algn="ctr" defTabSz="6093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marR="0" lvl="0" indent="-171446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24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utiger 45 Light" pitchFamily="2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utiger 45 Light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021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50692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0E2A6B-A809-4840-BF14-8648BC0BDF87}" type="slidenum">
              <a:rPr kumimoji="0" lang="id-ID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831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44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843" y="2209800"/>
            <a:ext cx="6908800" cy="6397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ection header 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02562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8307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25123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3256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7519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3398440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2220005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67" kern="1200">
                <a:solidFill>
                  <a:srgbClr val="7C7C7C"/>
                </a:solidFill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lang="en-IN" sz="1067" kern="1200">
              <a:solidFill>
                <a:srgbClr val="7C7C7C"/>
              </a:solidFill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09341" fontAlgn="base">
              <a:spcBef>
                <a:spcPct val="0"/>
              </a:spcBef>
              <a:spcAft>
                <a:spcPct val="0"/>
              </a:spcAft>
              <a:defRPr/>
            </a:pPr>
            <a:fld id="{9C5957C0-C9FD-924F-A662-3B71DAE40C56}" type="slidenum">
              <a:rPr lang="uk-UA" sz="1100" smtClean="0">
                <a:solidFill>
                  <a:schemeClr val="bg1"/>
                </a:solidFill>
                <a:latin typeface="+mn-lt"/>
                <a:cs typeface="Calibri Light"/>
              </a:rPr>
              <a:pPr algn="ctr" defTabSz="60934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uk-UA" sz="1100">
              <a:solidFill>
                <a:schemeClr val="bg1"/>
              </a:solidFill>
              <a:latin typeface="+mn-lt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indent="-171446" algn="ctr"/>
              <a:endParaRPr lang="ko-KR" altLang="en-US" sz="1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endParaRPr lang="ko-KR" altLang="en-US" sz="1800"/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</p:spTree>
    <p:extLst>
      <p:ext uri="{BB962C8B-B14F-4D97-AF65-F5344CB8AC3E}">
        <p14:creationId xmlns:p14="http://schemas.microsoft.com/office/powerpoint/2010/main" val="215153975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chemeClr val="bg1">
                    <a:lumMod val="50000"/>
                  </a:schemeClr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chemeClr val="bg1">
                  <a:lumMod val="50000"/>
                </a:schemeClr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525346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2"/>
              </a:solidFill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509852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800" b="0" i="0" strike="noStrike" spc="0" smtClean="0">
                <a:solidFill>
                  <a:schemeClr val="bg1"/>
                </a:solidFill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id-ID" sz="933" b="0" i="0" strike="noStrike" spc="0" dirty="0">
              <a:solidFill>
                <a:schemeClr val="bg1"/>
              </a:solidFill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822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5815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732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5561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6408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33.sv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3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33.sv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3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33.svg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3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IGNORE THIS SLIDE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61C77E-D436-6DCB-A286-B4F4DEB2F11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dirty="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3</a:t>
            </a:r>
            <a:endParaRPr lang="en-IN" sz="1000" dirty="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137C83E-BB5B-1944-EDD2-871F5C1982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8" name="Text Box 1073742684">
            <a:extLst>
              <a:ext uri="{FF2B5EF4-FFF2-40B4-BE49-F238E27FC236}">
                <a16:creationId xmlns:a16="http://schemas.microsoft.com/office/drawing/2014/main" id="{ABC223E0-41B2-6C1F-73AC-A22A8ACF14D2}"/>
              </a:ext>
            </a:extLst>
          </p:cNvPr>
          <p:cNvSpPr txBox="1"/>
          <p:nvPr userDrawn="1"/>
        </p:nvSpPr>
        <p:spPr>
          <a:xfrm>
            <a:off x="4620260" y="3278188"/>
            <a:ext cx="2951480" cy="3016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IN" sz="1000" dirty="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619C9B-F13C-F3D3-A007-684D5E5031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36518253-E08C-C52D-AA44-3C646E9CC0C5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 dirty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75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 spd="med"/>
  <p:txStyles>
    <p:titleStyle>
      <a:lvl1pPr algn="l" defTabSz="228595" rtl="0" eaLnBrk="1" latinLnBrk="0" hangingPunct="1">
        <a:spcBef>
          <a:spcPct val="0"/>
        </a:spcBef>
        <a:buNone/>
        <a:defRPr sz="3300" b="1" kern="1200" baseline="0">
          <a:solidFill>
            <a:srgbClr val="FF0000"/>
          </a:solidFill>
          <a:latin typeface="Source Sans Pro" panose="020B0503030403020204" pitchFamily="34" charset="77"/>
          <a:ea typeface="+mj-ea"/>
          <a:cs typeface="+mj-cs"/>
        </a:defRPr>
      </a:lvl1pPr>
    </p:titleStyle>
    <p:bodyStyle>
      <a:lvl1pPr marL="285750" indent="-285750" algn="l" defTabSz="22859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1pPr>
      <a:lvl2pPr marL="371466" indent="-142871" algn="l" defTabSz="228595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2pPr>
      <a:lvl3pPr marL="571486" indent="-114297" algn="l" defTabSz="228595" rtl="0" eaLnBrk="1" latinLnBrk="0" hangingPunct="1">
        <a:spcBef>
          <a:spcPct val="20000"/>
        </a:spcBef>
        <a:buFont typeface="Courier New"/>
        <a:buChar char="o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3pPr>
      <a:lvl4pPr marL="800080" indent="-114297" algn="l" defTabSz="228595" rtl="0" eaLnBrk="1" latinLnBrk="0" hangingPunct="1">
        <a:spcBef>
          <a:spcPct val="20000"/>
        </a:spcBef>
        <a:buFont typeface="Wingdings" charset="2"/>
        <a:buChar char="§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4pPr>
      <a:lvl5pPr marL="1028675" indent="-114297" algn="l" defTabSz="228595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5pPr>
      <a:lvl6pPr marL="1257269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485863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714457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943052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5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2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5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3976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085" y="1371601"/>
            <a:ext cx="10972800" cy="16373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221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609600" y="6172200"/>
            <a:ext cx="109728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6379280"/>
            <a:ext cx="1803400" cy="32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82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1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</p:sldLayoutIdLst>
  <p:hf hdr="0" ftr="0" dt="0"/>
  <p:txStyles>
    <p:titleStyle>
      <a:lvl1pPr marL="1588" indent="0" algn="l" defTabSz="914400" rtl="0" eaLnBrk="1" latinLnBrk="0" hangingPunct="1">
        <a:spcBef>
          <a:spcPct val="0"/>
        </a:spcBef>
        <a:buNone/>
        <a:defRPr sz="2700" kern="1200">
          <a:solidFill>
            <a:srgbClr val="6E267B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4D4F53"/>
        </a:buClr>
        <a:buSzPct val="110000"/>
        <a:buFontTx/>
        <a:buNone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1pPr>
      <a:lvl2pPr marL="228600" indent="-228600" algn="l" defTabSz="914400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Font typeface="Arial" pitchFamily="34" charset="0"/>
        <a:buChar char="•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2pPr>
      <a:lvl3pPr marL="457200" indent="-228600" algn="l" defTabSz="914400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90000"/>
        <a:buFont typeface="Wingdings" pitchFamily="2" charset="2"/>
        <a:buChar char="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3pPr>
      <a:lvl4pPr marL="685800" indent="-230188" algn="l" defTabSz="914400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100000"/>
        <a:buFont typeface="Wingdings" pitchFamily="2" charset="2"/>
        <a:buChar char="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IGNORE THIS SLIDE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61C77E-D436-6DCB-A286-B4F4DEB2F117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rgbClr val="97A0A4"/>
                </a:solidFill>
                <a:effectLst/>
                <a:latin typeface="Frutiger LT Pro 45 Light" panose="020B0403030504020204" pitchFamily="34" charset="77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3</a:t>
            </a: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137C83E-BB5B-1944-EDD2-871F5C1982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8" name="Text Box 1073742684">
            <a:extLst>
              <a:ext uri="{FF2B5EF4-FFF2-40B4-BE49-F238E27FC236}">
                <a16:creationId xmlns:a16="http://schemas.microsoft.com/office/drawing/2014/main" id="{ABC223E0-41B2-6C1F-73AC-A22A8ACF14D2}"/>
              </a:ext>
            </a:extLst>
          </p:cNvPr>
          <p:cNvSpPr txBox="1"/>
          <p:nvPr userDrawn="1"/>
        </p:nvSpPr>
        <p:spPr>
          <a:xfrm>
            <a:off x="4620260" y="3278188"/>
            <a:ext cx="2951480" cy="3016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619C9B-F13C-F3D3-A007-684D5E5031F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1" y="6373111"/>
            <a:ext cx="1369134" cy="388898"/>
          </a:xfrm>
          <a:prstGeom prst="rect">
            <a:avLst/>
          </a:prstGeom>
        </p:spPr>
      </p:pic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36518253-E08C-C52D-AA44-3C646E9CC0C5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8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</p:sldLayoutIdLst>
  <p:transition spd="med"/>
  <p:txStyles>
    <p:titleStyle>
      <a:lvl1pPr algn="l" defTabSz="228595" rtl="0" eaLnBrk="1" latinLnBrk="0" hangingPunct="1">
        <a:spcBef>
          <a:spcPct val="0"/>
        </a:spcBef>
        <a:buNone/>
        <a:defRPr sz="3300" b="1" kern="1200" baseline="0">
          <a:solidFill>
            <a:srgbClr val="FF0000"/>
          </a:solidFill>
          <a:latin typeface="Source Sans Pro" panose="020B0503030403020204" pitchFamily="34" charset="77"/>
          <a:ea typeface="+mj-ea"/>
          <a:cs typeface="+mj-cs"/>
        </a:defRPr>
      </a:lvl1pPr>
    </p:titleStyle>
    <p:bodyStyle>
      <a:lvl1pPr marL="285750" indent="-285750" algn="l" defTabSz="22859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1pPr>
      <a:lvl2pPr marL="371466" indent="-142871" algn="l" defTabSz="228595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2pPr>
      <a:lvl3pPr marL="571486" indent="-114297" algn="l" defTabSz="228595" rtl="0" eaLnBrk="1" latinLnBrk="0" hangingPunct="1">
        <a:spcBef>
          <a:spcPct val="20000"/>
        </a:spcBef>
        <a:buFont typeface="Courier New"/>
        <a:buChar char="o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3pPr>
      <a:lvl4pPr marL="800080" indent="-114297" algn="l" defTabSz="228595" rtl="0" eaLnBrk="1" latinLnBrk="0" hangingPunct="1">
        <a:spcBef>
          <a:spcPct val="20000"/>
        </a:spcBef>
        <a:buFont typeface="Wingdings" charset="2"/>
        <a:buChar char="§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4pPr>
      <a:lvl5pPr marL="1028675" indent="-114297" algn="l" defTabSz="228595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Source Sans Pro" panose="020B0503030403020204" pitchFamily="34" charset="77"/>
          <a:ea typeface="+mn-ea"/>
          <a:cs typeface="+mn-cs"/>
        </a:defRPr>
      </a:lvl5pPr>
      <a:lvl6pPr marL="1257269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485863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714457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943052" indent="-114297" algn="l" defTabSz="228595" rtl="0" eaLnBrk="1" latinLnBrk="0" hangingPunct="1">
        <a:spcBef>
          <a:spcPct val="2000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5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2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5" algn="l" defTabSz="228595" rtl="0" eaLnBrk="1" latinLnBrk="0" hangingPunct="1">
        <a:defRPr sz="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2085" y="457200"/>
            <a:ext cx="10972800" cy="6397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085" y="1371601"/>
            <a:ext cx="10972800" cy="16373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9601" y="6379280"/>
            <a:ext cx="1352551" cy="323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15B4E44-8AE0-42EF-8C7A-A7B4FE32E026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34916" y="6474768"/>
            <a:ext cx="21916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 - for limited circulation only</a:t>
            </a:r>
          </a:p>
        </p:txBody>
      </p:sp>
    </p:spTree>
    <p:extLst>
      <p:ext uri="{BB962C8B-B14F-4D97-AF65-F5344CB8AC3E}">
        <p14:creationId xmlns:p14="http://schemas.microsoft.com/office/powerpoint/2010/main" val="363672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marL="1588" indent="0" algn="l" defTabSz="914377" rtl="0" eaLnBrk="1" latinLnBrk="0" hangingPunct="1">
        <a:spcBef>
          <a:spcPct val="0"/>
        </a:spcBef>
        <a:buNone/>
        <a:defRPr sz="2700" kern="1200">
          <a:solidFill>
            <a:srgbClr val="6E267B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4D4F53"/>
        </a:buClr>
        <a:buSzPct val="110000"/>
        <a:buFontTx/>
        <a:buNone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1pPr>
      <a:lvl2pPr marL="228594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Font typeface="Arial" pitchFamily="34" charset="0"/>
        <a:buChar char="•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2pPr>
      <a:lvl3pPr marL="457189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90000"/>
        <a:buFont typeface="Wingdings" pitchFamily="2" charset="2"/>
        <a:buChar char="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3pPr>
      <a:lvl4pPr marL="685783" indent="-230182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100000"/>
        <a:buFont typeface="Wingdings" pitchFamily="2" charset="2"/>
        <a:buChar char="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">
          <p15:clr>
            <a:srgbClr val="F26B43"/>
          </p15:clr>
        </p15:guide>
        <p15:guide id="3" pos="54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2D7134-40EE-FF30-1314-557B9BC02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50" y="250826"/>
            <a:ext cx="11391900" cy="63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396189-CB13-E41B-F1CC-4B2107297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6250" y="1123950"/>
            <a:ext cx="11391900" cy="50530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AF0B64-63C0-0326-A10D-46EAB66C7B28}"/>
              </a:ext>
            </a:extLst>
          </p:cNvPr>
          <p:cNvSpPr txBox="1"/>
          <p:nvPr userDrawn="1"/>
        </p:nvSpPr>
        <p:spPr>
          <a:xfrm>
            <a:off x="3048000" y="6425185"/>
            <a:ext cx="6096000" cy="248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rgbClr val="97A0A4"/>
                </a:solidFill>
                <a:effectLst/>
                <a:latin typeface="Frutiger 45 Light"/>
                <a:ea typeface="Frutiger LT Pro 45 Light" panose="020B0403030504020204" pitchFamily="34" charset="77"/>
                <a:cs typeface="Calibri" panose="020F0502020204030204" pitchFamily="34" charset="0"/>
              </a:rPr>
              <a:t>©LTIMindtree | Privileged and Confidential 2024</a:t>
            </a:r>
            <a:endParaRPr lang="en-IN" sz="1000">
              <a:solidFill>
                <a:srgbClr val="595959"/>
              </a:solidFill>
              <a:effectLst/>
              <a:latin typeface="Frutiger 45 Light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C9FF23-9E7B-549F-5DDC-72A92FCCFBD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16" y="6373111"/>
            <a:ext cx="1369134" cy="388898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1B27C363-6E3D-0EE2-D36E-B670EDD3D04A}"/>
              </a:ext>
            </a:extLst>
          </p:cNvPr>
          <p:cNvSpPr/>
          <p:nvPr userDrawn="1"/>
        </p:nvSpPr>
        <p:spPr>
          <a:xfrm>
            <a:off x="-639031" y="333375"/>
            <a:ext cx="469349" cy="469349"/>
          </a:xfrm>
          <a:prstGeom prst="ellipse">
            <a:avLst/>
          </a:prstGeom>
          <a:solidFill>
            <a:srgbClr val="19283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F62FB1C-C75E-8D81-1930-16D281379FD5}"/>
              </a:ext>
            </a:extLst>
          </p:cNvPr>
          <p:cNvSpPr/>
          <p:nvPr userDrawn="1"/>
        </p:nvSpPr>
        <p:spPr>
          <a:xfrm>
            <a:off x="-639031" y="2434395"/>
            <a:ext cx="469349" cy="469349"/>
          </a:xfrm>
          <a:prstGeom prst="ellipse">
            <a:avLst/>
          </a:prstGeom>
          <a:solidFill>
            <a:srgbClr val="D2282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E233A1-4821-8C65-BB16-947B2C383F25}"/>
              </a:ext>
            </a:extLst>
          </p:cNvPr>
          <p:cNvSpPr/>
          <p:nvPr userDrawn="1"/>
        </p:nvSpPr>
        <p:spPr>
          <a:xfrm>
            <a:off x="-639031" y="2959651"/>
            <a:ext cx="469349" cy="469349"/>
          </a:xfrm>
          <a:prstGeom prst="ellipse">
            <a:avLst/>
          </a:prstGeom>
          <a:solidFill>
            <a:srgbClr val="01879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878240D-94B1-D581-3435-375FAB79E6F9}"/>
              </a:ext>
            </a:extLst>
          </p:cNvPr>
          <p:cNvSpPr/>
          <p:nvPr userDrawn="1"/>
        </p:nvSpPr>
        <p:spPr>
          <a:xfrm>
            <a:off x="-639031" y="1909140"/>
            <a:ext cx="469349" cy="469349"/>
          </a:xfrm>
          <a:prstGeom prst="ellipse">
            <a:avLst/>
          </a:prstGeom>
          <a:solidFill>
            <a:srgbClr val="0092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22D683D-F397-D360-8E1F-C8AF2DF3E08C}"/>
              </a:ext>
            </a:extLst>
          </p:cNvPr>
          <p:cNvSpPr/>
          <p:nvPr userDrawn="1"/>
        </p:nvSpPr>
        <p:spPr>
          <a:xfrm>
            <a:off x="-639031" y="1383885"/>
            <a:ext cx="469349" cy="469349"/>
          </a:xfrm>
          <a:prstGeom prst="ellipse">
            <a:avLst/>
          </a:prstGeom>
          <a:solidFill>
            <a:srgbClr val="06558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37C187-80F1-38E5-377D-1B99399478E7}"/>
              </a:ext>
            </a:extLst>
          </p:cNvPr>
          <p:cNvSpPr/>
          <p:nvPr userDrawn="1"/>
        </p:nvSpPr>
        <p:spPr>
          <a:xfrm>
            <a:off x="-639031" y="858630"/>
            <a:ext cx="469349" cy="469349"/>
          </a:xfrm>
          <a:prstGeom prst="ellipse">
            <a:avLst/>
          </a:prstGeom>
          <a:solidFill>
            <a:srgbClr val="1C16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782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Frutiger 45 Ligh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45 Ligh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45 Ligh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45 Ligh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45 Ligh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45 Ligh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709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>
                <a:solidFill>
                  <a:srgbClr val="97A0A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lang="en-IN" sz="1000">
              <a:solidFill>
                <a:srgbClr val="595959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20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320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3.png"/><Relationship Id="rId3" Type="http://schemas.openxmlformats.org/officeDocument/2006/relationships/image" Target="../media/image178.png"/><Relationship Id="rId7" Type="http://schemas.openxmlformats.org/officeDocument/2006/relationships/image" Target="../media/image18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181.png"/><Relationship Id="rId5" Type="http://schemas.openxmlformats.org/officeDocument/2006/relationships/image" Target="../media/image180.png"/><Relationship Id="rId10" Type="http://schemas.openxmlformats.org/officeDocument/2006/relationships/image" Target="../media/image185.png"/><Relationship Id="rId4" Type="http://schemas.openxmlformats.org/officeDocument/2006/relationships/image" Target="../media/image179.png"/><Relationship Id="rId9" Type="http://schemas.openxmlformats.org/officeDocument/2006/relationships/image" Target="../media/image18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1.png"/><Relationship Id="rId3" Type="http://schemas.openxmlformats.org/officeDocument/2006/relationships/image" Target="../media/image186.png"/><Relationship Id="rId7" Type="http://schemas.openxmlformats.org/officeDocument/2006/relationships/image" Target="../media/image19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189.png"/><Relationship Id="rId5" Type="http://schemas.openxmlformats.org/officeDocument/2006/relationships/image" Target="../media/image188.jpeg"/><Relationship Id="rId10" Type="http://schemas.openxmlformats.org/officeDocument/2006/relationships/image" Target="../media/image193.png"/><Relationship Id="rId4" Type="http://schemas.openxmlformats.org/officeDocument/2006/relationships/image" Target="../media/image187.png"/><Relationship Id="rId9" Type="http://schemas.openxmlformats.org/officeDocument/2006/relationships/image" Target="../media/image19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18" Type="http://schemas.openxmlformats.org/officeDocument/2006/relationships/image" Target="../media/image52.png"/><Relationship Id="rId26" Type="http://schemas.openxmlformats.org/officeDocument/2006/relationships/image" Target="../media/image60.jpe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55.sv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17" Type="http://schemas.openxmlformats.org/officeDocument/2006/relationships/image" Target="../media/image51.svg"/><Relationship Id="rId25" Type="http://schemas.openxmlformats.org/officeDocument/2006/relationships/image" Target="../media/image59.png"/><Relationship Id="rId2" Type="http://schemas.openxmlformats.org/officeDocument/2006/relationships/slideLayout" Target="../slideLayouts/slideLayout89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3.jpeg"/><Relationship Id="rId1" Type="http://schemas.openxmlformats.org/officeDocument/2006/relationships/tags" Target="../tags/tag2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24" Type="http://schemas.openxmlformats.org/officeDocument/2006/relationships/image" Target="../media/image58.jpeg"/><Relationship Id="rId5" Type="http://schemas.openxmlformats.org/officeDocument/2006/relationships/image" Target="../media/image39.svg"/><Relationship Id="rId15" Type="http://schemas.openxmlformats.org/officeDocument/2006/relationships/image" Target="../media/image49.svg"/><Relationship Id="rId23" Type="http://schemas.openxmlformats.org/officeDocument/2006/relationships/image" Target="../media/image57.png"/><Relationship Id="rId28" Type="http://schemas.openxmlformats.org/officeDocument/2006/relationships/image" Target="../media/image62.jpeg"/><Relationship Id="rId10" Type="http://schemas.openxmlformats.org/officeDocument/2006/relationships/image" Target="../media/image44.png"/><Relationship Id="rId19" Type="http://schemas.openxmlformats.org/officeDocument/2006/relationships/image" Target="../media/image53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1.jpeg"/><Relationship Id="rId30" Type="http://schemas.openxmlformats.org/officeDocument/2006/relationships/image" Target="../media/image64.jpe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65.png"/><Relationship Id="rId39" Type="http://schemas.openxmlformats.org/officeDocument/2006/relationships/image" Target="../media/image78.png"/><Relationship Id="rId21" Type="http://schemas.openxmlformats.org/officeDocument/2006/relationships/tags" Target="../tags/tag23.xml"/><Relationship Id="rId34" Type="http://schemas.openxmlformats.org/officeDocument/2006/relationships/image" Target="../media/image73.png"/><Relationship Id="rId42" Type="http://schemas.openxmlformats.org/officeDocument/2006/relationships/image" Target="../media/image81.png"/><Relationship Id="rId47" Type="http://schemas.openxmlformats.org/officeDocument/2006/relationships/image" Target="../media/image86.png"/><Relationship Id="rId50" Type="http://schemas.openxmlformats.org/officeDocument/2006/relationships/image" Target="../media/image89.png"/><Relationship Id="rId55" Type="http://schemas.openxmlformats.org/officeDocument/2006/relationships/image" Target="../media/image94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image" Target="../media/image68.png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89.xml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40" Type="http://schemas.openxmlformats.org/officeDocument/2006/relationships/image" Target="../media/image79.png"/><Relationship Id="rId45" Type="http://schemas.openxmlformats.org/officeDocument/2006/relationships/image" Target="../media/image84.jpeg"/><Relationship Id="rId53" Type="http://schemas.openxmlformats.org/officeDocument/2006/relationships/image" Target="../media/image92.png"/><Relationship Id="rId5" Type="http://schemas.openxmlformats.org/officeDocument/2006/relationships/tags" Target="../tags/tag7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image" Target="../media/image66.png"/><Relationship Id="rId30" Type="http://schemas.openxmlformats.org/officeDocument/2006/relationships/image" Target="../media/image69.png"/><Relationship Id="rId35" Type="http://schemas.openxmlformats.org/officeDocument/2006/relationships/image" Target="../media/image74.png"/><Relationship Id="rId43" Type="http://schemas.openxmlformats.org/officeDocument/2006/relationships/image" Target="../media/image82.jpeg"/><Relationship Id="rId48" Type="http://schemas.openxmlformats.org/officeDocument/2006/relationships/image" Target="../media/image87.png"/><Relationship Id="rId56" Type="http://schemas.openxmlformats.org/officeDocument/2006/relationships/image" Target="../media/image95.png"/><Relationship Id="rId8" Type="http://schemas.openxmlformats.org/officeDocument/2006/relationships/tags" Target="../tags/tag10.xml"/><Relationship Id="rId51" Type="http://schemas.openxmlformats.org/officeDocument/2006/relationships/image" Target="../media/image90.pn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notesSlide" Target="../notesSlides/notesSlide3.xml"/><Relationship Id="rId33" Type="http://schemas.openxmlformats.org/officeDocument/2006/relationships/image" Target="../media/image72.png"/><Relationship Id="rId38" Type="http://schemas.openxmlformats.org/officeDocument/2006/relationships/image" Target="../media/image77.png"/><Relationship Id="rId46" Type="http://schemas.openxmlformats.org/officeDocument/2006/relationships/image" Target="../media/image85.png"/><Relationship Id="rId20" Type="http://schemas.openxmlformats.org/officeDocument/2006/relationships/tags" Target="../tags/tag22.xml"/><Relationship Id="rId41" Type="http://schemas.openxmlformats.org/officeDocument/2006/relationships/image" Target="../media/image80.png"/><Relationship Id="rId54" Type="http://schemas.openxmlformats.org/officeDocument/2006/relationships/image" Target="../media/image93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67.png"/><Relationship Id="rId36" Type="http://schemas.openxmlformats.org/officeDocument/2006/relationships/image" Target="../media/image75.png"/><Relationship Id="rId49" Type="http://schemas.openxmlformats.org/officeDocument/2006/relationships/image" Target="../media/image88.png"/><Relationship Id="rId57" Type="http://schemas.openxmlformats.org/officeDocument/2006/relationships/image" Target="../media/image96.svg"/><Relationship Id="rId10" Type="http://schemas.openxmlformats.org/officeDocument/2006/relationships/tags" Target="../tags/tag12.xml"/><Relationship Id="rId31" Type="http://schemas.openxmlformats.org/officeDocument/2006/relationships/image" Target="../media/image70.png"/><Relationship Id="rId44" Type="http://schemas.openxmlformats.org/officeDocument/2006/relationships/image" Target="../media/image83.png"/><Relationship Id="rId52" Type="http://schemas.openxmlformats.org/officeDocument/2006/relationships/image" Target="../media/image9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4.png"/><Relationship Id="rId18" Type="http://schemas.openxmlformats.org/officeDocument/2006/relationships/image" Target="../media/image108.png"/><Relationship Id="rId26" Type="http://schemas.openxmlformats.org/officeDocument/2006/relationships/image" Target="../media/image116.png"/><Relationship Id="rId39" Type="http://schemas.openxmlformats.org/officeDocument/2006/relationships/image" Target="../media/image129.png"/><Relationship Id="rId21" Type="http://schemas.openxmlformats.org/officeDocument/2006/relationships/image" Target="../media/image111.png"/><Relationship Id="rId34" Type="http://schemas.openxmlformats.org/officeDocument/2006/relationships/image" Target="../media/image124.png"/><Relationship Id="rId42" Type="http://schemas.openxmlformats.org/officeDocument/2006/relationships/image" Target="../media/image132.png"/><Relationship Id="rId47" Type="http://schemas.openxmlformats.org/officeDocument/2006/relationships/image" Target="../media/image137.svg"/><Relationship Id="rId50" Type="http://schemas.openxmlformats.org/officeDocument/2006/relationships/image" Target="../media/image140.png"/><Relationship Id="rId7" Type="http://schemas.openxmlformats.org/officeDocument/2006/relationships/image" Target="../media/image98.png"/><Relationship Id="rId2" Type="http://schemas.openxmlformats.org/officeDocument/2006/relationships/tags" Target="../tags/tag27.xml"/><Relationship Id="rId16" Type="http://schemas.openxmlformats.org/officeDocument/2006/relationships/image" Target="../media/image76.png"/><Relationship Id="rId29" Type="http://schemas.openxmlformats.org/officeDocument/2006/relationships/image" Target="../media/image119.jpeg"/><Relationship Id="rId11" Type="http://schemas.openxmlformats.org/officeDocument/2006/relationships/image" Target="../media/image102.png"/><Relationship Id="rId24" Type="http://schemas.openxmlformats.org/officeDocument/2006/relationships/image" Target="../media/image114.png"/><Relationship Id="rId32" Type="http://schemas.openxmlformats.org/officeDocument/2006/relationships/image" Target="../media/image122.png"/><Relationship Id="rId37" Type="http://schemas.openxmlformats.org/officeDocument/2006/relationships/image" Target="../media/image127.png"/><Relationship Id="rId40" Type="http://schemas.openxmlformats.org/officeDocument/2006/relationships/image" Target="../media/image130.png"/><Relationship Id="rId45" Type="http://schemas.openxmlformats.org/officeDocument/2006/relationships/image" Target="../media/image135.sv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06.png"/><Relationship Id="rId23" Type="http://schemas.openxmlformats.org/officeDocument/2006/relationships/image" Target="../media/image113.png"/><Relationship Id="rId28" Type="http://schemas.openxmlformats.org/officeDocument/2006/relationships/image" Target="../media/image118.png"/><Relationship Id="rId36" Type="http://schemas.openxmlformats.org/officeDocument/2006/relationships/image" Target="../media/image126.png"/><Relationship Id="rId49" Type="http://schemas.openxmlformats.org/officeDocument/2006/relationships/image" Target="../media/image139.svg"/><Relationship Id="rId10" Type="http://schemas.openxmlformats.org/officeDocument/2006/relationships/image" Target="../media/image101.png"/><Relationship Id="rId19" Type="http://schemas.openxmlformats.org/officeDocument/2006/relationships/image" Target="../media/image109.png"/><Relationship Id="rId31" Type="http://schemas.openxmlformats.org/officeDocument/2006/relationships/image" Target="../media/image121.png"/><Relationship Id="rId44" Type="http://schemas.openxmlformats.org/officeDocument/2006/relationships/image" Target="../media/image134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00.png"/><Relationship Id="rId14" Type="http://schemas.openxmlformats.org/officeDocument/2006/relationships/image" Target="../media/image105.png"/><Relationship Id="rId22" Type="http://schemas.openxmlformats.org/officeDocument/2006/relationships/image" Target="../media/image112.png"/><Relationship Id="rId27" Type="http://schemas.openxmlformats.org/officeDocument/2006/relationships/image" Target="../media/image117.tiff"/><Relationship Id="rId30" Type="http://schemas.openxmlformats.org/officeDocument/2006/relationships/image" Target="../media/image120.png"/><Relationship Id="rId35" Type="http://schemas.openxmlformats.org/officeDocument/2006/relationships/image" Target="../media/image125.png"/><Relationship Id="rId43" Type="http://schemas.openxmlformats.org/officeDocument/2006/relationships/image" Target="../media/image133.svg"/><Relationship Id="rId48" Type="http://schemas.openxmlformats.org/officeDocument/2006/relationships/image" Target="../media/image138.png"/><Relationship Id="rId8" Type="http://schemas.openxmlformats.org/officeDocument/2006/relationships/image" Target="../media/image99.png"/><Relationship Id="rId3" Type="http://schemas.openxmlformats.org/officeDocument/2006/relationships/tags" Target="../tags/tag28.xml"/><Relationship Id="rId12" Type="http://schemas.openxmlformats.org/officeDocument/2006/relationships/image" Target="../media/image103.png"/><Relationship Id="rId17" Type="http://schemas.openxmlformats.org/officeDocument/2006/relationships/image" Target="../media/image107.png"/><Relationship Id="rId25" Type="http://schemas.openxmlformats.org/officeDocument/2006/relationships/image" Target="../media/image115.svg"/><Relationship Id="rId33" Type="http://schemas.openxmlformats.org/officeDocument/2006/relationships/image" Target="../media/image123.png"/><Relationship Id="rId38" Type="http://schemas.openxmlformats.org/officeDocument/2006/relationships/image" Target="../media/image128.png"/><Relationship Id="rId46" Type="http://schemas.openxmlformats.org/officeDocument/2006/relationships/image" Target="../media/image136.png"/><Relationship Id="rId20" Type="http://schemas.openxmlformats.org/officeDocument/2006/relationships/image" Target="../media/image110.png"/><Relationship Id="rId41" Type="http://schemas.openxmlformats.org/officeDocument/2006/relationships/image" Target="../media/image131.png"/><Relationship Id="rId1" Type="http://schemas.openxmlformats.org/officeDocument/2006/relationships/tags" Target="../tags/tag26.xml"/><Relationship Id="rId6" Type="http://schemas.openxmlformats.org/officeDocument/2006/relationships/image" Target="../media/image9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13" Type="http://schemas.openxmlformats.org/officeDocument/2006/relationships/image" Target="../media/image152.png"/><Relationship Id="rId18" Type="http://schemas.openxmlformats.org/officeDocument/2006/relationships/image" Target="../media/image157.png"/><Relationship Id="rId3" Type="http://schemas.openxmlformats.org/officeDocument/2006/relationships/image" Target="../media/image142.png"/><Relationship Id="rId7" Type="http://schemas.openxmlformats.org/officeDocument/2006/relationships/image" Target="../media/image146.png"/><Relationship Id="rId12" Type="http://schemas.openxmlformats.org/officeDocument/2006/relationships/image" Target="../media/image151.png"/><Relationship Id="rId17" Type="http://schemas.openxmlformats.org/officeDocument/2006/relationships/image" Target="../media/image156.png"/><Relationship Id="rId2" Type="http://schemas.openxmlformats.org/officeDocument/2006/relationships/image" Target="../media/image141.png"/><Relationship Id="rId16" Type="http://schemas.openxmlformats.org/officeDocument/2006/relationships/image" Target="../media/image155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145.png"/><Relationship Id="rId11" Type="http://schemas.openxmlformats.org/officeDocument/2006/relationships/image" Target="../media/image150.png"/><Relationship Id="rId5" Type="http://schemas.openxmlformats.org/officeDocument/2006/relationships/image" Target="../media/image144.png"/><Relationship Id="rId15" Type="http://schemas.openxmlformats.org/officeDocument/2006/relationships/image" Target="../media/image154.jpeg"/><Relationship Id="rId10" Type="http://schemas.openxmlformats.org/officeDocument/2006/relationships/image" Target="../media/image149.png"/><Relationship Id="rId4" Type="http://schemas.openxmlformats.org/officeDocument/2006/relationships/image" Target="../media/image143.png"/><Relationship Id="rId9" Type="http://schemas.openxmlformats.org/officeDocument/2006/relationships/image" Target="../media/image148.png"/><Relationship Id="rId14" Type="http://schemas.openxmlformats.org/officeDocument/2006/relationships/image" Target="../media/image15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png"/><Relationship Id="rId18" Type="http://schemas.openxmlformats.org/officeDocument/2006/relationships/image" Target="../media/image173.png"/><Relationship Id="rId3" Type="http://schemas.openxmlformats.org/officeDocument/2006/relationships/notesSlide" Target="../notesSlides/notesSlide7.xml"/><Relationship Id="rId21" Type="http://schemas.openxmlformats.org/officeDocument/2006/relationships/image" Target="../media/image176.png"/><Relationship Id="rId7" Type="http://schemas.openxmlformats.org/officeDocument/2006/relationships/image" Target="../media/image162.png"/><Relationship Id="rId12" Type="http://schemas.openxmlformats.org/officeDocument/2006/relationships/image" Target="../media/image167.png"/><Relationship Id="rId17" Type="http://schemas.openxmlformats.org/officeDocument/2006/relationships/image" Target="../media/image172.png"/><Relationship Id="rId2" Type="http://schemas.openxmlformats.org/officeDocument/2006/relationships/slideLayout" Target="../slideLayouts/slideLayout89.xml"/><Relationship Id="rId16" Type="http://schemas.openxmlformats.org/officeDocument/2006/relationships/image" Target="../media/image171.png"/><Relationship Id="rId20" Type="http://schemas.openxmlformats.org/officeDocument/2006/relationships/image" Target="../media/image175.png"/><Relationship Id="rId1" Type="http://schemas.openxmlformats.org/officeDocument/2006/relationships/tags" Target="../tags/tag29.xml"/><Relationship Id="rId6" Type="http://schemas.openxmlformats.org/officeDocument/2006/relationships/image" Target="../media/image161.png"/><Relationship Id="rId11" Type="http://schemas.openxmlformats.org/officeDocument/2006/relationships/image" Target="../media/image166.png"/><Relationship Id="rId5" Type="http://schemas.openxmlformats.org/officeDocument/2006/relationships/image" Target="../media/image160.png"/><Relationship Id="rId15" Type="http://schemas.openxmlformats.org/officeDocument/2006/relationships/image" Target="../media/image170.png"/><Relationship Id="rId23" Type="http://schemas.openxmlformats.org/officeDocument/2006/relationships/image" Target="../media/image177.png"/><Relationship Id="rId10" Type="http://schemas.openxmlformats.org/officeDocument/2006/relationships/image" Target="../media/image165.png"/><Relationship Id="rId19" Type="http://schemas.openxmlformats.org/officeDocument/2006/relationships/image" Target="../media/image174.png"/><Relationship Id="rId4" Type="http://schemas.openxmlformats.org/officeDocument/2006/relationships/image" Target="../media/image159.png"/><Relationship Id="rId9" Type="http://schemas.openxmlformats.org/officeDocument/2006/relationships/image" Target="../media/image164.png"/><Relationship Id="rId14" Type="http://schemas.openxmlformats.org/officeDocument/2006/relationships/image" Target="../media/image169.png"/><Relationship Id="rId22" Type="http://schemas.openxmlformats.org/officeDocument/2006/relationships/image" Target="../media/image1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8878D6-0F24-F30A-8617-383063063CBB}"/>
              </a:ext>
            </a:extLst>
          </p:cNvPr>
          <p:cNvCxnSpPr>
            <a:cxnSpLocks/>
          </p:cNvCxnSpPr>
          <p:nvPr/>
        </p:nvCxnSpPr>
        <p:spPr>
          <a:xfrm flipH="1">
            <a:off x="4863349" y="5664881"/>
            <a:ext cx="3393649" cy="0"/>
          </a:xfrm>
          <a:prstGeom prst="line">
            <a:avLst/>
          </a:prstGeom>
          <a:ln w="19050">
            <a:solidFill>
              <a:schemeClr val="bg1">
                <a:alpha val="21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4">
            <a:extLst>
              <a:ext uri="{FF2B5EF4-FFF2-40B4-BE49-F238E27FC236}">
                <a16:creationId xmlns:a16="http://schemas.microsoft.com/office/drawing/2014/main" id="{CBA18D43-991C-B16B-2C0F-2C49EC4F352A}"/>
              </a:ext>
            </a:extLst>
          </p:cNvPr>
          <p:cNvSpPr txBox="1">
            <a:spLocks/>
          </p:cNvSpPr>
          <p:nvPr/>
        </p:nvSpPr>
        <p:spPr>
          <a:xfrm>
            <a:off x="4728869" y="4494678"/>
            <a:ext cx="5951831" cy="102110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ts val="4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AAF6"/>
                </a:solidFill>
                <a:effectLst/>
                <a:uLnTx/>
                <a:uFillTx/>
                <a:ea typeface="Source Sans Pro" panose="020B0503030403020204" pitchFamily="34" charset="0"/>
                <a:cs typeface="Open Sans" panose="020B0606030504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cs typeface="Open Sans" panose="020B0606030504020204" pitchFamily="34" charset="0"/>
              </a:rPr>
              <a:t>Murex Capability</a:t>
            </a:r>
          </a:p>
        </p:txBody>
      </p:sp>
      <p:sp>
        <p:nvSpPr>
          <p:cNvPr id="9" name="Title 14">
            <a:extLst>
              <a:ext uri="{FF2B5EF4-FFF2-40B4-BE49-F238E27FC236}">
                <a16:creationId xmlns:a16="http://schemas.microsoft.com/office/drawing/2014/main" id="{BBB53981-C9EF-7CBC-8E68-D456BEACF66A}"/>
              </a:ext>
            </a:extLst>
          </p:cNvPr>
          <p:cNvSpPr txBox="1">
            <a:spLocks/>
          </p:cNvSpPr>
          <p:nvPr/>
        </p:nvSpPr>
        <p:spPr>
          <a:xfrm>
            <a:off x="4863348" y="5766531"/>
            <a:ext cx="4475949" cy="29745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Trebuchet MS" panose="020B0703020202090204" pitchFamily="34" charset="0"/>
                <a:ea typeface="Trebuchet MS" panose="020B070302020209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cs typeface="Calibri" panose="020F0502020204030204" pitchFamily="34" charset="0"/>
              </a:rPr>
              <a:t>Jun 2025</a:t>
            </a: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09F283-F7CF-3C80-045B-D4091325CD1F}"/>
              </a:ext>
            </a:extLst>
          </p:cNvPr>
          <p:cNvGrpSpPr/>
          <p:nvPr/>
        </p:nvGrpSpPr>
        <p:grpSpPr>
          <a:xfrm>
            <a:off x="8510879" y="1876516"/>
            <a:ext cx="3739515" cy="585856"/>
            <a:chOff x="8615046" y="1922814"/>
            <a:chExt cx="3739514" cy="58585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D40EB8A-E212-150E-D22F-F31868CEC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8836" y="1922814"/>
              <a:ext cx="2075724" cy="585856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E5B9B71-D4DE-2543-A3ED-A4DFD636B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58567" y="1999981"/>
              <a:ext cx="0" cy="431524"/>
            </a:xfrm>
            <a:prstGeom prst="line">
              <a:avLst/>
            </a:prstGeom>
            <a:ln w="31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5B740DF6-78D6-88B7-973D-E8767F3AF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15046" y="2063734"/>
              <a:ext cx="1550034" cy="2735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5294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377026-DD9F-AD6D-E9A9-FFCD31052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Our Murex Credential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0832076-46C5-4176-B65E-045E16F232CF}"/>
              </a:ext>
            </a:extLst>
          </p:cNvPr>
          <p:cNvSpPr/>
          <p:nvPr/>
        </p:nvSpPr>
        <p:spPr>
          <a:xfrm>
            <a:off x="447916" y="5463555"/>
            <a:ext cx="8444540" cy="49175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Arial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22E1691-0ACE-4875-97A9-51FF24EA0F58}"/>
              </a:ext>
            </a:extLst>
          </p:cNvPr>
          <p:cNvSpPr/>
          <p:nvPr/>
        </p:nvSpPr>
        <p:spPr>
          <a:xfrm>
            <a:off x="9029684" y="3180094"/>
            <a:ext cx="2739593" cy="27806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41275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Murex partner from 2007</a:t>
            </a:r>
          </a:p>
          <a:p>
            <a:pPr marL="228600" marR="0" lvl="0" indent="-228600" algn="l" defTabSz="41275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360 partnership with Murex </a:t>
            </a:r>
          </a:p>
          <a:p>
            <a:pPr marL="228600" marR="0" lvl="0" indent="-228600" algn="l" defTabSz="41275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Large managed services engagements with leading APAC banks</a:t>
            </a:r>
          </a:p>
          <a:p>
            <a:pPr marL="228600" marR="0" lvl="0" indent="-228600" algn="l" defTabSz="41275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First SI partner to migrate Murex to Azure</a:t>
            </a:r>
          </a:p>
          <a:p>
            <a:pPr marL="228600" marR="0" lvl="0" indent="-228600" algn="l" defTabSz="41275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Solution accelerator for digital interface to Murex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F7C397-EE2E-44EB-BBC1-615E6C60DA44}"/>
              </a:ext>
            </a:extLst>
          </p:cNvPr>
          <p:cNvSpPr/>
          <p:nvPr/>
        </p:nvSpPr>
        <p:spPr>
          <a:xfrm>
            <a:off x="447917" y="2302811"/>
            <a:ext cx="11321359" cy="47537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682B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First SI partner to setup Murex Reference environment on Cloud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E393279-F81D-4D52-9B32-AEA4E19F8F6E}"/>
              </a:ext>
            </a:extLst>
          </p:cNvPr>
          <p:cNvSpPr/>
          <p:nvPr/>
        </p:nvSpPr>
        <p:spPr>
          <a:xfrm>
            <a:off x="9029683" y="2823923"/>
            <a:ext cx="2739593" cy="31043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Value Proposition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D22BB21-54A7-4976-B632-9C7D145DFB08}"/>
              </a:ext>
            </a:extLst>
          </p:cNvPr>
          <p:cNvSpPr/>
          <p:nvPr/>
        </p:nvSpPr>
        <p:spPr>
          <a:xfrm>
            <a:off x="470874" y="3157793"/>
            <a:ext cx="8444538" cy="67353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Arial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8B25B1F-19C4-44A0-8556-89696E0A1B4D}"/>
              </a:ext>
            </a:extLst>
          </p:cNvPr>
          <p:cNvSpPr/>
          <p:nvPr/>
        </p:nvSpPr>
        <p:spPr>
          <a:xfrm>
            <a:off x="447917" y="2842703"/>
            <a:ext cx="8463011" cy="25905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Key Offerings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A544540-4386-4D52-9621-19E824B61098}"/>
              </a:ext>
            </a:extLst>
          </p:cNvPr>
          <p:cNvGrpSpPr/>
          <p:nvPr/>
        </p:nvGrpSpPr>
        <p:grpSpPr>
          <a:xfrm>
            <a:off x="1668162" y="896766"/>
            <a:ext cx="8637373" cy="1183954"/>
            <a:chOff x="1926506" y="833793"/>
            <a:chExt cx="8338988" cy="1244815"/>
          </a:xfrm>
        </p:grpSpPr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E9ADA36F-D1AC-49F4-9C19-EFF770C8FFDE}"/>
                </a:ext>
              </a:extLst>
            </p:cNvPr>
            <p:cNvGrpSpPr/>
            <p:nvPr/>
          </p:nvGrpSpPr>
          <p:grpSpPr>
            <a:xfrm>
              <a:off x="1926506" y="833793"/>
              <a:ext cx="1234440" cy="1244815"/>
              <a:chOff x="1926506" y="833793"/>
              <a:chExt cx="1234440" cy="1244815"/>
            </a:xfrm>
          </p:grpSpPr>
          <p:sp>
            <p:nvSpPr>
              <p:cNvPr id="186" name="Circle: Hollow 185">
                <a:extLst>
                  <a:ext uri="{FF2B5EF4-FFF2-40B4-BE49-F238E27FC236}">
                    <a16:creationId xmlns:a16="http://schemas.microsoft.com/office/drawing/2014/main" id="{42EA013A-87D3-4C13-A073-A32BF6FB892F}"/>
                  </a:ext>
                </a:extLst>
              </p:cNvPr>
              <p:cNvSpPr/>
              <p:nvPr/>
            </p:nvSpPr>
            <p:spPr>
              <a:xfrm>
                <a:off x="1926506" y="833793"/>
                <a:ext cx="1234440" cy="1234440"/>
              </a:xfrm>
              <a:prstGeom prst="donut">
                <a:avLst>
                  <a:gd name="adj" fmla="val 580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F7C00">
                        <a:lumMod val="75000"/>
                      </a:srgbClr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20+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E267B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Years of product knowledge</a:t>
                </a:r>
              </a:p>
            </p:txBody>
          </p: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AEF42E4A-7377-47DE-B287-2A6072E87882}"/>
                  </a:ext>
                </a:extLst>
              </p:cNvPr>
              <p:cNvCxnSpPr/>
              <p:nvPr/>
            </p:nvCxnSpPr>
            <p:spPr>
              <a:xfrm>
                <a:off x="2081954" y="2078608"/>
                <a:ext cx="923544" cy="0"/>
              </a:xfrm>
              <a:prstGeom prst="line">
                <a:avLst/>
              </a:prstGeom>
              <a:ln w="571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50CD60EF-4F44-4059-A886-DF0CD8C47602}"/>
                </a:ext>
              </a:extLst>
            </p:cNvPr>
            <p:cNvGrpSpPr/>
            <p:nvPr/>
          </p:nvGrpSpPr>
          <p:grpSpPr>
            <a:xfrm>
              <a:off x="4294689" y="833793"/>
              <a:ext cx="1234440" cy="1244815"/>
              <a:chOff x="4294689" y="833793"/>
              <a:chExt cx="1234440" cy="1244815"/>
            </a:xfrm>
          </p:grpSpPr>
          <p:sp>
            <p:nvSpPr>
              <p:cNvPr id="184" name="Circle: Hollow 183">
                <a:extLst>
                  <a:ext uri="{FF2B5EF4-FFF2-40B4-BE49-F238E27FC236}">
                    <a16:creationId xmlns:a16="http://schemas.microsoft.com/office/drawing/2014/main" id="{3491062B-9548-4908-9903-27038603B608}"/>
                  </a:ext>
                </a:extLst>
              </p:cNvPr>
              <p:cNvSpPr/>
              <p:nvPr/>
            </p:nvSpPr>
            <p:spPr>
              <a:xfrm>
                <a:off x="4294689" y="833793"/>
                <a:ext cx="1234440" cy="1234440"/>
              </a:xfrm>
              <a:prstGeom prst="donut">
                <a:avLst>
                  <a:gd name="adj" fmla="val 580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F7C00">
                        <a:lumMod val="75000"/>
                      </a:srgbClr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700+</a:t>
                </a:r>
              </a:p>
              <a:p>
                <a:pPr marL="0" marR="0" lvl="0" indent="0" algn="ctr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Person-years of Murex experience</a:t>
                </a:r>
              </a:p>
            </p:txBody>
          </p: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F2780372-0B97-48D7-9708-BDC5059AE9A8}"/>
                  </a:ext>
                </a:extLst>
              </p:cNvPr>
              <p:cNvCxnSpPr/>
              <p:nvPr/>
            </p:nvCxnSpPr>
            <p:spPr>
              <a:xfrm>
                <a:off x="4450137" y="2078608"/>
                <a:ext cx="923544" cy="0"/>
              </a:xfrm>
              <a:prstGeom prst="line">
                <a:avLst/>
              </a:prstGeom>
              <a:ln w="571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72802F1A-75CA-4167-A268-1D1EC4911167}"/>
                </a:ext>
              </a:extLst>
            </p:cNvPr>
            <p:cNvGrpSpPr/>
            <p:nvPr/>
          </p:nvGrpSpPr>
          <p:grpSpPr>
            <a:xfrm>
              <a:off x="6662872" y="833793"/>
              <a:ext cx="1234440" cy="1244815"/>
              <a:chOff x="6662872" y="833793"/>
              <a:chExt cx="1234440" cy="1244815"/>
            </a:xfrm>
          </p:grpSpPr>
          <p:sp>
            <p:nvSpPr>
              <p:cNvPr id="182" name="Circle: Hollow 181">
                <a:extLst>
                  <a:ext uri="{FF2B5EF4-FFF2-40B4-BE49-F238E27FC236}">
                    <a16:creationId xmlns:a16="http://schemas.microsoft.com/office/drawing/2014/main" id="{5F744B2E-B337-4AF7-9E82-384182607F2A}"/>
                  </a:ext>
                </a:extLst>
              </p:cNvPr>
              <p:cNvSpPr/>
              <p:nvPr/>
            </p:nvSpPr>
            <p:spPr>
              <a:xfrm>
                <a:off x="6662872" y="833793"/>
                <a:ext cx="1234440" cy="1234440"/>
              </a:xfrm>
              <a:prstGeom prst="donut">
                <a:avLst>
                  <a:gd name="adj" fmla="val 580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F7C00">
                        <a:lumMod val="75000"/>
                      </a:srgbClr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125+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Projects Implemented</a:t>
                </a:r>
              </a:p>
            </p:txBody>
          </p:sp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804B0C52-6A42-4C66-ADD8-1C7DF07B71AF}"/>
                  </a:ext>
                </a:extLst>
              </p:cNvPr>
              <p:cNvCxnSpPr/>
              <p:nvPr/>
            </p:nvCxnSpPr>
            <p:spPr>
              <a:xfrm>
                <a:off x="6818320" y="2078608"/>
                <a:ext cx="923544" cy="0"/>
              </a:xfrm>
              <a:prstGeom prst="line">
                <a:avLst/>
              </a:prstGeom>
              <a:ln w="571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06D65AFF-95B7-432A-9F82-3F40D5ADE2D7}"/>
                </a:ext>
              </a:extLst>
            </p:cNvPr>
            <p:cNvGrpSpPr/>
            <p:nvPr/>
          </p:nvGrpSpPr>
          <p:grpSpPr>
            <a:xfrm>
              <a:off x="9031054" y="833793"/>
              <a:ext cx="1234440" cy="1244815"/>
              <a:chOff x="9031054" y="833793"/>
              <a:chExt cx="1234440" cy="1244815"/>
            </a:xfrm>
          </p:grpSpPr>
          <p:sp>
            <p:nvSpPr>
              <p:cNvPr id="180" name="Circle: Hollow 179">
                <a:extLst>
                  <a:ext uri="{FF2B5EF4-FFF2-40B4-BE49-F238E27FC236}">
                    <a16:creationId xmlns:a16="http://schemas.microsoft.com/office/drawing/2014/main" id="{62A14031-0299-4801-8BDF-459D5CA69795}"/>
                  </a:ext>
                </a:extLst>
              </p:cNvPr>
              <p:cNvSpPr/>
              <p:nvPr/>
            </p:nvSpPr>
            <p:spPr>
              <a:xfrm>
                <a:off x="9031054" y="833793"/>
                <a:ext cx="1234440" cy="1234440"/>
              </a:xfrm>
              <a:prstGeom prst="donut">
                <a:avLst>
                  <a:gd name="adj" fmla="val 580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F7C00">
                        <a:lumMod val="75000"/>
                      </a:srgbClr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30+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E267B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Global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+mn-cs"/>
                  </a:rPr>
                  <a:t>Clients</a:t>
                </a:r>
              </a:p>
            </p:txBody>
          </p: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1AD100B2-9CAD-4EEA-B49A-07D7FB80C75C}"/>
                  </a:ext>
                </a:extLst>
              </p:cNvPr>
              <p:cNvCxnSpPr/>
              <p:nvPr/>
            </p:nvCxnSpPr>
            <p:spPr>
              <a:xfrm>
                <a:off x="9186502" y="2078608"/>
                <a:ext cx="923544" cy="0"/>
              </a:xfrm>
              <a:prstGeom prst="line">
                <a:avLst/>
              </a:prstGeom>
              <a:ln w="571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EF1E05AE-56B7-4504-92FC-F74C7FA9C9D5}"/>
              </a:ext>
            </a:extLst>
          </p:cNvPr>
          <p:cNvSpPr/>
          <p:nvPr/>
        </p:nvSpPr>
        <p:spPr>
          <a:xfrm>
            <a:off x="438092" y="5149293"/>
            <a:ext cx="8454363" cy="28142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Accelerators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B6515DD-7614-46D3-927F-6B22B00727BE}"/>
              </a:ext>
            </a:extLst>
          </p:cNvPr>
          <p:cNvSpPr/>
          <p:nvPr/>
        </p:nvSpPr>
        <p:spPr>
          <a:xfrm>
            <a:off x="470874" y="3166505"/>
            <a:ext cx="1608196" cy="608785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Managed services Support &amp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Maintenanc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18AF41C-CCFC-4D32-9CC0-215AB793E9CD}"/>
              </a:ext>
            </a:extLst>
          </p:cNvPr>
          <p:cNvSpPr/>
          <p:nvPr/>
        </p:nvSpPr>
        <p:spPr>
          <a:xfrm>
            <a:off x="2153734" y="3166505"/>
            <a:ext cx="1023590" cy="608785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Vers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Upgrade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4EBA41A3-9D7B-4816-850D-96D998C5E6B1}"/>
              </a:ext>
            </a:extLst>
          </p:cNvPr>
          <p:cNvSpPr/>
          <p:nvPr/>
        </p:nvSpPr>
        <p:spPr>
          <a:xfrm>
            <a:off x="4904276" y="3241990"/>
            <a:ext cx="1023591" cy="572211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System Integration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B76590E-2BC8-40DC-ACC3-23F3DBF78746}"/>
              </a:ext>
            </a:extLst>
          </p:cNvPr>
          <p:cNvSpPr/>
          <p:nvPr/>
        </p:nvSpPr>
        <p:spPr>
          <a:xfrm>
            <a:off x="5912597" y="3213910"/>
            <a:ext cx="1209149" cy="608785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Product Engineering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A1D0CE0-30E3-4A89-A5CE-6BA86E4A9A53}"/>
              </a:ext>
            </a:extLst>
          </p:cNvPr>
          <p:cNvSpPr/>
          <p:nvPr/>
        </p:nvSpPr>
        <p:spPr>
          <a:xfrm>
            <a:off x="8053096" y="3213876"/>
            <a:ext cx="850953" cy="608785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Testing</a:t>
            </a:r>
            <a:endParaRPr kumimoji="0" lang="nn-NO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A5A4FF07-2983-41A8-AE01-400BFD4C347E}"/>
              </a:ext>
            </a:extLst>
          </p:cNvPr>
          <p:cNvCxnSpPr>
            <a:cxnSpLocks/>
          </p:cNvCxnSpPr>
          <p:nvPr/>
        </p:nvCxnSpPr>
        <p:spPr>
          <a:xfrm>
            <a:off x="2153735" y="3209990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1D0909D7-4717-48A7-9259-EF6AE0C701DA}"/>
              </a:ext>
            </a:extLst>
          </p:cNvPr>
          <p:cNvCxnSpPr>
            <a:cxnSpLocks/>
          </p:cNvCxnSpPr>
          <p:nvPr/>
        </p:nvCxnSpPr>
        <p:spPr>
          <a:xfrm>
            <a:off x="3177324" y="3236954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42CB672-C7AA-4C58-8D9E-CD48DAEF3AB0}"/>
              </a:ext>
            </a:extLst>
          </p:cNvPr>
          <p:cNvCxnSpPr>
            <a:cxnSpLocks/>
          </p:cNvCxnSpPr>
          <p:nvPr/>
        </p:nvCxnSpPr>
        <p:spPr>
          <a:xfrm>
            <a:off x="6015604" y="3267140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BCFCE9E-AE2B-48B8-B8C7-3EFFA8FDE742}"/>
              </a:ext>
            </a:extLst>
          </p:cNvPr>
          <p:cNvCxnSpPr>
            <a:cxnSpLocks/>
          </p:cNvCxnSpPr>
          <p:nvPr/>
        </p:nvCxnSpPr>
        <p:spPr>
          <a:xfrm>
            <a:off x="7051456" y="3267140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97EB9133-C7A9-46CD-A40E-0BB795BD6001}"/>
              </a:ext>
            </a:extLst>
          </p:cNvPr>
          <p:cNvCxnSpPr>
            <a:cxnSpLocks/>
          </p:cNvCxnSpPr>
          <p:nvPr/>
        </p:nvCxnSpPr>
        <p:spPr>
          <a:xfrm>
            <a:off x="8156136" y="3267140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0BA3077-2663-4E2E-A392-26EF70A94A9C}"/>
              </a:ext>
            </a:extLst>
          </p:cNvPr>
          <p:cNvSpPr/>
          <p:nvPr/>
        </p:nvSpPr>
        <p:spPr>
          <a:xfrm>
            <a:off x="7154497" y="3197024"/>
            <a:ext cx="946361" cy="608785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Consulting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  <a:sym typeface="Helvetica Light"/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FB8E30FC-C26E-4BE6-A7E9-B20978999D40}"/>
              </a:ext>
            </a:extLst>
          </p:cNvPr>
          <p:cNvGrpSpPr/>
          <p:nvPr/>
        </p:nvGrpSpPr>
        <p:grpSpPr>
          <a:xfrm>
            <a:off x="422723" y="3901078"/>
            <a:ext cx="8488205" cy="1213542"/>
            <a:chOff x="436871" y="3611347"/>
            <a:chExt cx="8488205" cy="1213542"/>
          </a:xfrm>
        </p:grpSpPr>
        <p:sp>
          <p:nvSpPr>
            <p:cNvPr id="169" name="TextBox 134">
              <a:extLst>
                <a:ext uri="{FF2B5EF4-FFF2-40B4-BE49-F238E27FC236}">
                  <a16:creationId xmlns:a16="http://schemas.microsoft.com/office/drawing/2014/main" id="{A108038A-92FB-4211-98E3-162F0BFAC2DA}"/>
                </a:ext>
              </a:extLst>
            </p:cNvPr>
            <p:cNvSpPr txBox="1"/>
            <p:nvPr/>
          </p:nvSpPr>
          <p:spPr>
            <a:xfrm>
              <a:off x="452241" y="3908680"/>
              <a:ext cx="2609079" cy="4074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rPr>
                <a:t>Version Upgrades – Mx 2.11 to Mx 3.1 for leading investment banks in Singapore</a:t>
              </a:r>
            </a:p>
          </p:txBody>
        </p:sp>
        <p:sp>
          <p:nvSpPr>
            <p:cNvPr id="170" name="TextBox 135">
              <a:extLst>
                <a:ext uri="{FF2B5EF4-FFF2-40B4-BE49-F238E27FC236}">
                  <a16:creationId xmlns:a16="http://schemas.microsoft.com/office/drawing/2014/main" id="{BB44DB5C-D656-4FFE-8986-81958ECE808C}"/>
                </a:ext>
              </a:extLst>
            </p:cNvPr>
            <p:cNvSpPr txBox="1"/>
            <p:nvPr/>
          </p:nvSpPr>
          <p:spPr>
            <a:xfrm>
              <a:off x="3263589" y="3899368"/>
              <a:ext cx="2609079" cy="4074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rPr>
                <a:t>15  Years of Murex Production Support – BAU for a leading bank in Japan</a:t>
              </a:r>
            </a:p>
          </p:txBody>
        </p:sp>
        <p:sp>
          <p:nvSpPr>
            <p:cNvPr id="171" name="TextBox 136">
              <a:extLst>
                <a:ext uri="{FF2B5EF4-FFF2-40B4-BE49-F238E27FC236}">
                  <a16:creationId xmlns:a16="http://schemas.microsoft.com/office/drawing/2014/main" id="{A0A229B8-4A8E-4677-A6DE-D0FE8F192ECD}"/>
                </a:ext>
              </a:extLst>
            </p:cNvPr>
            <p:cNvSpPr txBox="1"/>
            <p:nvPr/>
          </p:nvSpPr>
          <p:spPr>
            <a:xfrm>
              <a:off x="6110148" y="3908680"/>
              <a:ext cx="2796455" cy="40672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Part of the Murex team in Product engineering</a:t>
              </a: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80DD1648-96CA-472E-9D9D-1A6329A532AA}"/>
                </a:ext>
              </a:extLst>
            </p:cNvPr>
            <p:cNvSpPr/>
            <p:nvPr/>
          </p:nvSpPr>
          <p:spPr>
            <a:xfrm>
              <a:off x="436871" y="3611347"/>
              <a:ext cx="8488205" cy="26090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  <a:sym typeface="Helvetica Light"/>
                </a:rPr>
                <a:t>Notable Projects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73" name="TextBox 138">
              <a:extLst>
                <a:ext uri="{FF2B5EF4-FFF2-40B4-BE49-F238E27FC236}">
                  <a16:creationId xmlns:a16="http://schemas.microsoft.com/office/drawing/2014/main" id="{BE56558D-7310-4F18-8712-984FF2CD2801}"/>
                </a:ext>
              </a:extLst>
            </p:cNvPr>
            <p:cNvSpPr txBox="1"/>
            <p:nvPr/>
          </p:nvSpPr>
          <p:spPr>
            <a:xfrm>
              <a:off x="452241" y="4405196"/>
              <a:ext cx="2609079" cy="4074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rPr>
                <a:t>Interfaces – Upstream/ Downstream development for a leading Australian bank</a:t>
              </a:r>
            </a:p>
          </p:txBody>
        </p:sp>
        <p:sp>
          <p:nvSpPr>
            <p:cNvPr id="174" name="TextBox 139">
              <a:extLst>
                <a:ext uri="{FF2B5EF4-FFF2-40B4-BE49-F238E27FC236}">
                  <a16:creationId xmlns:a16="http://schemas.microsoft.com/office/drawing/2014/main" id="{B3C32433-EFDE-44BF-939A-E0F2FD5808D2}"/>
                </a:ext>
              </a:extLst>
            </p:cNvPr>
            <p:cNvSpPr txBox="1"/>
            <p:nvPr/>
          </p:nvSpPr>
          <p:spPr>
            <a:xfrm>
              <a:off x="3286026" y="4392945"/>
              <a:ext cx="2609079" cy="4074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rPr>
                <a:t>FO, BO and MO Support for leading EU banks</a:t>
              </a:r>
            </a:p>
          </p:txBody>
        </p:sp>
        <p:sp>
          <p:nvSpPr>
            <p:cNvPr id="175" name="TextBox 140">
              <a:extLst>
                <a:ext uri="{FF2B5EF4-FFF2-40B4-BE49-F238E27FC236}">
                  <a16:creationId xmlns:a16="http://schemas.microsoft.com/office/drawing/2014/main" id="{5F0D59C3-F6B6-479F-AD42-E155FD0F5622}"/>
                </a:ext>
              </a:extLst>
            </p:cNvPr>
            <p:cNvSpPr txBox="1"/>
            <p:nvPr/>
          </p:nvSpPr>
          <p:spPr>
            <a:xfrm>
              <a:off x="6110148" y="4418169"/>
              <a:ext cx="2796455" cy="40672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rPr>
                <a:t>Murex 3.1 upgrade for a leading bank in US</a:t>
              </a:r>
            </a:p>
          </p:txBody>
        </p:sp>
      </p:grpSp>
      <p:sp>
        <p:nvSpPr>
          <p:cNvPr id="160" name="TextBox 94">
            <a:extLst>
              <a:ext uri="{FF2B5EF4-FFF2-40B4-BE49-F238E27FC236}">
                <a16:creationId xmlns:a16="http://schemas.microsoft.com/office/drawing/2014/main" id="{C04991B1-429D-4903-9282-93980DDCFEB4}"/>
              </a:ext>
            </a:extLst>
          </p:cNvPr>
          <p:cNvSpPr txBox="1"/>
          <p:nvPr/>
        </p:nvSpPr>
        <p:spPr>
          <a:xfrm>
            <a:off x="540989" y="5534316"/>
            <a:ext cx="1846309" cy="350236"/>
          </a:xfrm>
          <a:prstGeom prst="rect">
            <a:avLst/>
          </a:prstGeom>
          <a:noFill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Arial" panose="020B0604020202020204" pitchFamily="34" charset="0"/>
                <a:sym typeface="Arial"/>
              </a:rPr>
              <a:t>Digital front end for Murex</a:t>
            </a:r>
          </a:p>
        </p:txBody>
      </p:sp>
      <p:sp>
        <p:nvSpPr>
          <p:cNvPr id="161" name="TextBox 94">
            <a:extLst>
              <a:ext uri="{FF2B5EF4-FFF2-40B4-BE49-F238E27FC236}">
                <a16:creationId xmlns:a16="http://schemas.microsoft.com/office/drawing/2014/main" id="{91037EB8-8C84-46BA-88E9-5D8207D235E5}"/>
              </a:ext>
            </a:extLst>
          </p:cNvPr>
          <p:cNvSpPr txBox="1"/>
          <p:nvPr/>
        </p:nvSpPr>
        <p:spPr>
          <a:xfrm>
            <a:off x="2626592" y="5534316"/>
            <a:ext cx="1846309" cy="350236"/>
          </a:xfrm>
          <a:prstGeom prst="rect">
            <a:avLst/>
          </a:prstGeom>
          <a:noFill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Arial" panose="020B0604020202020204" pitchFamily="34" charset="0"/>
                <a:sym typeface="Arial"/>
              </a:rPr>
              <a:t>Test Automation Framework</a:t>
            </a:r>
          </a:p>
        </p:txBody>
      </p:sp>
      <p:sp>
        <p:nvSpPr>
          <p:cNvPr id="162" name="TextBox 94">
            <a:extLst>
              <a:ext uri="{FF2B5EF4-FFF2-40B4-BE49-F238E27FC236}">
                <a16:creationId xmlns:a16="http://schemas.microsoft.com/office/drawing/2014/main" id="{50D874F7-27AB-4D2D-9B50-72B873E46EE1}"/>
              </a:ext>
            </a:extLst>
          </p:cNvPr>
          <p:cNvSpPr txBox="1"/>
          <p:nvPr/>
        </p:nvSpPr>
        <p:spPr>
          <a:xfrm>
            <a:off x="4712196" y="5534316"/>
            <a:ext cx="1846309" cy="350236"/>
          </a:xfrm>
          <a:prstGeom prst="rect">
            <a:avLst/>
          </a:prstGeom>
          <a:noFill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Arial" panose="020B0604020202020204" pitchFamily="34" charset="0"/>
                <a:sym typeface="Arial"/>
              </a:rPr>
              <a:t>Rapid Data Comparator – Accelerating migration</a:t>
            </a:r>
          </a:p>
        </p:txBody>
      </p:sp>
      <p:sp>
        <p:nvSpPr>
          <p:cNvPr id="163" name="TextBox 94">
            <a:extLst>
              <a:ext uri="{FF2B5EF4-FFF2-40B4-BE49-F238E27FC236}">
                <a16:creationId xmlns:a16="http://schemas.microsoft.com/office/drawing/2014/main" id="{61EA31FD-85FB-4C96-A037-D0B7C0F1D04E}"/>
              </a:ext>
            </a:extLst>
          </p:cNvPr>
          <p:cNvSpPr txBox="1"/>
          <p:nvPr/>
        </p:nvSpPr>
        <p:spPr>
          <a:xfrm>
            <a:off x="6797797" y="5534316"/>
            <a:ext cx="1846309" cy="350236"/>
          </a:xfrm>
          <a:prstGeom prst="rect">
            <a:avLst/>
          </a:prstGeom>
          <a:noFill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Arial" panose="020B0604020202020204" pitchFamily="34" charset="0"/>
                <a:sym typeface="Arial"/>
              </a:rPr>
              <a:t>Azure migration framework for Murex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0846DCA7-DFC0-475D-B471-F6646AEEA481}"/>
              </a:ext>
            </a:extLst>
          </p:cNvPr>
          <p:cNvCxnSpPr>
            <a:cxnSpLocks/>
          </p:cNvCxnSpPr>
          <p:nvPr/>
        </p:nvCxnSpPr>
        <p:spPr>
          <a:xfrm>
            <a:off x="6678153" y="5535495"/>
            <a:ext cx="0" cy="347877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4823FF3D-4ABE-4530-B25A-BB84A9A16E27}"/>
              </a:ext>
            </a:extLst>
          </p:cNvPr>
          <p:cNvCxnSpPr>
            <a:cxnSpLocks/>
          </p:cNvCxnSpPr>
          <p:nvPr/>
        </p:nvCxnSpPr>
        <p:spPr>
          <a:xfrm>
            <a:off x="4592549" y="5535495"/>
            <a:ext cx="0" cy="347877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6D118490-5590-4333-845E-2E0A55A96FDA}"/>
              </a:ext>
            </a:extLst>
          </p:cNvPr>
          <p:cNvCxnSpPr>
            <a:cxnSpLocks/>
          </p:cNvCxnSpPr>
          <p:nvPr/>
        </p:nvCxnSpPr>
        <p:spPr>
          <a:xfrm>
            <a:off x="2506945" y="5535495"/>
            <a:ext cx="0" cy="347877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E2EF2DA0-954A-AB40-068B-3FC9D69C4632}"/>
              </a:ext>
            </a:extLst>
          </p:cNvPr>
          <p:cNvSpPr/>
          <p:nvPr/>
        </p:nvSpPr>
        <p:spPr>
          <a:xfrm>
            <a:off x="3296080" y="3215310"/>
            <a:ext cx="1327299" cy="572211"/>
          </a:xfrm>
          <a:prstGeom prst="rect">
            <a:avLst/>
          </a:prstGeom>
          <a:ln>
            <a:noFill/>
          </a:ln>
        </p:spPr>
        <p:txBody>
          <a:bodyPr wrap="square" lIns="45720" r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+mn-cs"/>
                <a:sym typeface="Helvetica Light"/>
              </a:rPr>
              <a:t>Greenfield Implement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0C02071-650F-AE00-C0C3-55F8EA10A9DB}"/>
              </a:ext>
            </a:extLst>
          </p:cNvPr>
          <p:cNvCxnSpPr>
            <a:cxnSpLocks/>
          </p:cNvCxnSpPr>
          <p:nvPr/>
        </p:nvCxnSpPr>
        <p:spPr>
          <a:xfrm>
            <a:off x="4693143" y="3236954"/>
            <a:ext cx="0" cy="521816"/>
          </a:xfrm>
          <a:prstGeom prst="line">
            <a:avLst/>
          </a:prstGeom>
          <a:ln w="19050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084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51B86-47C2-D2E1-6832-6A88BF01F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Our Murex Service Offering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8931F7D-8D3F-485E-6FDA-AC3D2BB83B30}"/>
              </a:ext>
            </a:extLst>
          </p:cNvPr>
          <p:cNvSpPr/>
          <p:nvPr/>
        </p:nvSpPr>
        <p:spPr>
          <a:xfrm>
            <a:off x="534410" y="1641835"/>
            <a:ext cx="1792800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Legacy to Murex migration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duct Configuration – FO, MO, BO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Workflows, Interfaces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eports, Risk</a:t>
            </a: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arketdata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A5B8B88-6697-63B7-7CAA-6AABC73E4E6A}"/>
              </a:ext>
            </a:extLst>
          </p:cNvPr>
          <p:cNvSpPr/>
          <p:nvPr/>
        </p:nvSpPr>
        <p:spPr>
          <a:xfrm>
            <a:off x="6131888" y="1641835"/>
            <a:ext cx="1792800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Functional</a:t>
            </a: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ual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egression Testing 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Test Automation &amp; Framework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IT</a:t>
            </a: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1224243-54FF-912D-D967-FABA85DC75F2}"/>
              </a:ext>
            </a:extLst>
          </p:cNvPr>
          <p:cNvSpPr/>
          <p:nvPr/>
        </p:nvSpPr>
        <p:spPr>
          <a:xfrm>
            <a:off x="7997714" y="1641835"/>
            <a:ext cx="1792800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Level 1 /2/3 support 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nvironment support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OD Monitoring 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Infrastructure Support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15CB82B-22B9-EE66-09E6-CE6EE90EE263}"/>
              </a:ext>
            </a:extLst>
          </p:cNvPr>
          <p:cNvSpPr/>
          <p:nvPr/>
        </p:nvSpPr>
        <p:spPr>
          <a:xfrm>
            <a:off x="2400236" y="1641835"/>
            <a:ext cx="1792800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urex Migrations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Version upgrade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Database Migration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Integration upgrade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OS/Hardware Upgrad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456900D-01D5-45ED-C115-B4F488637D96}"/>
              </a:ext>
            </a:extLst>
          </p:cNvPr>
          <p:cNvSpPr/>
          <p:nvPr/>
        </p:nvSpPr>
        <p:spPr>
          <a:xfrm>
            <a:off x="9863538" y="1641835"/>
            <a:ext cx="1792800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OS/Murex Upgrade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onsulting and POC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Implementation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igration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anaged Services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05D145A-E049-5967-17C9-122131906F94}"/>
              </a:ext>
            </a:extLst>
          </p:cNvPr>
          <p:cNvSpPr/>
          <p:nvPr/>
        </p:nvSpPr>
        <p:spPr>
          <a:xfrm>
            <a:off x="4271052" y="1641835"/>
            <a:ext cx="1786315" cy="132563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Integration to </a:t>
            </a: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U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/Downstream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kern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Webservices API</a:t>
            </a:r>
          </a:p>
          <a:p>
            <a:pPr marL="216000" marR="0" lvl="1" indent="-21600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onfiguration across modules</a:t>
            </a:r>
          </a:p>
        </p:txBody>
      </p:sp>
      <p:sp>
        <p:nvSpPr>
          <p:cNvPr id="65" name="Rectangle: Top Corners Rounded 64">
            <a:extLst>
              <a:ext uri="{FF2B5EF4-FFF2-40B4-BE49-F238E27FC236}">
                <a16:creationId xmlns:a16="http://schemas.microsoft.com/office/drawing/2014/main" id="{D3577FF3-D7FD-BC6A-76F6-5A10CDFECA75}"/>
              </a:ext>
            </a:extLst>
          </p:cNvPr>
          <p:cNvSpPr/>
          <p:nvPr/>
        </p:nvSpPr>
        <p:spPr>
          <a:xfrm rot="5400000">
            <a:off x="1074659" y="2720737"/>
            <a:ext cx="708787" cy="1791304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600" b="1">
                <a:ea typeface="Calibri" panose="020F0502020204030204" pitchFamily="34" charset="0"/>
                <a:cs typeface="Calibri" panose="020F0502020204030204" pitchFamily="34" charset="0"/>
              </a:rPr>
              <a:t>Front Office</a:t>
            </a:r>
          </a:p>
        </p:txBody>
      </p:sp>
      <p:sp>
        <p:nvSpPr>
          <p:cNvPr id="66" name="Rectangle: Top Corners Rounded 65">
            <a:extLst>
              <a:ext uri="{FF2B5EF4-FFF2-40B4-BE49-F238E27FC236}">
                <a16:creationId xmlns:a16="http://schemas.microsoft.com/office/drawing/2014/main" id="{1C32F99C-3D07-393D-96EE-0D55B89D5BDF}"/>
              </a:ext>
            </a:extLst>
          </p:cNvPr>
          <p:cNvSpPr/>
          <p:nvPr/>
        </p:nvSpPr>
        <p:spPr>
          <a:xfrm rot="5400000">
            <a:off x="1074659" y="3531123"/>
            <a:ext cx="708787" cy="1791304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600" b="1">
                <a:ea typeface="Calibri" panose="020F0502020204030204" pitchFamily="34" charset="0"/>
                <a:cs typeface="Calibri" panose="020F0502020204030204" pitchFamily="34" charset="0"/>
              </a:rPr>
              <a:t>Mid/Back Office</a:t>
            </a:r>
          </a:p>
        </p:txBody>
      </p:sp>
      <p:sp>
        <p:nvSpPr>
          <p:cNvPr id="67" name="Rectangle: Top Corners Rounded 66">
            <a:extLst>
              <a:ext uri="{FF2B5EF4-FFF2-40B4-BE49-F238E27FC236}">
                <a16:creationId xmlns:a16="http://schemas.microsoft.com/office/drawing/2014/main" id="{E2C62B1D-D80C-5549-1502-8A857886F540}"/>
              </a:ext>
            </a:extLst>
          </p:cNvPr>
          <p:cNvSpPr/>
          <p:nvPr/>
        </p:nvSpPr>
        <p:spPr>
          <a:xfrm rot="5400000">
            <a:off x="1074659" y="4313076"/>
            <a:ext cx="708787" cy="1791304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1600" b="1">
                <a:ea typeface="Calibri" panose="020F0502020204030204" pitchFamily="34" charset="0"/>
                <a:cs typeface="Calibri" panose="020F0502020204030204" pitchFamily="34" charset="0"/>
              </a:rPr>
              <a:t>Technical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BB1339C-F497-C0C3-1253-9E68387B994D}"/>
              </a:ext>
            </a:extLst>
          </p:cNvPr>
          <p:cNvGrpSpPr/>
          <p:nvPr/>
        </p:nvGrpSpPr>
        <p:grpSpPr>
          <a:xfrm>
            <a:off x="2484452" y="3393476"/>
            <a:ext cx="134799" cy="2038164"/>
            <a:chOff x="2522215" y="4050339"/>
            <a:chExt cx="134799" cy="2038164"/>
          </a:xfrm>
        </p:grpSpPr>
        <p:sp>
          <p:nvSpPr>
            <p:cNvPr id="69" name="Isosceles Triangle 68">
              <a:extLst>
                <a:ext uri="{FF2B5EF4-FFF2-40B4-BE49-F238E27FC236}">
                  <a16:creationId xmlns:a16="http://schemas.microsoft.com/office/drawing/2014/main" id="{98F20745-63C3-9B1E-E134-942AE281653C}"/>
                </a:ext>
              </a:extLst>
            </p:cNvPr>
            <p:cNvSpPr/>
            <p:nvPr/>
          </p:nvSpPr>
          <p:spPr>
            <a:xfrm rot="5400000">
              <a:off x="2366702" y="4205852"/>
              <a:ext cx="445825" cy="134799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0" name="Isosceles Triangle 69">
              <a:extLst>
                <a:ext uri="{FF2B5EF4-FFF2-40B4-BE49-F238E27FC236}">
                  <a16:creationId xmlns:a16="http://schemas.microsoft.com/office/drawing/2014/main" id="{7BA523E6-AFD4-6E29-6AEB-F03B735DABCE}"/>
                </a:ext>
              </a:extLst>
            </p:cNvPr>
            <p:cNvSpPr/>
            <p:nvPr/>
          </p:nvSpPr>
          <p:spPr>
            <a:xfrm rot="5400000">
              <a:off x="2366702" y="5016238"/>
              <a:ext cx="445825" cy="134799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1" name="Isosceles Triangle 70">
              <a:extLst>
                <a:ext uri="{FF2B5EF4-FFF2-40B4-BE49-F238E27FC236}">
                  <a16:creationId xmlns:a16="http://schemas.microsoft.com/office/drawing/2014/main" id="{58044445-F290-552D-DFF8-7B84334FDA8E}"/>
                </a:ext>
              </a:extLst>
            </p:cNvPr>
            <p:cNvSpPr/>
            <p:nvPr/>
          </p:nvSpPr>
          <p:spPr>
            <a:xfrm rot="5400000">
              <a:off x="2366702" y="5798191"/>
              <a:ext cx="445825" cy="134799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0BAB2AC0-1460-E3F0-EBF3-781D52B9A284}"/>
              </a:ext>
            </a:extLst>
          </p:cNvPr>
          <p:cNvSpPr txBox="1">
            <a:spLocks/>
          </p:cNvSpPr>
          <p:nvPr/>
        </p:nvSpPr>
        <p:spPr>
          <a:xfrm>
            <a:off x="2778999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tatic Data, System Configuration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305F228E-0A03-2419-7CB2-69B9AFBB9488}"/>
              </a:ext>
            </a:extLst>
          </p:cNvPr>
          <p:cNvSpPr txBox="1">
            <a:spLocks/>
          </p:cNvSpPr>
          <p:nvPr/>
        </p:nvSpPr>
        <p:spPr>
          <a:xfrm>
            <a:off x="2778999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ayments</a:t>
            </a:r>
          </a:p>
        </p:txBody>
      </p:sp>
      <p:sp>
        <p:nvSpPr>
          <p:cNvPr id="74" name="Content Placeholder 2">
            <a:extLst>
              <a:ext uri="{FF2B5EF4-FFF2-40B4-BE49-F238E27FC236}">
                <a16:creationId xmlns:a16="http://schemas.microsoft.com/office/drawing/2014/main" id="{11026E8E-32D5-573D-45F5-EB09E48854A8}"/>
              </a:ext>
            </a:extLst>
          </p:cNvPr>
          <p:cNvSpPr txBox="1">
            <a:spLocks/>
          </p:cNvSpPr>
          <p:nvPr/>
        </p:nvSpPr>
        <p:spPr>
          <a:xfrm>
            <a:off x="4271052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LC</a:t>
            </a: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B989E955-3BC2-B585-0223-547BF9F0E4AA}"/>
              </a:ext>
            </a:extLst>
          </p:cNvPr>
          <p:cNvSpPr txBox="1">
            <a:spLocks/>
          </p:cNvSpPr>
          <p:nvPr/>
        </p:nvSpPr>
        <p:spPr>
          <a:xfrm>
            <a:off x="4271052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onfirmations</a:t>
            </a:r>
          </a:p>
        </p:txBody>
      </p: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B1405280-8B47-D524-3140-BD77E46424FF}"/>
              </a:ext>
            </a:extLst>
          </p:cNvPr>
          <p:cNvSpPr txBox="1">
            <a:spLocks/>
          </p:cNvSpPr>
          <p:nvPr/>
        </p:nvSpPr>
        <p:spPr>
          <a:xfrm>
            <a:off x="5763105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VaR</a:t>
            </a:r>
          </a:p>
        </p:txBody>
      </p:sp>
      <p:sp>
        <p:nvSpPr>
          <p:cNvPr id="77" name="Content Placeholder 2">
            <a:extLst>
              <a:ext uri="{FF2B5EF4-FFF2-40B4-BE49-F238E27FC236}">
                <a16:creationId xmlns:a16="http://schemas.microsoft.com/office/drawing/2014/main" id="{8113D7E9-0159-6C58-0B0C-7E12C58335C1}"/>
              </a:ext>
            </a:extLst>
          </p:cNvPr>
          <p:cNvSpPr txBox="1">
            <a:spLocks/>
          </p:cNvSpPr>
          <p:nvPr/>
        </p:nvSpPr>
        <p:spPr>
          <a:xfrm>
            <a:off x="5763105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WIFT</a:t>
            </a:r>
          </a:p>
        </p:txBody>
      </p:sp>
      <p:sp>
        <p:nvSpPr>
          <p:cNvPr id="78" name="Content Placeholder 2">
            <a:extLst>
              <a:ext uri="{FF2B5EF4-FFF2-40B4-BE49-F238E27FC236}">
                <a16:creationId xmlns:a16="http://schemas.microsoft.com/office/drawing/2014/main" id="{68950D56-660F-9E82-8B15-B0EA6222CB19}"/>
              </a:ext>
            </a:extLst>
          </p:cNvPr>
          <p:cNvSpPr txBox="1">
            <a:spLocks/>
          </p:cNvSpPr>
          <p:nvPr/>
        </p:nvSpPr>
        <p:spPr>
          <a:xfrm>
            <a:off x="7255158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isk Matrices</a:t>
            </a:r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55246787-CAC7-6B2C-8B1B-F5A972F66B1C}"/>
              </a:ext>
            </a:extLst>
          </p:cNvPr>
          <p:cNvSpPr txBox="1">
            <a:spLocks/>
          </p:cNvSpPr>
          <p:nvPr/>
        </p:nvSpPr>
        <p:spPr>
          <a:xfrm>
            <a:off x="7255158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Accounting</a:t>
            </a: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B453C0C1-42D8-D231-54D3-D2E4C74D39C6}"/>
              </a:ext>
            </a:extLst>
          </p:cNvPr>
          <p:cNvSpPr txBox="1">
            <a:spLocks/>
          </p:cNvSpPr>
          <p:nvPr/>
        </p:nvSpPr>
        <p:spPr>
          <a:xfrm>
            <a:off x="10239263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ollateral</a:t>
            </a:r>
          </a:p>
        </p:txBody>
      </p:sp>
      <p:sp>
        <p:nvSpPr>
          <p:cNvPr id="81" name="Content Placeholder 2">
            <a:extLst>
              <a:ext uri="{FF2B5EF4-FFF2-40B4-BE49-F238E27FC236}">
                <a16:creationId xmlns:a16="http://schemas.microsoft.com/office/drawing/2014/main" id="{A593C13D-C2A6-458E-B52F-2582832BF418}"/>
              </a:ext>
            </a:extLst>
          </p:cNvPr>
          <p:cNvSpPr txBox="1">
            <a:spLocks/>
          </p:cNvSpPr>
          <p:nvPr/>
        </p:nvSpPr>
        <p:spPr>
          <a:xfrm>
            <a:off x="10239263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TP/Trade Workflow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Content Placeholder 2">
            <a:extLst>
              <a:ext uri="{FF2B5EF4-FFF2-40B4-BE49-F238E27FC236}">
                <a16:creationId xmlns:a16="http://schemas.microsoft.com/office/drawing/2014/main" id="{9546404A-3401-1563-40E4-8B8133C637F3}"/>
              </a:ext>
            </a:extLst>
          </p:cNvPr>
          <p:cNvSpPr txBox="1">
            <a:spLocks/>
          </p:cNvSpPr>
          <p:nvPr/>
        </p:nvSpPr>
        <p:spPr>
          <a:xfrm>
            <a:off x="8747211" y="4074492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 &amp; L Analysis</a:t>
            </a:r>
          </a:p>
        </p:txBody>
      </p:sp>
      <p:sp>
        <p:nvSpPr>
          <p:cNvPr id="83" name="Content Placeholder 2">
            <a:extLst>
              <a:ext uri="{FF2B5EF4-FFF2-40B4-BE49-F238E27FC236}">
                <a16:creationId xmlns:a16="http://schemas.microsoft.com/office/drawing/2014/main" id="{3C0BDD68-067C-5901-22DF-73004EB8F0F0}"/>
              </a:ext>
            </a:extLst>
          </p:cNvPr>
          <p:cNvSpPr txBox="1">
            <a:spLocks/>
          </p:cNvSpPr>
          <p:nvPr/>
        </p:nvSpPr>
        <p:spPr>
          <a:xfrm>
            <a:off x="8747211" y="4470907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eporting</a:t>
            </a:r>
          </a:p>
        </p:txBody>
      </p: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F6239105-3E6D-1001-0BD8-7152862A7116}"/>
              </a:ext>
            </a:extLst>
          </p:cNvPr>
          <p:cNvSpPr txBox="1">
            <a:spLocks/>
          </p:cNvSpPr>
          <p:nvPr/>
        </p:nvSpPr>
        <p:spPr>
          <a:xfrm>
            <a:off x="2778999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xML Workflow</a:t>
            </a:r>
          </a:p>
        </p:txBody>
      </p:sp>
      <p:sp>
        <p:nvSpPr>
          <p:cNvPr id="85" name="Content Placeholder 2">
            <a:extLst>
              <a:ext uri="{FF2B5EF4-FFF2-40B4-BE49-F238E27FC236}">
                <a16:creationId xmlns:a16="http://schemas.microsoft.com/office/drawing/2014/main" id="{B9CAA231-B0C6-5013-A571-A4C8316E7DBF}"/>
              </a:ext>
            </a:extLst>
          </p:cNvPr>
          <p:cNvSpPr txBox="1">
            <a:spLocks/>
          </p:cNvSpPr>
          <p:nvPr/>
        </p:nvSpPr>
        <p:spPr>
          <a:xfrm>
            <a:off x="2778999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cessing Scripts</a:t>
            </a:r>
          </a:p>
        </p:txBody>
      </p:sp>
      <p:sp>
        <p:nvSpPr>
          <p:cNvPr id="86" name="Content Placeholder 2">
            <a:extLst>
              <a:ext uri="{FF2B5EF4-FFF2-40B4-BE49-F238E27FC236}">
                <a16:creationId xmlns:a16="http://schemas.microsoft.com/office/drawing/2014/main" id="{DE74EB9D-A223-E1B1-2ACF-92C3E9E4C312}"/>
              </a:ext>
            </a:extLst>
          </p:cNvPr>
          <p:cNvSpPr txBox="1">
            <a:spLocks/>
          </p:cNvSpPr>
          <p:nvPr/>
        </p:nvSpPr>
        <p:spPr>
          <a:xfrm>
            <a:off x="4271052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2 Interfaces</a:t>
            </a:r>
          </a:p>
        </p:txBody>
      </p:sp>
      <p:sp>
        <p:nvSpPr>
          <p:cNvPr id="87" name="Content Placeholder 2">
            <a:extLst>
              <a:ext uri="{FF2B5EF4-FFF2-40B4-BE49-F238E27FC236}">
                <a16:creationId xmlns:a16="http://schemas.microsoft.com/office/drawing/2014/main" id="{A464281A-0AD8-B349-F182-176B31A5CC96}"/>
              </a:ext>
            </a:extLst>
          </p:cNvPr>
          <p:cNvSpPr txBox="1">
            <a:spLocks/>
          </p:cNvSpPr>
          <p:nvPr/>
        </p:nvSpPr>
        <p:spPr>
          <a:xfrm>
            <a:off x="4271052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Load Balancing</a:t>
            </a:r>
          </a:p>
        </p:txBody>
      </p:sp>
      <p:sp>
        <p:nvSpPr>
          <p:cNvPr id="88" name="Content Placeholder 2">
            <a:extLst>
              <a:ext uri="{FF2B5EF4-FFF2-40B4-BE49-F238E27FC236}">
                <a16:creationId xmlns:a16="http://schemas.microsoft.com/office/drawing/2014/main" id="{E059D64D-A982-E348-68BB-9A6FA8490A5C}"/>
              </a:ext>
            </a:extLst>
          </p:cNvPr>
          <p:cNvSpPr txBox="1">
            <a:spLocks/>
          </p:cNvSpPr>
          <p:nvPr/>
        </p:nvSpPr>
        <p:spPr>
          <a:xfrm>
            <a:off x="5763105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Datamart &amp; Reporting</a:t>
            </a:r>
          </a:p>
        </p:txBody>
      </p: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C9DBF7A-1AB2-6676-9ADB-3062FEB97059}"/>
              </a:ext>
            </a:extLst>
          </p:cNvPr>
          <p:cNvSpPr txBox="1">
            <a:spLocks/>
          </p:cNvSpPr>
          <p:nvPr/>
        </p:nvSpPr>
        <p:spPr>
          <a:xfrm>
            <a:off x="5763105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Housekeeping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3D93D78C-BF2B-86B9-73D6-0F580B97982B}"/>
              </a:ext>
            </a:extLst>
          </p:cNvPr>
          <p:cNvSpPr txBox="1">
            <a:spLocks/>
          </p:cNvSpPr>
          <p:nvPr/>
        </p:nvSpPr>
        <p:spPr>
          <a:xfrm>
            <a:off x="7255158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OD Configuration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71AA276A-31EC-31DE-C7A0-E6EED831770D}"/>
              </a:ext>
            </a:extLst>
          </p:cNvPr>
          <p:cNvSpPr txBox="1">
            <a:spLocks/>
          </p:cNvSpPr>
          <p:nvPr/>
        </p:nvSpPr>
        <p:spPr>
          <a:xfrm>
            <a:off x="7255158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cess Automation</a:t>
            </a:r>
          </a:p>
        </p:txBody>
      </p:sp>
      <p:sp>
        <p:nvSpPr>
          <p:cNvPr id="92" name="Content Placeholder 2">
            <a:extLst>
              <a:ext uri="{FF2B5EF4-FFF2-40B4-BE49-F238E27FC236}">
                <a16:creationId xmlns:a16="http://schemas.microsoft.com/office/drawing/2014/main" id="{256A3ED4-5A05-517E-DE37-74D555499722}"/>
              </a:ext>
            </a:extLst>
          </p:cNvPr>
          <p:cNvSpPr txBox="1">
            <a:spLocks/>
          </p:cNvSpPr>
          <p:nvPr/>
        </p:nvSpPr>
        <p:spPr>
          <a:xfrm>
            <a:off x="10239263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Test Automation</a:t>
            </a:r>
          </a:p>
        </p:txBody>
      </p:sp>
      <p:sp>
        <p:nvSpPr>
          <p:cNvPr id="93" name="Content Placeholder 2">
            <a:extLst>
              <a:ext uri="{FF2B5EF4-FFF2-40B4-BE49-F238E27FC236}">
                <a16:creationId xmlns:a16="http://schemas.microsoft.com/office/drawing/2014/main" id="{01E26FAA-AE59-8065-B566-0750CE1E6846}"/>
              </a:ext>
            </a:extLst>
          </p:cNvPr>
          <p:cNvSpPr txBox="1">
            <a:spLocks/>
          </p:cNvSpPr>
          <p:nvPr/>
        </p:nvSpPr>
        <p:spPr>
          <a:xfrm>
            <a:off x="10239263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CTT</a:t>
            </a:r>
          </a:p>
        </p:txBody>
      </p:sp>
      <p:sp>
        <p:nvSpPr>
          <p:cNvPr id="94" name="Content Placeholder 2">
            <a:extLst>
              <a:ext uri="{FF2B5EF4-FFF2-40B4-BE49-F238E27FC236}">
                <a16:creationId xmlns:a16="http://schemas.microsoft.com/office/drawing/2014/main" id="{FEA10152-DF47-9625-00D2-8A0FFB179950}"/>
              </a:ext>
            </a:extLst>
          </p:cNvPr>
          <p:cNvSpPr txBox="1">
            <a:spLocks/>
          </p:cNvSpPr>
          <p:nvPr/>
        </p:nvSpPr>
        <p:spPr>
          <a:xfrm>
            <a:off x="8747211" y="4856444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nvironment Management</a:t>
            </a: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30EB0458-2FC3-FABD-678F-AC02EDF5CB47}"/>
              </a:ext>
            </a:extLst>
          </p:cNvPr>
          <p:cNvSpPr txBox="1">
            <a:spLocks/>
          </p:cNvSpPr>
          <p:nvPr/>
        </p:nvSpPr>
        <p:spPr>
          <a:xfrm>
            <a:off x="8747211" y="525286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Health Check</a:t>
            </a: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7466126B-7904-1299-2DF2-957984AB8765}"/>
              </a:ext>
            </a:extLst>
          </p:cNvPr>
          <p:cNvSpPr txBox="1">
            <a:spLocks/>
          </p:cNvSpPr>
          <p:nvPr/>
        </p:nvSpPr>
        <p:spPr>
          <a:xfrm>
            <a:off x="2778999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ystem Configuration</a:t>
            </a: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96B88C27-EB8E-7843-F29C-2BA735E22EDA}"/>
              </a:ext>
            </a:extLst>
          </p:cNvPr>
          <p:cNvSpPr txBox="1">
            <a:spLocks/>
          </p:cNvSpPr>
          <p:nvPr/>
        </p:nvSpPr>
        <p:spPr>
          <a:xfrm>
            <a:off x="2778999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TI and MDCS</a:t>
            </a:r>
          </a:p>
        </p:txBody>
      </p:sp>
      <p:sp>
        <p:nvSpPr>
          <p:cNvPr id="98" name="Content Placeholder 2">
            <a:extLst>
              <a:ext uri="{FF2B5EF4-FFF2-40B4-BE49-F238E27FC236}">
                <a16:creationId xmlns:a16="http://schemas.microsoft.com/office/drawing/2014/main" id="{833CEF98-452A-8381-6028-E72AA0E1D08A}"/>
              </a:ext>
            </a:extLst>
          </p:cNvPr>
          <p:cNvSpPr txBox="1">
            <a:spLocks/>
          </p:cNvSpPr>
          <p:nvPr/>
        </p:nvSpPr>
        <p:spPr>
          <a:xfrm>
            <a:off x="4271052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icing</a:t>
            </a:r>
          </a:p>
        </p:txBody>
      </p:sp>
      <p:sp>
        <p:nvSpPr>
          <p:cNvPr id="99" name="Content Placeholder 2">
            <a:extLst>
              <a:ext uri="{FF2B5EF4-FFF2-40B4-BE49-F238E27FC236}">
                <a16:creationId xmlns:a16="http://schemas.microsoft.com/office/drawing/2014/main" id="{70BDD1FC-E78F-3B83-413D-A6A25AD405CC}"/>
              </a:ext>
            </a:extLst>
          </p:cNvPr>
          <p:cNvSpPr txBox="1">
            <a:spLocks/>
          </p:cNvSpPr>
          <p:nvPr/>
        </p:nvSpPr>
        <p:spPr>
          <a:xfrm>
            <a:off x="4271052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Deal Capture</a:t>
            </a:r>
          </a:p>
        </p:txBody>
      </p:sp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id="{3DEE6567-2A65-00F5-A843-DFF268E1B4E8}"/>
              </a:ext>
            </a:extLst>
          </p:cNvPr>
          <p:cNvSpPr txBox="1">
            <a:spLocks/>
          </p:cNvSpPr>
          <p:nvPr/>
        </p:nvSpPr>
        <p:spPr>
          <a:xfrm>
            <a:off x="5763105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odel Integration</a:t>
            </a:r>
          </a:p>
        </p:txBody>
      </p: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860F8293-078B-4A76-7D97-E110BED76A84}"/>
              </a:ext>
            </a:extLst>
          </p:cNvPr>
          <p:cNvSpPr txBox="1">
            <a:spLocks/>
          </p:cNvSpPr>
          <p:nvPr/>
        </p:nvSpPr>
        <p:spPr>
          <a:xfrm>
            <a:off x="5763105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arket Parameters</a:t>
            </a:r>
          </a:p>
        </p:txBody>
      </p:sp>
      <p:sp>
        <p:nvSpPr>
          <p:cNvPr id="102" name="Content Placeholder 2">
            <a:extLst>
              <a:ext uri="{FF2B5EF4-FFF2-40B4-BE49-F238E27FC236}">
                <a16:creationId xmlns:a16="http://schemas.microsoft.com/office/drawing/2014/main" id="{2CC34353-BFFA-A923-0CE1-1FD46314AF80}"/>
              </a:ext>
            </a:extLst>
          </p:cNvPr>
          <p:cNvSpPr txBox="1">
            <a:spLocks/>
          </p:cNvSpPr>
          <p:nvPr/>
        </p:nvSpPr>
        <p:spPr>
          <a:xfrm>
            <a:off x="7255158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Simulation</a:t>
            </a:r>
          </a:p>
        </p:txBody>
      </p:sp>
      <p:sp>
        <p:nvSpPr>
          <p:cNvPr id="103" name="Content Placeholder 2">
            <a:extLst>
              <a:ext uri="{FF2B5EF4-FFF2-40B4-BE49-F238E27FC236}">
                <a16:creationId xmlns:a16="http://schemas.microsoft.com/office/drawing/2014/main" id="{A849D9ED-126E-E0BA-C84B-82E02261790A}"/>
              </a:ext>
            </a:extLst>
          </p:cNvPr>
          <p:cNvSpPr txBox="1">
            <a:spLocks/>
          </p:cNvSpPr>
          <p:nvPr/>
        </p:nvSpPr>
        <p:spPr>
          <a:xfrm>
            <a:off x="7255158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Trade Workflows</a:t>
            </a:r>
          </a:p>
        </p:txBody>
      </p:sp>
      <p:sp>
        <p:nvSpPr>
          <p:cNvPr id="104" name="Content Placeholder 2">
            <a:extLst>
              <a:ext uri="{FF2B5EF4-FFF2-40B4-BE49-F238E27FC236}">
                <a16:creationId xmlns:a16="http://schemas.microsoft.com/office/drawing/2014/main" id="{46D3DC11-8FC0-B7F5-B3B5-615ABF63A04C}"/>
              </a:ext>
            </a:extLst>
          </p:cNvPr>
          <p:cNvSpPr txBox="1">
            <a:spLocks/>
          </p:cNvSpPr>
          <p:nvPr/>
        </p:nvSpPr>
        <p:spPr>
          <a:xfrm>
            <a:off x="10239263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L VAR, PL/Risk Analysis</a:t>
            </a:r>
          </a:p>
        </p:txBody>
      </p:sp>
      <p:sp>
        <p:nvSpPr>
          <p:cNvPr id="105" name="Content Placeholder 2">
            <a:extLst>
              <a:ext uri="{FF2B5EF4-FFF2-40B4-BE49-F238E27FC236}">
                <a16:creationId xmlns:a16="http://schemas.microsoft.com/office/drawing/2014/main" id="{C728043F-BCA7-F169-92F8-4A9115625276}"/>
              </a:ext>
            </a:extLst>
          </p:cNvPr>
          <p:cNvSpPr txBox="1">
            <a:spLocks/>
          </p:cNvSpPr>
          <p:nvPr/>
        </p:nvSpPr>
        <p:spPr>
          <a:xfrm>
            <a:off x="10239263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eporting</a:t>
            </a:r>
          </a:p>
        </p:txBody>
      </p:sp>
      <p:sp>
        <p:nvSpPr>
          <p:cNvPr id="106" name="Content Placeholder 2">
            <a:extLst>
              <a:ext uri="{FF2B5EF4-FFF2-40B4-BE49-F238E27FC236}">
                <a16:creationId xmlns:a16="http://schemas.microsoft.com/office/drawing/2014/main" id="{5F9D577B-A1C0-17A9-156C-185057A9C5F4}"/>
              </a:ext>
            </a:extLst>
          </p:cNvPr>
          <p:cNvSpPr txBox="1">
            <a:spLocks/>
          </p:cNvSpPr>
          <p:nvPr/>
        </p:nvSpPr>
        <p:spPr>
          <a:xfrm>
            <a:off x="8747211" y="3264106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Tradepad</a:t>
            </a:r>
          </a:p>
        </p:txBody>
      </p:sp>
      <p:sp>
        <p:nvSpPr>
          <p:cNvPr id="107" name="Content Placeholder 2">
            <a:extLst>
              <a:ext uri="{FF2B5EF4-FFF2-40B4-BE49-F238E27FC236}">
                <a16:creationId xmlns:a16="http://schemas.microsoft.com/office/drawing/2014/main" id="{2CE8D7C1-AB50-C0F6-033D-38971B4CC817}"/>
              </a:ext>
            </a:extLst>
          </p:cNvPr>
          <p:cNvSpPr txBox="1">
            <a:spLocks/>
          </p:cNvSpPr>
          <p:nvPr/>
        </p:nvSpPr>
        <p:spPr>
          <a:xfrm>
            <a:off x="8747211" y="3660521"/>
            <a:ext cx="1411200" cy="308149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defRPr sz="900">
                <a:solidFill>
                  <a:schemeClr val="bg1"/>
                </a:solidFill>
                <a:cs typeface="Arial" pitchFamily="34" charset="0"/>
              </a:defRPr>
            </a:lvl1pPr>
            <a:lvl2pPr marL="2286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2pPr>
            <a:lvl3pPr marL="457200" indent="-228600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80000"/>
              <a:buFont typeface="Arial" panose="020B0604020202020204" pitchFamily="34" charset="0"/>
              <a:buChar char="–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3pPr>
            <a:lvl4pPr marL="685800" indent="-230188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SzPct val="100000"/>
              <a:buFont typeface="Wingdings" pitchFamily="2" charset="2"/>
              <a:buChar char=""/>
              <a:defRPr>
                <a:solidFill>
                  <a:srgbClr val="4D4F5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840"/>
              </a:spcBef>
              <a:buFont typeface="Arial" pitchFamily="34" charset="0"/>
              <a:buChar char="»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rgbClr val="4D4F5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e-Trade Rules</a:t>
            </a:r>
          </a:p>
        </p:txBody>
      </p:sp>
      <p:sp>
        <p:nvSpPr>
          <p:cNvPr id="108" name="Rectangle: Top Corners Rounded 107">
            <a:extLst>
              <a:ext uri="{FF2B5EF4-FFF2-40B4-BE49-F238E27FC236}">
                <a16:creationId xmlns:a16="http://schemas.microsoft.com/office/drawing/2014/main" id="{6E81A792-31B9-D621-F6FC-981CF726DDEB}"/>
              </a:ext>
            </a:extLst>
          </p:cNvPr>
          <p:cNvSpPr/>
          <p:nvPr/>
        </p:nvSpPr>
        <p:spPr>
          <a:xfrm>
            <a:off x="538166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Implementation</a:t>
            </a:r>
          </a:p>
        </p:txBody>
      </p:sp>
      <p:sp>
        <p:nvSpPr>
          <p:cNvPr id="109" name="Rectangle: Top Corners Rounded 108">
            <a:extLst>
              <a:ext uri="{FF2B5EF4-FFF2-40B4-BE49-F238E27FC236}">
                <a16:creationId xmlns:a16="http://schemas.microsoft.com/office/drawing/2014/main" id="{3FE6584D-C983-7D09-019D-AED2A8B3EDDB}"/>
              </a:ext>
            </a:extLst>
          </p:cNvPr>
          <p:cNvSpPr/>
          <p:nvPr/>
        </p:nvSpPr>
        <p:spPr>
          <a:xfrm>
            <a:off x="6135644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Testing</a:t>
            </a:r>
          </a:p>
        </p:txBody>
      </p:sp>
      <p:sp>
        <p:nvSpPr>
          <p:cNvPr id="110" name="Rectangle: Top Corners Rounded 109">
            <a:extLst>
              <a:ext uri="{FF2B5EF4-FFF2-40B4-BE49-F238E27FC236}">
                <a16:creationId xmlns:a16="http://schemas.microsoft.com/office/drawing/2014/main" id="{1F4877D8-06A6-18E7-EC84-8FE7367EBA60}"/>
              </a:ext>
            </a:extLst>
          </p:cNvPr>
          <p:cNvSpPr/>
          <p:nvPr/>
        </p:nvSpPr>
        <p:spPr>
          <a:xfrm>
            <a:off x="8001470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BAU - Run the Bank</a:t>
            </a:r>
          </a:p>
        </p:txBody>
      </p:sp>
      <p:sp>
        <p:nvSpPr>
          <p:cNvPr id="111" name="Rectangle: Top Corners Rounded 110">
            <a:extLst>
              <a:ext uri="{FF2B5EF4-FFF2-40B4-BE49-F238E27FC236}">
                <a16:creationId xmlns:a16="http://schemas.microsoft.com/office/drawing/2014/main" id="{969C67B8-7B1E-B0F3-FBB0-4D9D4388F743}"/>
              </a:ext>
            </a:extLst>
          </p:cNvPr>
          <p:cNvSpPr/>
          <p:nvPr/>
        </p:nvSpPr>
        <p:spPr>
          <a:xfrm>
            <a:off x="2403992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Upgrade Service</a:t>
            </a:r>
          </a:p>
        </p:txBody>
      </p:sp>
      <p:sp>
        <p:nvSpPr>
          <p:cNvPr id="112" name="Rectangle: Top Corners Rounded 111">
            <a:extLst>
              <a:ext uri="{FF2B5EF4-FFF2-40B4-BE49-F238E27FC236}">
                <a16:creationId xmlns:a16="http://schemas.microsoft.com/office/drawing/2014/main" id="{D78E86D4-3FDA-178A-EA73-564171EB8DCC}"/>
              </a:ext>
            </a:extLst>
          </p:cNvPr>
          <p:cNvSpPr/>
          <p:nvPr/>
        </p:nvSpPr>
        <p:spPr>
          <a:xfrm>
            <a:off x="9867294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Murex on Cloud</a:t>
            </a:r>
          </a:p>
        </p:txBody>
      </p:sp>
      <p:sp>
        <p:nvSpPr>
          <p:cNvPr id="113" name="Rectangle: Top Corners Rounded 112">
            <a:extLst>
              <a:ext uri="{FF2B5EF4-FFF2-40B4-BE49-F238E27FC236}">
                <a16:creationId xmlns:a16="http://schemas.microsoft.com/office/drawing/2014/main" id="{B40B80C5-2706-ADD8-7C09-F8EFBCDF0EB6}"/>
              </a:ext>
            </a:extLst>
          </p:cNvPr>
          <p:cNvSpPr/>
          <p:nvPr/>
        </p:nvSpPr>
        <p:spPr>
          <a:xfrm>
            <a:off x="4269818" y="1133344"/>
            <a:ext cx="1791305" cy="398344"/>
          </a:xfrm>
          <a:prstGeom prst="round2SameRect">
            <a:avLst/>
          </a:prstGeom>
          <a:solidFill>
            <a:srgbClr val="0065B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Enhancements </a:t>
            </a:r>
          </a:p>
        </p:txBody>
      </p:sp>
    </p:spTree>
    <p:extLst>
      <p:ext uri="{BB962C8B-B14F-4D97-AF65-F5344CB8AC3E}">
        <p14:creationId xmlns:p14="http://schemas.microsoft.com/office/powerpoint/2010/main" val="695125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345EE-956D-4B33-4F0A-76577A385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B94195-C7AB-3900-4DA3-0C012494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ents and projec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A5087E-D318-47F2-1BD8-4EEE00923C90}"/>
              </a:ext>
            </a:extLst>
          </p:cNvPr>
          <p:cNvSpPr/>
          <p:nvPr/>
        </p:nvSpPr>
        <p:spPr>
          <a:xfrm>
            <a:off x="533606" y="4062367"/>
            <a:ext cx="2656800" cy="1829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upport, Maintenance &amp; enhance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t Interfaces with 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ML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and repor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tegration of high volume trade imports using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Trade Data Synchronization( TDS)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too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Configured the Market data Import with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D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Validation of workflows and repor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DEE886-BCF3-B052-43E1-510E03BAA57A}"/>
              </a:ext>
            </a:extLst>
          </p:cNvPr>
          <p:cNvSpPr/>
          <p:nvPr/>
        </p:nvSpPr>
        <p:spPr>
          <a:xfrm>
            <a:off x="3356266" y="4062367"/>
            <a:ext cx="2656800" cy="1829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Murex reporting in greenfield implementation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72 Complex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Report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are being designed, built and tested in just 3 Months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Murex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implementa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was back on track and went live on time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rutiger 45 Ligh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45DC1BDF-77AC-A107-E36E-3561464307EB}"/>
              </a:ext>
            </a:extLst>
          </p:cNvPr>
          <p:cNvSpPr/>
          <p:nvPr/>
        </p:nvSpPr>
        <p:spPr>
          <a:xfrm>
            <a:off x="533399" y="3705375"/>
            <a:ext cx="2657215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Northern Trust, U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781D775-2C3C-C7FD-8D39-F7A1214C5F90}"/>
              </a:ext>
            </a:extLst>
          </p:cNvPr>
          <p:cNvSpPr/>
          <p:nvPr/>
        </p:nvSpPr>
        <p:spPr>
          <a:xfrm>
            <a:off x="6178926" y="1395553"/>
            <a:ext cx="2656800" cy="21636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Version Upgra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upported the upgrade in line with 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Ua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methodology –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 3.1.36 to 46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id the changes needed for upgrade in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ack Office Operation and Process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t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regression test package(RTP)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 MXTEST, for upgra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upported the various test cycles of the upgra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one the validation with MXTE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28A8DA4-E6BA-6484-F586-4319AEA5297D}"/>
              </a:ext>
            </a:extLst>
          </p:cNvPr>
          <p:cNvSpPr/>
          <p:nvPr/>
        </p:nvSpPr>
        <p:spPr>
          <a:xfrm>
            <a:off x="533606" y="1395553"/>
            <a:ext cx="2656800" cy="21636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Greenfield Implement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GO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setup for Capital Markets Divi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Front Offic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Configuration and Integration, Supported in Testing and validation of the configu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t 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atamar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extractions and reports supporting various desks and divis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Upgrade (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UaaS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Support the upgrade in line with Murex delivery model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6818E07D-1FB5-AA08-3F49-43385A09AB88}"/>
              </a:ext>
            </a:extLst>
          </p:cNvPr>
          <p:cNvSpPr/>
          <p:nvPr/>
        </p:nvSpPr>
        <p:spPr>
          <a:xfrm>
            <a:off x="6186988" y="1045026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Jeffries, US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D43B428C-8214-69D4-A4BE-0E0F21942836}"/>
              </a:ext>
            </a:extLst>
          </p:cNvPr>
          <p:cNvSpPr/>
          <p:nvPr/>
        </p:nvSpPr>
        <p:spPr>
          <a:xfrm>
            <a:off x="3360193" y="1045026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tate Street, U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46AB9F82-3608-070E-3B30-BD2DD1746D3C}"/>
              </a:ext>
            </a:extLst>
          </p:cNvPr>
          <p:cNvSpPr/>
          <p:nvPr/>
        </p:nvSpPr>
        <p:spPr>
          <a:xfrm>
            <a:off x="533398" y="1045026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World Bank Group, U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B121DB-93AB-78BE-420B-4BD4E5A8E34F}"/>
              </a:ext>
            </a:extLst>
          </p:cNvPr>
          <p:cNvSpPr/>
          <p:nvPr/>
        </p:nvSpPr>
        <p:spPr>
          <a:xfrm>
            <a:off x="3356266" y="1395553"/>
            <a:ext cx="2656800" cy="21636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FRTB Implement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upported in evaluating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FRTB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requirement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Executed in line with Murex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CI/CD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process, in agile mod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Front Office Configur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Automation of the respective test cases and Integration testing with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TES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d related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imulation reports and extractions</a:t>
            </a: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1D8BD061-13EF-1C94-08A8-E09F3C8B47BC}"/>
              </a:ext>
            </a:extLst>
          </p:cNvPr>
          <p:cNvSpPr/>
          <p:nvPr/>
        </p:nvSpPr>
        <p:spPr>
          <a:xfrm>
            <a:off x="3356059" y="3705375"/>
            <a:ext cx="2657215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Nationwide, UK</a:t>
            </a:r>
          </a:p>
        </p:txBody>
      </p:sp>
      <p:sp>
        <p:nvSpPr>
          <p:cNvPr id="32" name="Rectangle: Top Corners Rounded 31">
            <a:extLst>
              <a:ext uri="{FF2B5EF4-FFF2-40B4-BE49-F238E27FC236}">
                <a16:creationId xmlns:a16="http://schemas.microsoft.com/office/drawing/2014/main" id="{4BFBADF5-8620-AD26-7B98-BFEDE23EE98F}"/>
              </a:ext>
            </a:extLst>
          </p:cNvPr>
          <p:cNvSpPr/>
          <p:nvPr/>
        </p:nvSpPr>
        <p:spPr>
          <a:xfrm>
            <a:off x="9013782" y="1045026"/>
            <a:ext cx="263240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izuho Bank, U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735BE-C7C7-0749-D865-54C86D64ACE4}"/>
              </a:ext>
            </a:extLst>
          </p:cNvPr>
          <p:cNvSpPr/>
          <p:nvPr/>
        </p:nvSpPr>
        <p:spPr>
          <a:xfrm>
            <a:off x="9001585" y="1395553"/>
            <a:ext cx="2656800" cy="21636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tegration Projec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t workflows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tegrating with upstream and downstrea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system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upported in Back Office workflows integr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Built the regression test pack in MXTES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Validation of the workflows in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TES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109972A-0944-0861-3F44-211D2F698443}"/>
              </a:ext>
            </a:extLst>
          </p:cNvPr>
          <p:cNvSpPr/>
          <p:nvPr/>
        </p:nvSpPr>
        <p:spPr>
          <a:xfrm>
            <a:off x="6178510" y="4062367"/>
            <a:ext cx="2656800" cy="1829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Murex Development, Testing and Support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Offshore partner for the Murex projects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Enhancements in Front Office, Workflows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MarketDat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, Back Office, Reporting, 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Environment support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Testing with MXTES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26942A60-A449-D86D-BF94-FA2EF81C5845}"/>
              </a:ext>
            </a:extLst>
          </p:cNvPr>
          <p:cNvSpPr/>
          <p:nvPr/>
        </p:nvSpPr>
        <p:spPr>
          <a:xfrm>
            <a:off x="6178719" y="3705375"/>
            <a:ext cx="2657215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2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RBC, Canad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FA23163-7C57-6F5E-8A51-4882ABEF5DFE}"/>
              </a:ext>
            </a:extLst>
          </p:cNvPr>
          <p:cNvSpPr/>
          <p:nvPr/>
        </p:nvSpPr>
        <p:spPr>
          <a:xfrm>
            <a:off x="9001585" y="4062367"/>
            <a:ext cx="2656800" cy="1829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Purging and reporting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Actuate Report development in Mx3.1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Creation and execution of 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datamar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extractions,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datamar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viewers and batches.</a:t>
            </a:r>
          </a:p>
          <a:p>
            <a:pPr marL="1714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Logical and physical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purgi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of deals from planning, execution and validation</a:t>
            </a: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1132662D-17B8-F141-0A98-352E88E14F07}"/>
              </a:ext>
            </a:extLst>
          </p:cNvPr>
          <p:cNvSpPr/>
          <p:nvPr/>
        </p:nvSpPr>
        <p:spPr>
          <a:xfrm>
            <a:off x="9001378" y="3705375"/>
            <a:ext cx="2657215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tandard Bank, SA</a:t>
            </a:r>
          </a:p>
        </p:txBody>
      </p:sp>
      <p:pic>
        <p:nvPicPr>
          <p:cNvPr id="4" name="Picture 3" descr="A close-up of a logo&#10;&#10;AI-generated content may be incorrect.">
            <a:extLst>
              <a:ext uri="{FF2B5EF4-FFF2-40B4-BE49-F238E27FC236}">
                <a16:creationId xmlns:a16="http://schemas.microsoft.com/office/drawing/2014/main" id="{A5387B80-5426-7882-4DF1-ED42A2312E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0566" y="3244559"/>
            <a:ext cx="1354974" cy="258470"/>
          </a:xfrm>
          <a:prstGeom prst="rect">
            <a:avLst/>
          </a:prstGeom>
        </p:spPr>
      </p:pic>
      <p:pic>
        <p:nvPicPr>
          <p:cNvPr id="5" name="Picture 4" descr="A blue logo with white text&#10;&#10;AI-generated content may be incorrect.">
            <a:extLst>
              <a:ext uri="{FF2B5EF4-FFF2-40B4-BE49-F238E27FC236}">
                <a16:creationId xmlns:a16="http://schemas.microsoft.com/office/drawing/2014/main" id="{64D46B6C-C4C3-C504-6C81-3966F5A3A6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3307" y="3145472"/>
            <a:ext cx="1176543" cy="413681"/>
          </a:xfrm>
          <a:prstGeom prst="rect">
            <a:avLst/>
          </a:prstGeom>
        </p:spPr>
      </p:pic>
      <p:pic>
        <p:nvPicPr>
          <p:cNvPr id="6" name="Picture 5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79F02CA3-BC75-8EF8-CC50-342427A37A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2692" y="1433495"/>
            <a:ext cx="657271" cy="224831"/>
          </a:xfrm>
          <a:prstGeom prst="rect">
            <a:avLst/>
          </a:prstGeom>
        </p:spPr>
      </p:pic>
      <p:pic>
        <p:nvPicPr>
          <p:cNvPr id="7" name="Picture 6" descr="A blue and red logo&#10;&#10;AI-generated content may be incorrect.">
            <a:extLst>
              <a:ext uri="{FF2B5EF4-FFF2-40B4-BE49-F238E27FC236}">
                <a16:creationId xmlns:a16="http://schemas.microsoft.com/office/drawing/2014/main" id="{71A7DAED-24E9-45C2-C981-A3DE58E28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79353" y="3182395"/>
            <a:ext cx="1152204" cy="260732"/>
          </a:xfrm>
          <a:prstGeom prst="rect">
            <a:avLst/>
          </a:prstGeom>
        </p:spPr>
      </p:pic>
      <p:pic>
        <p:nvPicPr>
          <p:cNvPr id="10" name="Picture 9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30440D1-4187-7C1D-4176-F4EBB37028E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1361" t="22059" r="-6122" b="20742"/>
          <a:stretch/>
        </p:blipFill>
        <p:spPr>
          <a:xfrm>
            <a:off x="4179084" y="5466944"/>
            <a:ext cx="1620766" cy="2811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D63011B-BBFE-2C3B-50AD-5ED3A30BF2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86680" y="5532288"/>
            <a:ext cx="1453233" cy="2973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D22BC43-50FD-533C-54F2-82E8D980AE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65402" y="5562765"/>
            <a:ext cx="775762" cy="2478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5061AD9-35B1-8C39-1FF3-89458056F4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58810" y="5122268"/>
            <a:ext cx="400152" cy="51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5269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345EE-956D-4B33-4F0A-76577A385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29B44061-1BC3-77CA-BBC5-4AD50AA3D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ents and project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109972A-0944-0861-3F44-211D2F698443}"/>
              </a:ext>
            </a:extLst>
          </p:cNvPr>
          <p:cNvSpPr/>
          <p:nvPr/>
        </p:nvSpPr>
        <p:spPr>
          <a:xfrm>
            <a:off x="9116612" y="3827086"/>
            <a:ext cx="2656800" cy="186541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atamart re engineering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id the complet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reengineeri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of the reporting architecture In Mx3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Removed the usage of non native Murex objects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mplemented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optimized architectur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, which help to make the EOD SLA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26942A60-A449-D86D-BF94-FA2EF81C5845}"/>
              </a:ext>
            </a:extLst>
          </p:cNvPr>
          <p:cNvSpPr/>
          <p:nvPr/>
        </p:nvSpPr>
        <p:spPr>
          <a:xfrm>
            <a:off x="9105624" y="3446783"/>
            <a:ext cx="2657215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2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NAB, Australi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FA23163-7C57-6F5E-8A51-4882ABEF5DFE}"/>
              </a:ext>
            </a:extLst>
          </p:cNvPr>
          <p:cNvSpPr/>
          <p:nvPr/>
        </p:nvSpPr>
        <p:spPr>
          <a:xfrm>
            <a:off x="9054272" y="1425502"/>
            <a:ext cx="2656800" cy="183103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Testing, Environment/ Configuration Managemen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efined test strategy for Murex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, managing the testing with full coverag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Led the defect triage meeting to close the defects, managing multiple stakeholder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anaged the configuration in each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environm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as per the releases and testing sign off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1132662D-17B8-F141-0A98-352E88E14F07}"/>
              </a:ext>
            </a:extLst>
          </p:cNvPr>
          <p:cNvSpPr/>
          <p:nvPr/>
        </p:nvSpPr>
        <p:spPr>
          <a:xfrm>
            <a:off x="9043284" y="1045199"/>
            <a:ext cx="2657215" cy="399466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iam Commercial Bank, Thaila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4830EA4-13ED-C767-B597-A5C861678F8B}"/>
              </a:ext>
            </a:extLst>
          </p:cNvPr>
          <p:cNvSpPr/>
          <p:nvPr/>
        </p:nvSpPr>
        <p:spPr>
          <a:xfrm>
            <a:off x="6216535" y="1415962"/>
            <a:ext cx="2656800" cy="18756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tegration, Report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anaged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integra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with upstream and downstream systems, involving in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design  and build of workflows,  repor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Supported in the configuration from FO, MO and BO, covering the trade life cycl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BC1221B9-7FC2-4B54-A9F9-463CE881F7C1}"/>
              </a:ext>
            </a:extLst>
          </p:cNvPr>
          <p:cNvSpPr/>
          <p:nvPr/>
        </p:nvSpPr>
        <p:spPr>
          <a:xfrm>
            <a:off x="6216328" y="1035658"/>
            <a:ext cx="2657215" cy="360833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tandard Chartered Bank, Singapo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0321F0-8C25-7FF1-CF5A-864EE846C628}"/>
              </a:ext>
            </a:extLst>
          </p:cNvPr>
          <p:cNvSpPr/>
          <p:nvPr/>
        </p:nvSpPr>
        <p:spPr>
          <a:xfrm>
            <a:off x="6240711" y="3816880"/>
            <a:ext cx="2656800" cy="18756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migration, implementation, Sup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 3.1 migra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FX asset class 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igration from Calyps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to Murex 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Provided cost effective managed services support  in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onsite – offshore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Providing production support with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100% SLA adherenc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 for 11 yea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ABC43F-1752-13A4-4A5F-2BCDB096A50B}"/>
              </a:ext>
            </a:extLst>
          </p:cNvPr>
          <p:cNvSpPr/>
          <p:nvPr/>
        </p:nvSpPr>
        <p:spPr>
          <a:xfrm>
            <a:off x="614262" y="1359947"/>
            <a:ext cx="2656800" cy="189658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upgrade, Support,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&amp; enhance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X 2.1 to MX 3.1 upgrade covering end to end trade lifecycle with support for new products and pricing methodologie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4,000+ Report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igrated from 5 different sub syste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47092C46-6180-8241-A488-5907DF39BB13}"/>
              </a:ext>
            </a:extLst>
          </p:cNvPr>
          <p:cNvSpPr/>
          <p:nvPr/>
        </p:nvSpPr>
        <p:spPr>
          <a:xfrm>
            <a:off x="6248773" y="3466353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Shinsei Bank, Tokyo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169409B7-5584-8A18-BA4C-F0D2801B68AF}"/>
              </a:ext>
            </a:extLst>
          </p:cNvPr>
          <p:cNvSpPr/>
          <p:nvPr/>
        </p:nvSpPr>
        <p:spPr>
          <a:xfrm>
            <a:off x="3421978" y="3466353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CNCBI, Hong Kong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7B0BD138-E2EE-C18E-2EC0-04217349A6CF}"/>
              </a:ext>
            </a:extLst>
          </p:cNvPr>
          <p:cNvSpPr/>
          <p:nvPr/>
        </p:nvSpPr>
        <p:spPr>
          <a:xfrm>
            <a:off x="614054" y="1009420"/>
            <a:ext cx="2657216" cy="352800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BS,  Singap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E1CD6D-6A9D-7CA9-AD72-E8FF00502596}"/>
              </a:ext>
            </a:extLst>
          </p:cNvPr>
          <p:cNvSpPr/>
          <p:nvPr/>
        </p:nvSpPr>
        <p:spPr>
          <a:xfrm>
            <a:off x="3418051" y="3816880"/>
            <a:ext cx="2656800" cy="18756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E267B"/>
              </a:buClr>
              <a:buSzPct val="11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Distribution Platform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Enhanced trading experienc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with better visuals and easy-to-use application​</a:t>
            </a:r>
          </a:p>
          <a:p>
            <a:pPr marL="171450" marR="0" lvl="0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API-based interfacing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with trading applications to ensure flexibility to support multiple financial products, starting with Forex and later on for Structured products​</a:t>
            </a: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612BB1A4-1633-D30E-574A-99008B92CF34}"/>
              </a:ext>
            </a:extLst>
          </p:cNvPr>
          <p:cNvSpPr/>
          <p:nvPr/>
        </p:nvSpPr>
        <p:spPr>
          <a:xfrm>
            <a:off x="3414181" y="1017836"/>
            <a:ext cx="2632406" cy="304178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OCBC, Singapo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Ligh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CBB224-1B34-615E-6D7E-F6BE046BC651}"/>
              </a:ext>
            </a:extLst>
          </p:cNvPr>
          <p:cNvSpPr/>
          <p:nvPr/>
        </p:nvSpPr>
        <p:spPr>
          <a:xfrm>
            <a:off x="3401984" y="1368362"/>
            <a:ext cx="2656800" cy="192322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Quality Assurance, Enhancement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Established end to e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test planning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and execution process for Trade Execution System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E267B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anaged the enhancement requests from requirement analysis, design , build, validation and  deployment support &amp; hyper care, for workflows and report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630228-C245-1A4E-85BD-325DE9EB4E38}"/>
              </a:ext>
            </a:extLst>
          </p:cNvPr>
          <p:cNvSpPr/>
          <p:nvPr/>
        </p:nvSpPr>
        <p:spPr>
          <a:xfrm>
            <a:off x="619010" y="3923199"/>
            <a:ext cx="2656800" cy="180224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108000" bIns="72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65BF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Murex Upgrad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Upgrad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the Murex instance, in align with Murex delivery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BO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 functionalities implementation and testing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Run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regression test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rPr>
              <a:t>covering all the modules and function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7F8729BA-77FA-6523-B5CF-177B0133BBFC}"/>
              </a:ext>
            </a:extLst>
          </p:cNvPr>
          <p:cNvSpPr/>
          <p:nvPr/>
        </p:nvSpPr>
        <p:spPr>
          <a:xfrm>
            <a:off x="658296" y="3466353"/>
            <a:ext cx="2657215" cy="360833"/>
          </a:xfrm>
          <a:prstGeom prst="round2SameRect">
            <a:avLst/>
          </a:prstGeom>
          <a:solidFill>
            <a:srgbClr val="0065B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  <a:ea typeface="Calibri" panose="020F0502020204030204" pitchFamily="34" charset="0"/>
                <a:cs typeface="Calibri" panose="020F0502020204030204" pitchFamily="34" charset="0"/>
              </a:rPr>
              <a:t>ANZ, Australia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B0C5A4-A54A-6D5C-3994-3F15E7906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0737" y="2743789"/>
            <a:ext cx="831382" cy="420116"/>
          </a:xfrm>
          <a:prstGeom prst="rect">
            <a:avLst/>
          </a:prstGeom>
        </p:spPr>
      </p:pic>
      <p:pic>
        <p:nvPicPr>
          <p:cNvPr id="12" name="Picture 11" descr="A red circle with white circles&#10;&#10;AI-generated content may be incorrect.">
            <a:extLst>
              <a:ext uri="{FF2B5EF4-FFF2-40B4-BE49-F238E27FC236}">
                <a16:creationId xmlns:a16="http://schemas.microsoft.com/office/drawing/2014/main" id="{D069502E-C067-AD86-9AC2-72CC4E5FBA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200973" y="2894028"/>
            <a:ext cx="653512" cy="20006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CD2CC9F-6B71-7BCC-AD06-5373FBB98F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25671" y="5306651"/>
            <a:ext cx="1211614" cy="3064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BA95A27-95E6-4790-A6B1-FA669D525A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2255" y="2816409"/>
            <a:ext cx="1111036" cy="38729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23987C-11CF-6010-6C70-95D7D59193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5734" y="5368052"/>
            <a:ext cx="1550477" cy="30762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20915B9-7884-6DF2-5C16-EE455E40C9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7660" y="4074229"/>
            <a:ext cx="911818" cy="18436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5CC9E3C-B1E6-34E9-FD86-61CCA63008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52417" y="1498305"/>
            <a:ext cx="525321" cy="31317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9D5753E-CB9C-14DB-72B1-6161ECEB6C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4987" y="5214238"/>
            <a:ext cx="900511" cy="30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613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69DF0-F590-CCB9-56C4-3FC2404E2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1DEFD61-D12E-08DD-CD24-398C703DA20F}"/>
              </a:ext>
            </a:extLst>
          </p:cNvPr>
          <p:cNvGrpSpPr/>
          <p:nvPr/>
        </p:nvGrpSpPr>
        <p:grpSpPr>
          <a:xfrm>
            <a:off x="397994" y="1524000"/>
            <a:ext cx="5137325" cy="3179081"/>
            <a:chOff x="677684" y="1792513"/>
            <a:chExt cx="5474151" cy="338751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C6C9B86-F0D0-FEAB-268D-15F525DC697F}"/>
                </a:ext>
              </a:extLst>
            </p:cNvPr>
            <p:cNvGrpSpPr/>
            <p:nvPr/>
          </p:nvGrpSpPr>
          <p:grpSpPr>
            <a:xfrm>
              <a:off x="746303" y="1792513"/>
              <a:ext cx="5405532" cy="3387516"/>
              <a:chOff x="1340461" y="2642069"/>
              <a:chExt cx="2733582" cy="3387516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23B7893-4EAA-D477-9569-B65BF9CDF037}"/>
                  </a:ext>
                </a:extLst>
              </p:cNvPr>
              <p:cNvSpPr txBox="1"/>
              <p:nvPr/>
            </p:nvSpPr>
            <p:spPr>
              <a:xfrm>
                <a:off x="1430173" y="2642069"/>
                <a:ext cx="2022687" cy="177369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0" i="1" u="none" strike="noStrike" kern="1200" cap="none" spc="-15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Getting to the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3B12573-413A-084F-D445-AF7E8F55D6DB}"/>
                  </a:ext>
                </a:extLst>
              </p:cNvPr>
              <p:cNvSpPr txBox="1"/>
              <p:nvPr/>
            </p:nvSpPr>
            <p:spPr>
              <a:xfrm>
                <a:off x="1955020" y="3269413"/>
                <a:ext cx="2119023" cy="1773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1" u="none" strike="noStrike" kern="1200" cap="none" spc="-15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future, faster.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9176261-6013-A8DE-CF65-A7F578370DCC}"/>
                  </a:ext>
                </a:extLst>
              </p:cNvPr>
              <p:cNvSpPr txBox="1"/>
              <p:nvPr/>
            </p:nvSpPr>
            <p:spPr>
              <a:xfrm>
                <a:off x="1340461" y="4168026"/>
                <a:ext cx="2442708" cy="1861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200" b="1" i="1" u="none" strike="noStrike" kern="1200" cap="none" spc="-150" normalizeH="0" baseline="0" noProof="0" dirty="0">
                    <a:ln w="28575"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Together</a:t>
                </a:r>
                <a:r>
                  <a:rPr kumimoji="0" lang="en-US" sz="7200" b="1" i="1" u="none" strike="noStrike" kern="1200" cap="none" spc="-150" normalizeH="0" baseline="0" noProof="0" dirty="0">
                    <a:ln w="28575">
                      <a:solidFill>
                        <a:srgbClr val="FFFFFF"/>
                      </a:solidFill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.</a:t>
                </a: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E19CAF-9066-043A-DDFE-CE0A6EB9C5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684" y="1818835"/>
              <a:ext cx="2717183" cy="771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4631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F694A5BA-D2E2-D71B-ACF6-72E44FC2F36D}"/>
              </a:ext>
            </a:extLst>
          </p:cNvPr>
          <p:cNvSpPr/>
          <p:nvPr/>
        </p:nvSpPr>
        <p:spPr>
          <a:xfrm>
            <a:off x="-15914" y="5702054"/>
            <a:ext cx="12207914" cy="677109"/>
          </a:xfrm>
          <a:prstGeom prst="rect">
            <a:avLst/>
          </a:prstGeom>
          <a:solidFill>
            <a:srgbClr val="163E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D4B3C7A-6F24-F583-F068-7BE2DFE572C5}"/>
              </a:ext>
            </a:extLst>
          </p:cNvPr>
          <p:cNvCxnSpPr/>
          <p:nvPr/>
        </p:nvCxnSpPr>
        <p:spPr>
          <a:xfrm>
            <a:off x="8173064" y="5822411"/>
            <a:ext cx="2723" cy="410935"/>
          </a:xfrm>
          <a:prstGeom prst="straightConnector1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BFB5359E-E023-5A4B-A2B1-5766BAA6425D}"/>
              </a:ext>
            </a:extLst>
          </p:cNvPr>
          <p:cNvCxnSpPr/>
          <p:nvPr/>
        </p:nvCxnSpPr>
        <p:spPr>
          <a:xfrm>
            <a:off x="5447390" y="5862936"/>
            <a:ext cx="4916" cy="399961"/>
          </a:xfrm>
          <a:prstGeom prst="straightConnector1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2B9BAA0B-87B1-DCB9-4197-C5E35DD554A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46456" y="5809925"/>
            <a:ext cx="929358" cy="436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ence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0588766-2A24-3E71-66D0-4E7F4AF1B983}"/>
              </a:ext>
            </a:extLst>
          </p:cNvPr>
          <p:cNvSpPr txBox="1"/>
          <p:nvPr/>
        </p:nvSpPr>
        <p:spPr>
          <a:xfrm>
            <a:off x="6717206" y="5763758"/>
            <a:ext cx="1238404" cy="52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ople 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ntric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D0123EC-162E-1684-4FEB-7BD240A52538}"/>
              </a:ext>
            </a:extLst>
          </p:cNvPr>
          <p:cNvSpPr txBox="1"/>
          <p:nvPr/>
        </p:nvSpPr>
        <p:spPr>
          <a:xfrm>
            <a:off x="9491631" y="5763758"/>
            <a:ext cx="2569623" cy="52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vironment &amp; Sustainability Focus Centric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917B992-B7B9-6EA5-0CDF-F450319D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400" b="1" dirty="0"/>
              <a:t>L&amp;T Group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D4E30A-C8A2-E2C3-9BBF-AD1FE8330B7B}"/>
              </a:ext>
            </a:extLst>
          </p:cNvPr>
          <p:cNvSpPr txBox="1"/>
          <p:nvPr/>
        </p:nvSpPr>
        <p:spPr>
          <a:xfrm>
            <a:off x="611688" y="1248340"/>
            <a:ext cx="17060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13EB75-F231-D43D-6FEF-8822D28406DD}"/>
              </a:ext>
            </a:extLst>
          </p:cNvPr>
          <p:cNvSpPr txBox="1"/>
          <p:nvPr/>
        </p:nvSpPr>
        <p:spPr>
          <a:xfrm>
            <a:off x="3893040" y="5766323"/>
            <a:ext cx="13654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ssion critical projects ​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4A9FA5A-DD9F-7273-B47C-206FCFEB122F}"/>
              </a:ext>
            </a:extLst>
          </p:cNvPr>
          <p:cNvCxnSpPr/>
          <p:nvPr/>
        </p:nvCxnSpPr>
        <p:spPr>
          <a:xfrm>
            <a:off x="2700369" y="5869186"/>
            <a:ext cx="4916" cy="399961"/>
          </a:xfrm>
          <a:prstGeom prst="straightConnector1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F7497B9-0670-CAD2-EF94-1A1D80699D57}"/>
              </a:ext>
            </a:extLst>
          </p:cNvPr>
          <p:cNvGrpSpPr/>
          <p:nvPr/>
        </p:nvGrpSpPr>
        <p:grpSpPr>
          <a:xfrm>
            <a:off x="540585" y="606778"/>
            <a:ext cx="1825236" cy="820778"/>
            <a:chOff x="585516" y="904214"/>
            <a:chExt cx="1825236" cy="820778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6892DE62-10C0-C57B-4A2B-751BBF758749}"/>
                </a:ext>
              </a:extLst>
            </p:cNvPr>
            <p:cNvSpPr/>
            <p:nvPr/>
          </p:nvSpPr>
          <p:spPr>
            <a:xfrm>
              <a:off x="585516" y="904214"/>
              <a:ext cx="1825236" cy="820778"/>
            </a:xfrm>
            <a:prstGeom prst="round2SameRect">
              <a:avLst/>
            </a:prstGeom>
            <a:solidFill>
              <a:srgbClr val="003C6E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TextBox 46">
              <a:extLst>
                <a:ext uri="{FF2B5EF4-FFF2-40B4-BE49-F238E27FC236}">
                  <a16:creationId xmlns:a16="http://schemas.microsoft.com/office/drawing/2014/main" id="{E06850D1-9F26-F818-7F7E-7FA0992712AF}"/>
                </a:ext>
              </a:extLst>
            </p:cNvPr>
            <p:cNvSpPr txBox="1"/>
            <p:nvPr/>
          </p:nvSpPr>
          <p:spPr>
            <a:xfrm>
              <a:off x="1156202" y="967256"/>
              <a:ext cx="952591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$27.9B</a:t>
              </a:r>
            </a:p>
          </p:txBody>
        </p:sp>
        <p:pic>
          <p:nvPicPr>
            <p:cNvPr id="39" name="Graphic 51">
              <a:extLst>
                <a:ext uri="{FF2B5EF4-FFF2-40B4-BE49-F238E27FC236}">
                  <a16:creationId xmlns:a16="http://schemas.microsoft.com/office/drawing/2014/main" id="{E11A54F6-F46B-C764-8368-C813ADF87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5996" y="1091904"/>
              <a:ext cx="512538" cy="444122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45ED9CD-6BD9-E25C-404E-1CCE7A7943B4}"/>
                </a:ext>
              </a:extLst>
            </p:cNvPr>
            <p:cNvSpPr txBox="1"/>
            <p:nvPr/>
          </p:nvSpPr>
          <p:spPr>
            <a:xfrm>
              <a:off x="1177067" y="1265009"/>
              <a:ext cx="9431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VENUE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6396BAE-0F6D-0263-3BEE-8A4F2784B09E}"/>
              </a:ext>
            </a:extLst>
          </p:cNvPr>
          <p:cNvGrpSpPr/>
          <p:nvPr/>
        </p:nvGrpSpPr>
        <p:grpSpPr>
          <a:xfrm>
            <a:off x="540585" y="1636068"/>
            <a:ext cx="2004707" cy="820778"/>
            <a:chOff x="575045" y="1834142"/>
            <a:chExt cx="2004707" cy="820778"/>
          </a:xfrm>
        </p:grpSpPr>
        <p:sp>
          <p:nvSpPr>
            <p:cNvPr id="44" name="Rectangle: Top Corners Rounded 43">
              <a:extLst>
                <a:ext uri="{FF2B5EF4-FFF2-40B4-BE49-F238E27FC236}">
                  <a16:creationId xmlns:a16="http://schemas.microsoft.com/office/drawing/2014/main" id="{F0B08E1A-69A3-E722-A2DF-DB0F1E5A1CA3}"/>
                </a:ext>
              </a:extLst>
            </p:cNvPr>
            <p:cNvSpPr/>
            <p:nvPr/>
          </p:nvSpPr>
          <p:spPr>
            <a:xfrm>
              <a:off x="583403" y="1834142"/>
              <a:ext cx="1825236" cy="820778"/>
            </a:xfrm>
            <a:prstGeom prst="round2SameRect">
              <a:avLst/>
            </a:prstGeom>
            <a:solidFill>
              <a:srgbClr val="7F7F7F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0" name="Graphic 62">
              <a:extLst>
                <a:ext uri="{FF2B5EF4-FFF2-40B4-BE49-F238E27FC236}">
                  <a16:creationId xmlns:a16="http://schemas.microsoft.com/office/drawing/2014/main" id="{23451AB1-D548-34EF-98C4-0FBE8ECA36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9334" t="12670" r="8025" b="33333"/>
            <a:stretch/>
          </p:blipFill>
          <p:spPr>
            <a:xfrm>
              <a:off x="1170804" y="1922143"/>
              <a:ext cx="638048" cy="379584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B34772F-DE19-3456-7052-558FAA3CA665}"/>
                </a:ext>
              </a:extLst>
            </p:cNvPr>
            <p:cNvSpPr/>
            <p:nvPr/>
          </p:nvSpPr>
          <p:spPr>
            <a:xfrm>
              <a:off x="575045" y="2324632"/>
              <a:ext cx="2004707" cy="307777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LOBAL RELATIONSHIP</a:t>
              </a:r>
            </a:p>
          </p:txBody>
        </p:sp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8DAC8322-47B7-4ABE-C45E-679C9F0D01BF}"/>
              </a:ext>
            </a:extLst>
          </p:cNvPr>
          <p:cNvGrpSpPr/>
          <p:nvPr/>
        </p:nvGrpSpPr>
        <p:grpSpPr>
          <a:xfrm>
            <a:off x="540585" y="2644109"/>
            <a:ext cx="1825236" cy="820778"/>
            <a:chOff x="575045" y="2770410"/>
            <a:chExt cx="1825236" cy="820778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BD114F94-CEB3-845C-117B-EAC33531952B}"/>
                </a:ext>
              </a:extLst>
            </p:cNvPr>
            <p:cNvSpPr/>
            <p:nvPr/>
          </p:nvSpPr>
          <p:spPr>
            <a:xfrm>
              <a:off x="575045" y="2770410"/>
              <a:ext cx="1825236" cy="820778"/>
            </a:xfrm>
            <a:prstGeom prst="round2SameRect">
              <a:avLst/>
            </a:prstGeom>
            <a:solidFill>
              <a:srgbClr val="003C6E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2" name="Graphic 47">
              <a:extLst>
                <a:ext uri="{FF2B5EF4-FFF2-40B4-BE49-F238E27FC236}">
                  <a16:creationId xmlns:a16="http://schemas.microsoft.com/office/drawing/2014/main" id="{A1B28DA5-2541-81E0-C6EE-7F9CE7AE2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2373" y="2974582"/>
              <a:ext cx="488308" cy="437354"/>
            </a:xfrm>
            <a:prstGeom prst="rect">
              <a:avLst/>
            </a:prstGeom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607B269-6167-62D5-4EA1-1EDE01761A02}"/>
                </a:ext>
              </a:extLst>
            </p:cNvPr>
            <p:cNvSpPr/>
            <p:nvPr/>
          </p:nvSpPr>
          <p:spPr>
            <a:xfrm>
              <a:off x="1120736" y="3189086"/>
              <a:ext cx="1167942" cy="307777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EADCOUNT</a:t>
              </a:r>
            </a:p>
          </p:txBody>
        </p:sp>
        <p:sp>
          <p:nvSpPr>
            <p:cNvPr id="54" name="TextBox 42">
              <a:extLst>
                <a:ext uri="{FF2B5EF4-FFF2-40B4-BE49-F238E27FC236}">
                  <a16:creationId xmlns:a16="http://schemas.microsoft.com/office/drawing/2014/main" id="{8C7C189B-6DD0-A36F-47CE-77888CFF7ED3}"/>
                </a:ext>
              </a:extLst>
            </p:cNvPr>
            <p:cNvSpPr txBox="1"/>
            <p:nvPr/>
          </p:nvSpPr>
          <p:spPr>
            <a:xfrm>
              <a:off x="1120736" y="2908601"/>
              <a:ext cx="1279545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50,000+</a:t>
              </a:r>
            </a:p>
          </p:txBody>
        </p:sp>
      </p:grpSp>
      <p:sp>
        <p:nvSpPr>
          <p:cNvPr id="34" name="Rectangle: Top Corners Rounded 33">
            <a:extLst>
              <a:ext uri="{FF2B5EF4-FFF2-40B4-BE49-F238E27FC236}">
                <a16:creationId xmlns:a16="http://schemas.microsoft.com/office/drawing/2014/main" id="{7A223876-9AD3-C0B1-D5D2-E380EE77F449}"/>
              </a:ext>
            </a:extLst>
          </p:cNvPr>
          <p:cNvSpPr/>
          <p:nvPr/>
        </p:nvSpPr>
        <p:spPr>
          <a:xfrm>
            <a:off x="541936" y="4667797"/>
            <a:ext cx="1825236" cy="820778"/>
          </a:xfrm>
          <a:prstGeom prst="round2SameRect">
            <a:avLst/>
          </a:prstGeom>
          <a:solidFill>
            <a:srgbClr val="003C6E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67E165EA-A42E-740B-8918-059AE0FA9D13}"/>
              </a:ext>
            </a:extLst>
          </p:cNvPr>
          <p:cNvGrpSpPr/>
          <p:nvPr/>
        </p:nvGrpSpPr>
        <p:grpSpPr>
          <a:xfrm>
            <a:off x="621641" y="4833286"/>
            <a:ext cx="474580" cy="500384"/>
            <a:chOff x="714312" y="4709834"/>
            <a:chExt cx="355487" cy="374815"/>
          </a:xfrm>
          <a:solidFill>
            <a:schemeClr val="bg1"/>
          </a:solidFill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90236215-EF9F-690B-C6B2-430027F95A33}"/>
                </a:ext>
              </a:extLst>
            </p:cNvPr>
            <p:cNvSpPr/>
            <p:nvPr/>
          </p:nvSpPr>
          <p:spPr>
            <a:xfrm>
              <a:off x="926357" y="4921423"/>
              <a:ext cx="49893" cy="24181"/>
            </a:xfrm>
            <a:custGeom>
              <a:avLst/>
              <a:gdLst>
                <a:gd name="connsiteX0" fmla="*/ 49893 w 49893"/>
                <a:gd name="connsiteY0" fmla="*/ 0 h 24181"/>
                <a:gd name="connsiteX1" fmla="*/ 37420 w 49893"/>
                <a:gd name="connsiteY1" fmla="*/ 0 h 24181"/>
                <a:gd name="connsiteX2" fmla="*/ 31183 w 49893"/>
                <a:gd name="connsiteY2" fmla="*/ 10471 h 24181"/>
                <a:gd name="connsiteX3" fmla="*/ 18710 w 49893"/>
                <a:gd name="connsiteY3" fmla="*/ 10471 h 24181"/>
                <a:gd name="connsiteX4" fmla="*/ 12473 w 49893"/>
                <a:gd name="connsiteY4" fmla="*/ 0 h 24181"/>
                <a:gd name="connsiteX5" fmla="*/ 0 w 49893"/>
                <a:gd name="connsiteY5" fmla="*/ 0 h 24181"/>
                <a:gd name="connsiteX6" fmla="*/ 12473 w 49893"/>
                <a:gd name="connsiteY6" fmla="*/ 20943 h 24181"/>
                <a:gd name="connsiteX7" fmla="*/ 37420 w 49893"/>
                <a:gd name="connsiteY7" fmla="*/ 20943 h 24181"/>
                <a:gd name="connsiteX8" fmla="*/ 49893 w 49893"/>
                <a:gd name="connsiteY8" fmla="*/ 0 h 2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93" h="24181">
                  <a:moveTo>
                    <a:pt x="49893" y="0"/>
                  </a:moveTo>
                  <a:lnTo>
                    <a:pt x="37420" y="0"/>
                  </a:lnTo>
                  <a:cubicBezTo>
                    <a:pt x="37420" y="4321"/>
                    <a:pt x="35042" y="8312"/>
                    <a:pt x="31183" y="10471"/>
                  </a:cubicBezTo>
                  <a:cubicBezTo>
                    <a:pt x="27324" y="12630"/>
                    <a:pt x="22569" y="12630"/>
                    <a:pt x="18710" y="10471"/>
                  </a:cubicBezTo>
                  <a:cubicBezTo>
                    <a:pt x="14851" y="8312"/>
                    <a:pt x="12473" y="4321"/>
                    <a:pt x="12473" y="0"/>
                  </a:cubicBezTo>
                  <a:lnTo>
                    <a:pt x="0" y="0"/>
                  </a:lnTo>
                  <a:cubicBezTo>
                    <a:pt x="0" y="8639"/>
                    <a:pt x="4756" y="16622"/>
                    <a:pt x="12473" y="20943"/>
                  </a:cubicBezTo>
                  <a:cubicBezTo>
                    <a:pt x="20191" y="25261"/>
                    <a:pt x="29702" y="25261"/>
                    <a:pt x="37420" y="20943"/>
                  </a:cubicBezTo>
                  <a:cubicBezTo>
                    <a:pt x="45138" y="16622"/>
                    <a:pt x="49893" y="8638"/>
                    <a:pt x="49893" y="0"/>
                  </a:cubicBez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2BCA5A2-6D09-3651-9F10-1D8FD0EE3A64}"/>
                </a:ext>
              </a:extLst>
            </p:cNvPr>
            <p:cNvSpPr/>
            <p:nvPr/>
          </p:nvSpPr>
          <p:spPr>
            <a:xfrm>
              <a:off x="814098" y="4812606"/>
              <a:ext cx="212047" cy="272043"/>
            </a:xfrm>
            <a:custGeom>
              <a:avLst/>
              <a:gdLst>
                <a:gd name="connsiteX0" fmla="*/ 73706 w 212047"/>
                <a:gd name="connsiteY0" fmla="*/ 6045 h 272043"/>
                <a:gd name="connsiteX1" fmla="*/ 73706 w 212047"/>
                <a:gd name="connsiteY1" fmla="*/ 15823 h 272043"/>
                <a:gd name="connsiteX2" fmla="*/ 73140 w 212047"/>
                <a:gd name="connsiteY2" fmla="*/ 16293 h 272043"/>
                <a:gd name="connsiteX3" fmla="*/ 73140 w 212047"/>
                <a:gd name="connsiteY3" fmla="*/ 16290 h 272043"/>
                <a:gd name="connsiteX4" fmla="*/ 62550 w 212047"/>
                <a:gd name="connsiteY4" fmla="*/ 20557 h 272043"/>
                <a:gd name="connsiteX5" fmla="*/ 61800 w 212047"/>
                <a:gd name="connsiteY5" fmla="*/ 20611 h 272043"/>
                <a:gd name="connsiteX6" fmla="*/ 54661 w 212047"/>
                <a:gd name="connsiteY6" fmla="*/ 13694 h 272043"/>
                <a:gd name="connsiteX7" fmla="*/ 50252 w 212047"/>
                <a:gd name="connsiteY7" fmla="*/ 11923 h 272043"/>
                <a:gd name="connsiteX8" fmla="*/ 45841 w 212047"/>
                <a:gd name="connsiteY8" fmla="*/ 13694 h 272043"/>
                <a:gd name="connsiteX9" fmla="*/ 26594 w 212047"/>
                <a:gd name="connsiteY9" fmla="*/ 32345 h 272043"/>
                <a:gd name="connsiteX10" fmla="*/ 26597 w 212047"/>
                <a:gd name="connsiteY10" fmla="*/ 32345 h 272043"/>
                <a:gd name="connsiteX11" fmla="*/ 24770 w 212047"/>
                <a:gd name="connsiteY11" fmla="*/ 36620 h 272043"/>
                <a:gd name="connsiteX12" fmla="*/ 26597 w 212047"/>
                <a:gd name="connsiteY12" fmla="*/ 40895 h 272043"/>
                <a:gd name="connsiteX13" fmla="*/ 33736 w 212047"/>
                <a:gd name="connsiteY13" fmla="*/ 47818 h 272043"/>
                <a:gd name="connsiteX14" fmla="*/ 33689 w 212047"/>
                <a:gd name="connsiteY14" fmla="*/ 48531 h 272043"/>
                <a:gd name="connsiteX15" fmla="*/ 33686 w 212047"/>
                <a:gd name="connsiteY15" fmla="*/ 48528 h 272043"/>
                <a:gd name="connsiteX16" fmla="*/ 29275 w 212047"/>
                <a:gd name="connsiteY16" fmla="*/ 58813 h 272043"/>
                <a:gd name="connsiteX17" fmla="*/ 28794 w 212047"/>
                <a:gd name="connsiteY17" fmla="*/ 59356 h 272043"/>
                <a:gd name="connsiteX18" fmla="*/ 18710 w 212047"/>
                <a:gd name="connsiteY18" fmla="*/ 59356 h 272043"/>
                <a:gd name="connsiteX19" fmla="*/ 14299 w 212047"/>
                <a:gd name="connsiteY19" fmla="*/ 61126 h 272043"/>
                <a:gd name="connsiteX20" fmla="*/ 12473 w 212047"/>
                <a:gd name="connsiteY20" fmla="*/ 65401 h 272043"/>
                <a:gd name="connsiteX21" fmla="*/ 12473 w 212047"/>
                <a:gd name="connsiteY21" fmla="*/ 78590 h 272043"/>
                <a:gd name="connsiteX22" fmla="*/ 6237 w 212047"/>
                <a:gd name="connsiteY22" fmla="*/ 78590 h 272043"/>
                <a:gd name="connsiteX23" fmla="*/ 1826 w 212047"/>
                <a:gd name="connsiteY23" fmla="*/ 80361 h 272043"/>
                <a:gd name="connsiteX24" fmla="*/ 0 w 212047"/>
                <a:gd name="connsiteY24" fmla="*/ 84636 h 272043"/>
                <a:gd name="connsiteX25" fmla="*/ 0 w 212047"/>
                <a:gd name="connsiteY25" fmla="*/ 272044 h 272043"/>
                <a:gd name="connsiteX26" fmla="*/ 12473 w 212047"/>
                <a:gd name="connsiteY26" fmla="*/ 272044 h 272043"/>
                <a:gd name="connsiteX27" fmla="*/ 12473 w 212047"/>
                <a:gd name="connsiteY27" fmla="*/ 90681 h 272043"/>
                <a:gd name="connsiteX28" fmla="*/ 174626 w 212047"/>
                <a:gd name="connsiteY28" fmla="*/ 90681 h 272043"/>
                <a:gd name="connsiteX29" fmla="*/ 174626 w 212047"/>
                <a:gd name="connsiteY29" fmla="*/ 145090 h 272043"/>
                <a:gd name="connsiteX30" fmla="*/ 175672 w 212047"/>
                <a:gd name="connsiteY30" fmla="*/ 148445 h 272043"/>
                <a:gd name="connsiteX31" fmla="*/ 196704 w 212047"/>
                <a:gd name="connsiteY31" fmla="*/ 179020 h 272043"/>
                <a:gd name="connsiteX32" fmla="*/ 178072 w 212047"/>
                <a:gd name="connsiteY32" fmla="*/ 188048 h 272043"/>
                <a:gd name="connsiteX33" fmla="*/ 178072 w 212047"/>
                <a:gd name="connsiteY33" fmla="*/ 188045 h 272043"/>
                <a:gd name="connsiteX34" fmla="*/ 174625 w 212047"/>
                <a:gd name="connsiteY34" fmla="*/ 193453 h 272043"/>
                <a:gd name="connsiteX35" fmla="*/ 174625 w 212047"/>
                <a:gd name="connsiteY35" fmla="*/ 217635 h 272043"/>
                <a:gd name="connsiteX36" fmla="*/ 165482 w 212047"/>
                <a:gd name="connsiteY36" fmla="*/ 238999 h 272043"/>
                <a:gd name="connsiteX37" fmla="*/ 143442 w 212047"/>
                <a:gd name="connsiteY37" fmla="*/ 247862 h 272043"/>
                <a:gd name="connsiteX38" fmla="*/ 106022 w 212047"/>
                <a:gd name="connsiteY38" fmla="*/ 247862 h 272043"/>
                <a:gd name="connsiteX39" fmla="*/ 101612 w 212047"/>
                <a:gd name="connsiteY39" fmla="*/ 249632 h 272043"/>
                <a:gd name="connsiteX40" fmla="*/ 99785 w 212047"/>
                <a:gd name="connsiteY40" fmla="*/ 253907 h 272043"/>
                <a:gd name="connsiteX41" fmla="*/ 99785 w 212047"/>
                <a:gd name="connsiteY41" fmla="*/ 272044 h 272043"/>
                <a:gd name="connsiteX42" fmla="*/ 112259 w 212047"/>
                <a:gd name="connsiteY42" fmla="*/ 272044 h 272043"/>
                <a:gd name="connsiteX43" fmla="*/ 112259 w 212047"/>
                <a:gd name="connsiteY43" fmla="*/ 259953 h 272043"/>
                <a:gd name="connsiteX44" fmla="*/ 143442 w 212047"/>
                <a:gd name="connsiteY44" fmla="*/ 259953 h 272043"/>
                <a:gd name="connsiteX45" fmla="*/ 174297 w 212047"/>
                <a:gd name="connsiteY45" fmla="*/ 247543 h 272043"/>
                <a:gd name="connsiteX46" fmla="*/ 187098 w 212047"/>
                <a:gd name="connsiteY46" fmla="*/ 217635 h 272043"/>
                <a:gd name="connsiteX47" fmla="*/ 187098 w 212047"/>
                <a:gd name="connsiteY47" fmla="*/ 197191 h 272043"/>
                <a:gd name="connsiteX48" fmla="*/ 208598 w 212047"/>
                <a:gd name="connsiteY48" fmla="*/ 186771 h 272043"/>
                <a:gd name="connsiteX49" fmla="*/ 211839 w 212047"/>
                <a:gd name="connsiteY49" fmla="*/ 182914 h 272043"/>
                <a:gd name="connsiteX50" fmla="*/ 210999 w 212047"/>
                <a:gd name="connsiteY50" fmla="*/ 178007 h 272043"/>
                <a:gd name="connsiteX51" fmla="*/ 187099 w 212047"/>
                <a:gd name="connsiteY51" fmla="*/ 143260 h 272043"/>
                <a:gd name="connsiteX52" fmla="*/ 187099 w 212047"/>
                <a:gd name="connsiteY52" fmla="*/ 84635 h 272043"/>
                <a:gd name="connsiteX53" fmla="*/ 185272 w 212047"/>
                <a:gd name="connsiteY53" fmla="*/ 80360 h 272043"/>
                <a:gd name="connsiteX54" fmla="*/ 180862 w 212047"/>
                <a:gd name="connsiteY54" fmla="*/ 78590 h 272043"/>
                <a:gd name="connsiteX55" fmla="*/ 174626 w 212047"/>
                <a:gd name="connsiteY55" fmla="*/ 78590 h 272043"/>
                <a:gd name="connsiteX56" fmla="*/ 174626 w 212047"/>
                <a:gd name="connsiteY56" fmla="*/ 65400 h 272043"/>
                <a:gd name="connsiteX57" fmla="*/ 172799 w 212047"/>
                <a:gd name="connsiteY57" fmla="*/ 61126 h 272043"/>
                <a:gd name="connsiteX58" fmla="*/ 168389 w 212047"/>
                <a:gd name="connsiteY58" fmla="*/ 59355 h 272043"/>
                <a:gd name="connsiteX59" fmla="*/ 158302 w 212047"/>
                <a:gd name="connsiteY59" fmla="*/ 59355 h 272043"/>
                <a:gd name="connsiteX60" fmla="*/ 157820 w 212047"/>
                <a:gd name="connsiteY60" fmla="*/ 58807 h 272043"/>
                <a:gd name="connsiteX61" fmla="*/ 157823 w 212047"/>
                <a:gd name="connsiteY61" fmla="*/ 58807 h 272043"/>
                <a:gd name="connsiteX62" fmla="*/ 153418 w 212047"/>
                <a:gd name="connsiteY62" fmla="*/ 48533 h 272043"/>
                <a:gd name="connsiteX63" fmla="*/ 153363 w 212047"/>
                <a:gd name="connsiteY63" fmla="*/ 47812 h 272043"/>
                <a:gd name="connsiteX64" fmla="*/ 160502 w 212047"/>
                <a:gd name="connsiteY64" fmla="*/ 40892 h 272043"/>
                <a:gd name="connsiteX65" fmla="*/ 160502 w 212047"/>
                <a:gd name="connsiteY65" fmla="*/ 40895 h 272043"/>
                <a:gd name="connsiteX66" fmla="*/ 162328 w 212047"/>
                <a:gd name="connsiteY66" fmla="*/ 36620 h 272043"/>
                <a:gd name="connsiteX67" fmla="*/ 160502 w 212047"/>
                <a:gd name="connsiteY67" fmla="*/ 32345 h 272043"/>
                <a:gd name="connsiteX68" fmla="*/ 141254 w 212047"/>
                <a:gd name="connsiteY68" fmla="*/ 13693 h 272043"/>
                <a:gd name="connsiteX69" fmla="*/ 141257 w 212047"/>
                <a:gd name="connsiteY69" fmla="*/ 13693 h 272043"/>
                <a:gd name="connsiteX70" fmla="*/ 136847 w 212047"/>
                <a:gd name="connsiteY70" fmla="*/ 11923 h 272043"/>
                <a:gd name="connsiteX71" fmla="*/ 132437 w 212047"/>
                <a:gd name="connsiteY71" fmla="*/ 13693 h 272043"/>
                <a:gd name="connsiteX72" fmla="*/ 125293 w 212047"/>
                <a:gd name="connsiteY72" fmla="*/ 20613 h 272043"/>
                <a:gd name="connsiteX73" fmla="*/ 124550 w 212047"/>
                <a:gd name="connsiteY73" fmla="*/ 20556 h 272043"/>
                <a:gd name="connsiteX74" fmla="*/ 113959 w 212047"/>
                <a:gd name="connsiteY74" fmla="*/ 16289 h 272043"/>
                <a:gd name="connsiteX75" fmla="*/ 113393 w 212047"/>
                <a:gd name="connsiteY75" fmla="*/ 15820 h 272043"/>
                <a:gd name="connsiteX76" fmla="*/ 113393 w 212047"/>
                <a:gd name="connsiteY76" fmla="*/ 6045 h 272043"/>
                <a:gd name="connsiteX77" fmla="*/ 111567 w 212047"/>
                <a:gd name="connsiteY77" fmla="*/ 1770 h 272043"/>
                <a:gd name="connsiteX78" fmla="*/ 107157 w 212047"/>
                <a:gd name="connsiteY78" fmla="*/ 0 h 272043"/>
                <a:gd name="connsiteX79" fmla="*/ 79944 w 212047"/>
                <a:gd name="connsiteY79" fmla="*/ 0 h 272043"/>
                <a:gd name="connsiteX80" fmla="*/ 75533 w 212047"/>
                <a:gd name="connsiteY80" fmla="*/ 1770 h 272043"/>
                <a:gd name="connsiteX81" fmla="*/ 73707 w 212047"/>
                <a:gd name="connsiteY81" fmla="*/ 6045 h 272043"/>
                <a:gd name="connsiteX82" fmla="*/ 62366 w 212047"/>
                <a:gd name="connsiteY82" fmla="*/ 78590 h 272043"/>
                <a:gd name="connsiteX83" fmla="*/ 77957 w 212047"/>
                <a:gd name="connsiteY83" fmla="*/ 52414 h 272043"/>
                <a:gd name="connsiteX84" fmla="*/ 109140 w 212047"/>
                <a:gd name="connsiteY84" fmla="*/ 52414 h 272043"/>
                <a:gd name="connsiteX85" fmla="*/ 124732 w 212047"/>
                <a:gd name="connsiteY85" fmla="*/ 78590 h 272043"/>
                <a:gd name="connsiteX86" fmla="*/ 86179 w 212047"/>
                <a:gd name="connsiteY86" fmla="*/ 15823 h 272043"/>
                <a:gd name="connsiteX87" fmla="*/ 86179 w 212047"/>
                <a:gd name="connsiteY87" fmla="*/ 12091 h 272043"/>
                <a:gd name="connsiteX88" fmla="*/ 100919 w 212047"/>
                <a:gd name="connsiteY88" fmla="*/ 12091 h 272043"/>
                <a:gd name="connsiteX89" fmla="*/ 100919 w 212047"/>
                <a:gd name="connsiteY89" fmla="*/ 15823 h 272043"/>
                <a:gd name="connsiteX90" fmla="*/ 103519 w 212047"/>
                <a:gd name="connsiteY90" fmla="*/ 23291 h 272043"/>
                <a:gd name="connsiteX91" fmla="*/ 110182 w 212047"/>
                <a:gd name="connsiteY91" fmla="*/ 27814 h 272043"/>
                <a:gd name="connsiteX92" fmla="*/ 118799 w 212047"/>
                <a:gd name="connsiteY92" fmla="*/ 31288 h 272043"/>
                <a:gd name="connsiteX93" fmla="*/ 126820 w 212047"/>
                <a:gd name="connsiteY93" fmla="*/ 32667 h 272043"/>
                <a:gd name="connsiteX94" fmla="*/ 134118 w 212047"/>
                <a:gd name="connsiteY94" fmla="*/ 29158 h 272043"/>
                <a:gd name="connsiteX95" fmla="*/ 136846 w 212047"/>
                <a:gd name="connsiteY95" fmla="*/ 26516 h 272043"/>
                <a:gd name="connsiteX96" fmla="*/ 147273 w 212047"/>
                <a:gd name="connsiteY96" fmla="*/ 36621 h 272043"/>
                <a:gd name="connsiteX97" fmla="*/ 144545 w 212047"/>
                <a:gd name="connsiteY97" fmla="*/ 39263 h 272043"/>
                <a:gd name="connsiteX98" fmla="*/ 140925 w 212047"/>
                <a:gd name="connsiteY98" fmla="*/ 46342 h 272043"/>
                <a:gd name="connsiteX99" fmla="*/ 142351 w 212047"/>
                <a:gd name="connsiteY99" fmla="*/ 54120 h 272043"/>
                <a:gd name="connsiteX100" fmla="*/ 145934 w 212047"/>
                <a:gd name="connsiteY100" fmla="*/ 62462 h 272043"/>
                <a:gd name="connsiteX101" fmla="*/ 150594 w 212047"/>
                <a:gd name="connsiteY101" fmla="*/ 68923 h 272043"/>
                <a:gd name="connsiteX102" fmla="*/ 158301 w 212047"/>
                <a:gd name="connsiteY102" fmla="*/ 71446 h 272043"/>
                <a:gd name="connsiteX103" fmla="*/ 162152 w 212047"/>
                <a:gd name="connsiteY103" fmla="*/ 71446 h 272043"/>
                <a:gd name="connsiteX104" fmla="*/ 162152 w 212047"/>
                <a:gd name="connsiteY104" fmla="*/ 78590 h 272043"/>
                <a:gd name="connsiteX105" fmla="*/ 137205 w 212047"/>
                <a:gd name="connsiteY105" fmla="*/ 78590 h 272043"/>
                <a:gd name="connsiteX106" fmla="*/ 115377 w 212047"/>
                <a:gd name="connsiteY106" fmla="*/ 41943 h 272043"/>
                <a:gd name="connsiteX107" fmla="*/ 71721 w 212047"/>
                <a:gd name="connsiteY107" fmla="*/ 41943 h 272043"/>
                <a:gd name="connsiteX108" fmla="*/ 49892 w 212047"/>
                <a:gd name="connsiteY108" fmla="*/ 78590 h 272043"/>
                <a:gd name="connsiteX109" fmla="*/ 24946 w 212047"/>
                <a:gd name="connsiteY109" fmla="*/ 78590 h 272043"/>
                <a:gd name="connsiteX110" fmla="*/ 24946 w 212047"/>
                <a:gd name="connsiteY110" fmla="*/ 71446 h 272043"/>
                <a:gd name="connsiteX111" fmla="*/ 28796 w 212047"/>
                <a:gd name="connsiteY111" fmla="*/ 71446 h 272043"/>
                <a:gd name="connsiteX112" fmla="*/ 36500 w 212047"/>
                <a:gd name="connsiteY112" fmla="*/ 68926 h 272043"/>
                <a:gd name="connsiteX113" fmla="*/ 41164 w 212047"/>
                <a:gd name="connsiteY113" fmla="*/ 62467 h 272043"/>
                <a:gd name="connsiteX114" fmla="*/ 44753 w 212047"/>
                <a:gd name="connsiteY114" fmla="*/ 54114 h 272043"/>
                <a:gd name="connsiteX115" fmla="*/ 46172 w 212047"/>
                <a:gd name="connsiteY115" fmla="*/ 46339 h 272043"/>
                <a:gd name="connsiteX116" fmla="*/ 42553 w 212047"/>
                <a:gd name="connsiteY116" fmla="*/ 39265 h 272043"/>
                <a:gd name="connsiteX117" fmla="*/ 39825 w 212047"/>
                <a:gd name="connsiteY117" fmla="*/ 36621 h 272043"/>
                <a:gd name="connsiteX118" fmla="*/ 50252 w 212047"/>
                <a:gd name="connsiteY118" fmla="*/ 26516 h 272043"/>
                <a:gd name="connsiteX119" fmla="*/ 52974 w 212047"/>
                <a:gd name="connsiteY119" fmla="*/ 29155 h 272043"/>
                <a:gd name="connsiteX120" fmla="*/ 60274 w 212047"/>
                <a:gd name="connsiteY120" fmla="*/ 32661 h 272043"/>
                <a:gd name="connsiteX121" fmla="*/ 68299 w 212047"/>
                <a:gd name="connsiteY121" fmla="*/ 31285 h 272043"/>
                <a:gd name="connsiteX122" fmla="*/ 76916 w 212047"/>
                <a:gd name="connsiteY122" fmla="*/ 27814 h 272043"/>
                <a:gd name="connsiteX123" fmla="*/ 83579 w 212047"/>
                <a:gd name="connsiteY123" fmla="*/ 23294 h 272043"/>
                <a:gd name="connsiteX124" fmla="*/ 86180 w 212047"/>
                <a:gd name="connsiteY124" fmla="*/ 15824 h 27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12047" h="272043">
                  <a:moveTo>
                    <a:pt x="73706" y="6045"/>
                  </a:moveTo>
                  <a:lnTo>
                    <a:pt x="73706" y="15823"/>
                  </a:lnTo>
                  <a:cubicBezTo>
                    <a:pt x="73706" y="15988"/>
                    <a:pt x="73455" y="16195"/>
                    <a:pt x="73140" y="16293"/>
                  </a:cubicBezTo>
                  <a:lnTo>
                    <a:pt x="73140" y="16290"/>
                  </a:lnTo>
                  <a:cubicBezTo>
                    <a:pt x="69490" y="17416"/>
                    <a:pt x="65946" y="18843"/>
                    <a:pt x="62550" y="20557"/>
                  </a:cubicBezTo>
                  <a:cubicBezTo>
                    <a:pt x="62252" y="20700"/>
                    <a:pt x="61923" y="20722"/>
                    <a:pt x="61800" y="20611"/>
                  </a:cubicBezTo>
                  <a:lnTo>
                    <a:pt x="54661" y="13694"/>
                  </a:lnTo>
                  <a:cubicBezTo>
                    <a:pt x="53493" y="12560"/>
                    <a:pt x="51905" y="11923"/>
                    <a:pt x="50252" y="11923"/>
                  </a:cubicBezTo>
                  <a:cubicBezTo>
                    <a:pt x="48597" y="11923"/>
                    <a:pt x="47011" y="12560"/>
                    <a:pt x="45841" y="13694"/>
                  </a:cubicBezTo>
                  <a:lnTo>
                    <a:pt x="26594" y="32345"/>
                  </a:lnTo>
                  <a:lnTo>
                    <a:pt x="26597" y="32345"/>
                  </a:lnTo>
                  <a:cubicBezTo>
                    <a:pt x="25428" y="33478"/>
                    <a:pt x="24770" y="35017"/>
                    <a:pt x="24770" y="36620"/>
                  </a:cubicBezTo>
                  <a:cubicBezTo>
                    <a:pt x="24770" y="38224"/>
                    <a:pt x="25428" y="39762"/>
                    <a:pt x="26597" y="40895"/>
                  </a:cubicBezTo>
                  <a:lnTo>
                    <a:pt x="33736" y="47818"/>
                  </a:lnTo>
                  <a:cubicBezTo>
                    <a:pt x="33858" y="47937"/>
                    <a:pt x="33839" y="48253"/>
                    <a:pt x="33689" y="48531"/>
                  </a:cubicBezTo>
                  <a:lnTo>
                    <a:pt x="33686" y="48528"/>
                  </a:lnTo>
                  <a:cubicBezTo>
                    <a:pt x="31912" y="51825"/>
                    <a:pt x="30436" y="55267"/>
                    <a:pt x="29275" y="58813"/>
                  </a:cubicBezTo>
                  <a:cubicBezTo>
                    <a:pt x="29172" y="59118"/>
                    <a:pt x="28964" y="59356"/>
                    <a:pt x="28794" y="59356"/>
                  </a:cubicBezTo>
                  <a:lnTo>
                    <a:pt x="18710" y="59356"/>
                  </a:lnTo>
                  <a:cubicBezTo>
                    <a:pt x="17056" y="59356"/>
                    <a:pt x="15469" y="59993"/>
                    <a:pt x="14299" y="61126"/>
                  </a:cubicBezTo>
                  <a:cubicBezTo>
                    <a:pt x="13130" y="62259"/>
                    <a:pt x="12473" y="63798"/>
                    <a:pt x="12473" y="65401"/>
                  </a:cubicBezTo>
                  <a:lnTo>
                    <a:pt x="12473" y="78590"/>
                  </a:lnTo>
                  <a:lnTo>
                    <a:pt x="6237" y="78590"/>
                  </a:lnTo>
                  <a:cubicBezTo>
                    <a:pt x="4582" y="78590"/>
                    <a:pt x="2996" y="79227"/>
                    <a:pt x="1826" y="80361"/>
                  </a:cubicBezTo>
                  <a:cubicBezTo>
                    <a:pt x="656" y="81494"/>
                    <a:pt x="0" y="83033"/>
                    <a:pt x="0" y="84636"/>
                  </a:cubicBezTo>
                  <a:lnTo>
                    <a:pt x="0" y="272044"/>
                  </a:lnTo>
                  <a:lnTo>
                    <a:pt x="12473" y="272044"/>
                  </a:lnTo>
                  <a:lnTo>
                    <a:pt x="12473" y="90681"/>
                  </a:lnTo>
                  <a:lnTo>
                    <a:pt x="174626" y="90681"/>
                  </a:lnTo>
                  <a:lnTo>
                    <a:pt x="174626" y="145090"/>
                  </a:lnTo>
                  <a:cubicBezTo>
                    <a:pt x="174626" y="146283"/>
                    <a:pt x="174990" y="147451"/>
                    <a:pt x="175672" y="148445"/>
                  </a:cubicBezTo>
                  <a:lnTo>
                    <a:pt x="196704" y="179020"/>
                  </a:lnTo>
                  <a:lnTo>
                    <a:pt x="178072" y="188048"/>
                  </a:lnTo>
                  <a:lnTo>
                    <a:pt x="178072" y="188045"/>
                  </a:lnTo>
                  <a:cubicBezTo>
                    <a:pt x="175959" y="189070"/>
                    <a:pt x="174625" y="191162"/>
                    <a:pt x="174625" y="193453"/>
                  </a:cubicBezTo>
                  <a:lnTo>
                    <a:pt x="174625" y="217635"/>
                  </a:lnTo>
                  <a:cubicBezTo>
                    <a:pt x="174617" y="225648"/>
                    <a:pt x="171326" y="233332"/>
                    <a:pt x="165482" y="238999"/>
                  </a:cubicBezTo>
                  <a:cubicBezTo>
                    <a:pt x="159635" y="244664"/>
                    <a:pt x="151708" y="247854"/>
                    <a:pt x="143442" y="247862"/>
                  </a:cubicBezTo>
                  <a:lnTo>
                    <a:pt x="106022" y="247862"/>
                  </a:lnTo>
                  <a:cubicBezTo>
                    <a:pt x="104368" y="247862"/>
                    <a:pt x="102782" y="248499"/>
                    <a:pt x="101612" y="249632"/>
                  </a:cubicBezTo>
                  <a:cubicBezTo>
                    <a:pt x="100443" y="250766"/>
                    <a:pt x="99785" y="252305"/>
                    <a:pt x="99785" y="253907"/>
                  </a:cubicBezTo>
                  <a:lnTo>
                    <a:pt x="99785" y="272044"/>
                  </a:lnTo>
                  <a:lnTo>
                    <a:pt x="112259" y="272044"/>
                  </a:lnTo>
                  <a:lnTo>
                    <a:pt x="112259" y="259953"/>
                  </a:lnTo>
                  <a:lnTo>
                    <a:pt x="143442" y="259953"/>
                  </a:lnTo>
                  <a:cubicBezTo>
                    <a:pt x="155016" y="259939"/>
                    <a:pt x="166114" y="255478"/>
                    <a:pt x="174297" y="247543"/>
                  </a:cubicBezTo>
                  <a:cubicBezTo>
                    <a:pt x="182482" y="239612"/>
                    <a:pt x="187084" y="228854"/>
                    <a:pt x="187098" y="217635"/>
                  </a:cubicBezTo>
                  <a:lnTo>
                    <a:pt x="187098" y="197191"/>
                  </a:lnTo>
                  <a:lnTo>
                    <a:pt x="208598" y="186771"/>
                  </a:lnTo>
                  <a:cubicBezTo>
                    <a:pt x="210200" y="185996"/>
                    <a:pt x="211380" y="184590"/>
                    <a:pt x="211839" y="182914"/>
                  </a:cubicBezTo>
                  <a:cubicBezTo>
                    <a:pt x="212299" y="181238"/>
                    <a:pt x="211992" y="179451"/>
                    <a:pt x="210999" y="178007"/>
                  </a:cubicBezTo>
                  <a:lnTo>
                    <a:pt x="187099" y="143260"/>
                  </a:lnTo>
                  <a:lnTo>
                    <a:pt x="187099" y="84635"/>
                  </a:lnTo>
                  <a:cubicBezTo>
                    <a:pt x="187099" y="83032"/>
                    <a:pt x="186442" y="81494"/>
                    <a:pt x="185272" y="80360"/>
                  </a:cubicBezTo>
                  <a:cubicBezTo>
                    <a:pt x="184103" y="79227"/>
                    <a:pt x="182516" y="78590"/>
                    <a:pt x="180862" y="78590"/>
                  </a:cubicBezTo>
                  <a:lnTo>
                    <a:pt x="174626" y="78590"/>
                  </a:lnTo>
                  <a:lnTo>
                    <a:pt x="174626" y="65400"/>
                  </a:lnTo>
                  <a:cubicBezTo>
                    <a:pt x="174626" y="63797"/>
                    <a:pt x="173969" y="62259"/>
                    <a:pt x="172799" y="61126"/>
                  </a:cubicBezTo>
                  <a:cubicBezTo>
                    <a:pt x="171630" y="59992"/>
                    <a:pt x="170043" y="59355"/>
                    <a:pt x="168389" y="59355"/>
                  </a:cubicBezTo>
                  <a:lnTo>
                    <a:pt x="158302" y="59355"/>
                  </a:lnTo>
                  <a:cubicBezTo>
                    <a:pt x="158132" y="59355"/>
                    <a:pt x="157923" y="59115"/>
                    <a:pt x="157820" y="58807"/>
                  </a:cubicBezTo>
                  <a:lnTo>
                    <a:pt x="157823" y="58807"/>
                  </a:lnTo>
                  <a:cubicBezTo>
                    <a:pt x="156662" y="55266"/>
                    <a:pt x="155189" y="51828"/>
                    <a:pt x="153418" y="48533"/>
                  </a:cubicBezTo>
                  <a:cubicBezTo>
                    <a:pt x="153259" y="48249"/>
                    <a:pt x="153243" y="47934"/>
                    <a:pt x="153363" y="47812"/>
                  </a:cubicBezTo>
                  <a:lnTo>
                    <a:pt x="160502" y="40892"/>
                  </a:lnTo>
                  <a:lnTo>
                    <a:pt x="160502" y="40895"/>
                  </a:lnTo>
                  <a:cubicBezTo>
                    <a:pt x="161671" y="39762"/>
                    <a:pt x="162328" y="38223"/>
                    <a:pt x="162328" y="36620"/>
                  </a:cubicBezTo>
                  <a:cubicBezTo>
                    <a:pt x="162328" y="35016"/>
                    <a:pt x="161671" y="33478"/>
                    <a:pt x="160502" y="32345"/>
                  </a:cubicBezTo>
                  <a:lnTo>
                    <a:pt x="141254" y="13693"/>
                  </a:lnTo>
                  <a:lnTo>
                    <a:pt x="141257" y="13693"/>
                  </a:lnTo>
                  <a:cubicBezTo>
                    <a:pt x="140088" y="12560"/>
                    <a:pt x="138501" y="11923"/>
                    <a:pt x="136847" y="11923"/>
                  </a:cubicBezTo>
                  <a:cubicBezTo>
                    <a:pt x="135193" y="11923"/>
                    <a:pt x="133606" y="12560"/>
                    <a:pt x="132437" y="13693"/>
                  </a:cubicBezTo>
                  <a:lnTo>
                    <a:pt x="125293" y="20613"/>
                  </a:lnTo>
                  <a:cubicBezTo>
                    <a:pt x="125176" y="20740"/>
                    <a:pt x="124842" y="20708"/>
                    <a:pt x="124550" y="20556"/>
                  </a:cubicBezTo>
                  <a:cubicBezTo>
                    <a:pt x="121153" y="18843"/>
                    <a:pt x="117609" y="17415"/>
                    <a:pt x="113959" y="16289"/>
                  </a:cubicBezTo>
                  <a:cubicBezTo>
                    <a:pt x="113641" y="16193"/>
                    <a:pt x="113393" y="15985"/>
                    <a:pt x="113393" y="15820"/>
                  </a:cubicBezTo>
                  <a:lnTo>
                    <a:pt x="113393" y="6045"/>
                  </a:lnTo>
                  <a:cubicBezTo>
                    <a:pt x="113393" y="4442"/>
                    <a:pt x="112736" y="2904"/>
                    <a:pt x="111567" y="1770"/>
                  </a:cubicBezTo>
                  <a:cubicBezTo>
                    <a:pt x="110398" y="637"/>
                    <a:pt x="108810" y="0"/>
                    <a:pt x="107157" y="0"/>
                  </a:cubicBezTo>
                  <a:lnTo>
                    <a:pt x="79944" y="0"/>
                  </a:lnTo>
                  <a:cubicBezTo>
                    <a:pt x="78290" y="0"/>
                    <a:pt x="76703" y="637"/>
                    <a:pt x="75533" y="1770"/>
                  </a:cubicBezTo>
                  <a:cubicBezTo>
                    <a:pt x="74364" y="2904"/>
                    <a:pt x="73707" y="4442"/>
                    <a:pt x="73707" y="6045"/>
                  </a:cubicBezTo>
                  <a:close/>
                  <a:moveTo>
                    <a:pt x="62366" y="78590"/>
                  </a:moveTo>
                  <a:cubicBezTo>
                    <a:pt x="62366" y="67792"/>
                    <a:pt x="68310" y="57812"/>
                    <a:pt x="77957" y="52414"/>
                  </a:cubicBezTo>
                  <a:cubicBezTo>
                    <a:pt x="87604" y="47014"/>
                    <a:pt x="99493" y="47014"/>
                    <a:pt x="109140" y="52414"/>
                  </a:cubicBezTo>
                  <a:cubicBezTo>
                    <a:pt x="118788" y="57812"/>
                    <a:pt x="124732" y="67792"/>
                    <a:pt x="124732" y="78590"/>
                  </a:cubicBezTo>
                  <a:close/>
                  <a:moveTo>
                    <a:pt x="86179" y="15823"/>
                  </a:moveTo>
                  <a:lnTo>
                    <a:pt x="86179" y="12091"/>
                  </a:lnTo>
                  <a:lnTo>
                    <a:pt x="100919" y="12091"/>
                  </a:lnTo>
                  <a:lnTo>
                    <a:pt x="100919" y="15823"/>
                  </a:lnTo>
                  <a:cubicBezTo>
                    <a:pt x="100941" y="18516"/>
                    <a:pt x="101854" y="21134"/>
                    <a:pt x="103519" y="23291"/>
                  </a:cubicBezTo>
                  <a:cubicBezTo>
                    <a:pt x="105187" y="25450"/>
                    <a:pt x="107520" y="27034"/>
                    <a:pt x="110182" y="27814"/>
                  </a:cubicBezTo>
                  <a:cubicBezTo>
                    <a:pt x="113153" y="28729"/>
                    <a:pt x="116037" y="29893"/>
                    <a:pt x="118799" y="31288"/>
                  </a:cubicBezTo>
                  <a:cubicBezTo>
                    <a:pt x="121252" y="32567"/>
                    <a:pt x="124064" y="33050"/>
                    <a:pt x="126820" y="32667"/>
                  </a:cubicBezTo>
                  <a:cubicBezTo>
                    <a:pt x="129577" y="32284"/>
                    <a:pt x="132135" y="31055"/>
                    <a:pt x="134118" y="29158"/>
                  </a:cubicBezTo>
                  <a:lnTo>
                    <a:pt x="136846" y="26516"/>
                  </a:lnTo>
                  <a:lnTo>
                    <a:pt x="147273" y="36621"/>
                  </a:lnTo>
                  <a:lnTo>
                    <a:pt x="144545" y="39263"/>
                  </a:lnTo>
                  <a:cubicBezTo>
                    <a:pt x="142587" y="41187"/>
                    <a:pt x="141321" y="43667"/>
                    <a:pt x="140925" y="46342"/>
                  </a:cubicBezTo>
                  <a:cubicBezTo>
                    <a:pt x="140532" y="49016"/>
                    <a:pt x="141031" y="51743"/>
                    <a:pt x="142351" y="54120"/>
                  </a:cubicBezTo>
                  <a:cubicBezTo>
                    <a:pt x="143790" y="56794"/>
                    <a:pt x="144987" y="59588"/>
                    <a:pt x="145934" y="62462"/>
                  </a:cubicBezTo>
                  <a:cubicBezTo>
                    <a:pt x="146736" y="65042"/>
                    <a:pt x="148370" y="67307"/>
                    <a:pt x="150594" y="68923"/>
                  </a:cubicBezTo>
                  <a:cubicBezTo>
                    <a:pt x="152819" y="70540"/>
                    <a:pt x="155520" y="71425"/>
                    <a:pt x="158301" y="71446"/>
                  </a:cubicBezTo>
                  <a:lnTo>
                    <a:pt x="162152" y="71446"/>
                  </a:lnTo>
                  <a:lnTo>
                    <a:pt x="162152" y="78590"/>
                  </a:lnTo>
                  <a:lnTo>
                    <a:pt x="137205" y="78590"/>
                  </a:lnTo>
                  <a:cubicBezTo>
                    <a:pt x="137205" y="63471"/>
                    <a:pt x="128883" y="49502"/>
                    <a:pt x="115377" y="41943"/>
                  </a:cubicBezTo>
                  <a:cubicBezTo>
                    <a:pt x="101871" y="34384"/>
                    <a:pt x="85227" y="34384"/>
                    <a:pt x="71721" y="41943"/>
                  </a:cubicBezTo>
                  <a:cubicBezTo>
                    <a:pt x="58215" y="49502"/>
                    <a:pt x="49892" y="63471"/>
                    <a:pt x="49892" y="78590"/>
                  </a:cubicBezTo>
                  <a:lnTo>
                    <a:pt x="24946" y="78590"/>
                  </a:lnTo>
                  <a:lnTo>
                    <a:pt x="24946" y="71446"/>
                  </a:lnTo>
                  <a:lnTo>
                    <a:pt x="28796" y="71446"/>
                  </a:lnTo>
                  <a:cubicBezTo>
                    <a:pt x="31574" y="71425"/>
                    <a:pt x="34276" y="70543"/>
                    <a:pt x="36500" y="68926"/>
                  </a:cubicBezTo>
                  <a:cubicBezTo>
                    <a:pt x="38728" y="67309"/>
                    <a:pt x="40362" y="65047"/>
                    <a:pt x="41164" y="62467"/>
                  </a:cubicBezTo>
                  <a:cubicBezTo>
                    <a:pt x="42110" y="59588"/>
                    <a:pt x="43311" y="56792"/>
                    <a:pt x="44753" y="54114"/>
                  </a:cubicBezTo>
                  <a:cubicBezTo>
                    <a:pt x="46070" y="51737"/>
                    <a:pt x="46568" y="49011"/>
                    <a:pt x="46172" y="46339"/>
                  </a:cubicBezTo>
                  <a:cubicBezTo>
                    <a:pt x="45778" y="43667"/>
                    <a:pt x="44507" y="41187"/>
                    <a:pt x="42553" y="39265"/>
                  </a:cubicBezTo>
                  <a:lnTo>
                    <a:pt x="39825" y="36621"/>
                  </a:lnTo>
                  <a:lnTo>
                    <a:pt x="50252" y="26516"/>
                  </a:lnTo>
                  <a:lnTo>
                    <a:pt x="52974" y="29155"/>
                  </a:lnTo>
                  <a:cubicBezTo>
                    <a:pt x="54960" y="31050"/>
                    <a:pt x="57518" y="32278"/>
                    <a:pt x="60274" y="32661"/>
                  </a:cubicBezTo>
                  <a:cubicBezTo>
                    <a:pt x="63031" y="33045"/>
                    <a:pt x="65843" y="32562"/>
                    <a:pt x="68299" y="31285"/>
                  </a:cubicBezTo>
                  <a:cubicBezTo>
                    <a:pt x="71063" y="29890"/>
                    <a:pt x="73945" y="28729"/>
                    <a:pt x="76916" y="27814"/>
                  </a:cubicBezTo>
                  <a:cubicBezTo>
                    <a:pt x="79578" y="27034"/>
                    <a:pt x="81911" y="25450"/>
                    <a:pt x="83579" y="23294"/>
                  </a:cubicBezTo>
                  <a:cubicBezTo>
                    <a:pt x="85244" y="21135"/>
                    <a:pt x="86157" y="18517"/>
                    <a:pt x="86180" y="15824"/>
                  </a:cubicBez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E088470-AD2A-26B6-7225-18190AC61715}"/>
                </a:ext>
              </a:extLst>
            </p:cNvPr>
            <p:cNvSpPr/>
            <p:nvPr/>
          </p:nvSpPr>
          <p:spPr>
            <a:xfrm>
              <a:off x="1007434" y="4727971"/>
              <a:ext cx="62365" cy="60454"/>
            </a:xfrm>
            <a:custGeom>
              <a:avLst/>
              <a:gdLst>
                <a:gd name="connsiteX0" fmla="*/ 12045 w 62365"/>
                <a:gd name="connsiteY0" fmla="*/ 38949 h 60454"/>
                <a:gd name="connsiteX1" fmla="*/ 9609 w 62365"/>
                <a:gd name="connsiteY1" fmla="*/ 53437 h 60454"/>
                <a:gd name="connsiteX2" fmla="*/ 12176 w 62365"/>
                <a:gd name="connsiteY2" fmla="*/ 59353 h 60454"/>
                <a:gd name="connsiteX3" fmla="*/ 18786 w 62365"/>
                <a:gd name="connsiteY3" fmla="*/ 59698 h 60454"/>
                <a:gd name="connsiteX4" fmla="*/ 31181 w 62365"/>
                <a:gd name="connsiteY4" fmla="*/ 53053 h 60454"/>
                <a:gd name="connsiteX5" fmla="*/ 43577 w 62365"/>
                <a:gd name="connsiteY5" fmla="*/ 59698 h 60454"/>
                <a:gd name="connsiteX6" fmla="*/ 50186 w 62365"/>
                <a:gd name="connsiteY6" fmla="*/ 59353 h 60454"/>
                <a:gd name="connsiteX7" fmla="*/ 52754 w 62365"/>
                <a:gd name="connsiteY7" fmla="*/ 53437 h 60454"/>
                <a:gd name="connsiteX8" fmla="*/ 50318 w 62365"/>
                <a:gd name="connsiteY8" fmla="*/ 38949 h 60454"/>
                <a:gd name="connsiteX9" fmla="*/ 60591 w 62365"/>
                <a:gd name="connsiteY9" fmla="*/ 28740 h 60454"/>
                <a:gd name="connsiteX10" fmla="*/ 62042 w 62365"/>
                <a:gd name="connsiteY10" fmla="*/ 22600 h 60454"/>
                <a:gd name="connsiteX11" fmla="*/ 57072 w 62365"/>
                <a:gd name="connsiteY11" fmla="*/ 18543 h 60454"/>
                <a:gd name="connsiteX12" fmla="*/ 43126 w 62365"/>
                <a:gd name="connsiteY12" fmla="*/ 16476 h 60454"/>
                <a:gd name="connsiteX13" fmla="*/ 36829 w 62365"/>
                <a:gd name="connsiteY13" fmla="*/ 3476 h 60454"/>
                <a:gd name="connsiteX14" fmla="*/ 31182 w 62365"/>
                <a:gd name="connsiteY14" fmla="*/ 0 h 60454"/>
                <a:gd name="connsiteX15" fmla="*/ 25536 w 62365"/>
                <a:gd name="connsiteY15" fmla="*/ 3476 h 60454"/>
                <a:gd name="connsiteX16" fmla="*/ 19238 w 62365"/>
                <a:gd name="connsiteY16" fmla="*/ 16476 h 60454"/>
                <a:gd name="connsiteX17" fmla="*/ 5292 w 62365"/>
                <a:gd name="connsiteY17" fmla="*/ 18543 h 60454"/>
                <a:gd name="connsiteX18" fmla="*/ 322 w 62365"/>
                <a:gd name="connsiteY18" fmla="*/ 22600 h 60454"/>
                <a:gd name="connsiteX19" fmla="*/ 1772 w 62365"/>
                <a:gd name="connsiteY19" fmla="*/ 28740 h 60454"/>
                <a:gd name="connsiteX20" fmla="*/ 24415 w 62365"/>
                <a:gd name="connsiteY20" fmla="*/ 27938 h 60454"/>
                <a:gd name="connsiteX21" fmla="*/ 29115 w 62365"/>
                <a:gd name="connsiteY21" fmla="*/ 24532 h 60454"/>
                <a:gd name="connsiteX22" fmla="*/ 31181 w 62365"/>
                <a:gd name="connsiteY22" fmla="*/ 20270 h 60454"/>
                <a:gd name="connsiteX23" fmla="*/ 33244 w 62365"/>
                <a:gd name="connsiteY23" fmla="*/ 24532 h 60454"/>
                <a:gd name="connsiteX24" fmla="*/ 37946 w 62365"/>
                <a:gd name="connsiteY24" fmla="*/ 27938 h 60454"/>
                <a:gd name="connsiteX25" fmla="*/ 43186 w 62365"/>
                <a:gd name="connsiteY25" fmla="*/ 28715 h 60454"/>
                <a:gd name="connsiteX26" fmla="*/ 39191 w 62365"/>
                <a:gd name="connsiteY26" fmla="*/ 32688 h 60454"/>
                <a:gd name="connsiteX27" fmla="*/ 37496 w 62365"/>
                <a:gd name="connsiteY27" fmla="*/ 37880 h 60454"/>
                <a:gd name="connsiteX28" fmla="*/ 38372 w 62365"/>
                <a:gd name="connsiteY28" fmla="*/ 43094 h 60454"/>
                <a:gd name="connsiteX29" fmla="*/ 34201 w 62365"/>
                <a:gd name="connsiteY29" fmla="*/ 40857 h 60454"/>
                <a:gd name="connsiteX30" fmla="*/ 28160 w 62365"/>
                <a:gd name="connsiteY30" fmla="*/ 40857 h 60454"/>
                <a:gd name="connsiteX31" fmla="*/ 23989 w 62365"/>
                <a:gd name="connsiteY31" fmla="*/ 43094 h 60454"/>
                <a:gd name="connsiteX32" fmla="*/ 24866 w 62365"/>
                <a:gd name="connsiteY32" fmla="*/ 37880 h 60454"/>
                <a:gd name="connsiteX33" fmla="*/ 23171 w 62365"/>
                <a:gd name="connsiteY33" fmla="*/ 32688 h 60454"/>
                <a:gd name="connsiteX34" fmla="*/ 19175 w 62365"/>
                <a:gd name="connsiteY34" fmla="*/ 28715 h 6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2365" h="60454">
                  <a:moveTo>
                    <a:pt x="12045" y="38949"/>
                  </a:moveTo>
                  <a:lnTo>
                    <a:pt x="9609" y="53437"/>
                  </a:lnTo>
                  <a:cubicBezTo>
                    <a:pt x="9225" y="55723"/>
                    <a:pt x="10221" y="58020"/>
                    <a:pt x="12176" y="59353"/>
                  </a:cubicBezTo>
                  <a:cubicBezTo>
                    <a:pt x="14131" y="60686"/>
                    <a:pt x="16697" y="60818"/>
                    <a:pt x="18786" y="59698"/>
                  </a:cubicBezTo>
                  <a:lnTo>
                    <a:pt x="31181" y="53053"/>
                  </a:lnTo>
                  <a:lnTo>
                    <a:pt x="43577" y="59698"/>
                  </a:lnTo>
                  <a:cubicBezTo>
                    <a:pt x="45665" y="60818"/>
                    <a:pt x="48232" y="60686"/>
                    <a:pt x="50186" y="59353"/>
                  </a:cubicBezTo>
                  <a:cubicBezTo>
                    <a:pt x="52142" y="58020"/>
                    <a:pt x="53138" y="55723"/>
                    <a:pt x="52754" y="53437"/>
                  </a:cubicBezTo>
                  <a:lnTo>
                    <a:pt x="50318" y="38949"/>
                  </a:lnTo>
                  <a:lnTo>
                    <a:pt x="60591" y="28740"/>
                  </a:lnTo>
                  <a:cubicBezTo>
                    <a:pt x="62226" y="27118"/>
                    <a:pt x="62785" y="24748"/>
                    <a:pt x="62042" y="22600"/>
                  </a:cubicBezTo>
                  <a:cubicBezTo>
                    <a:pt x="61301" y="20452"/>
                    <a:pt x="59383" y="18886"/>
                    <a:pt x="57072" y="18543"/>
                  </a:cubicBezTo>
                  <a:lnTo>
                    <a:pt x="43126" y="16476"/>
                  </a:lnTo>
                  <a:lnTo>
                    <a:pt x="36829" y="3476"/>
                  </a:lnTo>
                  <a:cubicBezTo>
                    <a:pt x="35801" y="1355"/>
                    <a:pt x="33601" y="0"/>
                    <a:pt x="31182" y="0"/>
                  </a:cubicBezTo>
                  <a:cubicBezTo>
                    <a:pt x="28762" y="0"/>
                    <a:pt x="26563" y="1355"/>
                    <a:pt x="25536" y="3476"/>
                  </a:cubicBezTo>
                  <a:lnTo>
                    <a:pt x="19238" y="16476"/>
                  </a:lnTo>
                  <a:lnTo>
                    <a:pt x="5292" y="18543"/>
                  </a:lnTo>
                  <a:cubicBezTo>
                    <a:pt x="2981" y="18886"/>
                    <a:pt x="1062" y="20452"/>
                    <a:pt x="322" y="22600"/>
                  </a:cubicBezTo>
                  <a:cubicBezTo>
                    <a:pt x="-419" y="24748"/>
                    <a:pt x="141" y="27118"/>
                    <a:pt x="1772" y="28740"/>
                  </a:cubicBezTo>
                  <a:close/>
                  <a:moveTo>
                    <a:pt x="24415" y="27938"/>
                  </a:moveTo>
                  <a:cubicBezTo>
                    <a:pt x="26470" y="27635"/>
                    <a:pt x="28232" y="26356"/>
                    <a:pt x="29115" y="24532"/>
                  </a:cubicBezTo>
                  <a:lnTo>
                    <a:pt x="31181" y="20270"/>
                  </a:lnTo>
                  <a:lnTo>
                    <a:pt x="33244" y="24532"/>
                  </a:lnTo>
                  <a:cubicBezTo>
                    <a:pt x="34129" y="26356"/>
                    <a:pt x="35892" y="27635"/>
                    <a:pt x="37946" y="27938"/>
                  </a:cubicBezTo>
                  <a:lnTo>
                    <a:pt x="43186" y="28715"/>
                  </a:lnTo>
                  <a:lnTo>
                    <a:pt x="39191" y="32688"/>
                  </a:lnTo>
                  <a:cubicBezTo>
                    <a:pt x="37807" y="34061"/>
                    <a:pt x="37181" y="35988"/>
                    <a:pt x="37496" y="37880"/>
                  </a:cubicBezTo>
                  <a:lnTo>
                    <a:pt x="38372" y="43094"/>
                  </a:lnTo>
                  <a:lnTo>
                    <a:pt x="34201" y="40857"/>
                  </a:lnTo>
                  <a:cubicBezTo>
                    <a:pt x="32323" y="39848"/>
                    <a:pt x="30040" y="39848"/>
                    <a:pt x="28160" y="40857"/>
                  </a:cubicBezTo>
                  <a:lnTo>
                    <a:pt x="23989" y="43094"/>
                  </a:lnTo>
                  <a:lnTo>
                    <a:pt x="24866" y="37880"/>
                  </a:lnTo>
                  <a:cubicBezTo>
                    <a:pt x="25181" y="35988"/>
                    <a:pt x="24554" y="34061"/>
                    <a:pt x="23171" y="32688"/>
                  </a:cubicBezTo>
                  <a:lnTo>
                    <a:pt x="19175" y="28715"/>
                  </a:ln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AA670BD-FCAD-2A82-6DE3-8492180EA96D}"/>
                </a:ext>
              </a:extLst>
            </p:cNvPr>
            <p:cNvSpPr/>
            <p:nvPr/>
          </p:nvSpPr>
          <p:spPr>
            <a:xfrm>
              <a:off x="714312" y="4776338"/>
              <a:ext cx="62365" cy="60453"/>
            </a:xfrm>
            <a:custGeom>
              <a:avLst/>
              <a:gdLst>
                <a:gd name="connsiteX0" fmla="*/ 12045 w 62365"/>
                <a:gd name="connsiteY0" fmla="*/ 38949 h 60453"/>
                <a:gd name="connsiteX1" fmla="*/ 9609 w 62365"/>
                <a:gd name="connsiteY1" fmla="*/ 53437 h 60453"/>
                <a:gd name="connsiteX2" fmla="*/ 12176 w 62365"/>
                <a:gd name="connsiteY2" fmla="*/ 59352 h 60453"/>
                <a:gd name="connsiteX3" fmla="*/ 18786 w 62365"/>
                <a:gd name="connsiteY3" fmla="*/ 59698 h 60453"/>
                <a:gd name="connsiteX4" fmla="*/ 31181 w 62365"/>
                <a:gd name="connsiteY4" fmla="*/ 53053 h 60453"/>
                <a:gd name="connsiteX5" fmla="*/ 43577 w 62365"/>
                <a:gd name="connsiteY5" fmla="*/ 59698 h 60453"/>
                <a:gd name="connsiteX6" fmla="*/ 50186 w 62365"/>
                <a:gd name="connsiteY6" fmla="*/ 59352 h 60453"/>
                <a:gd name="connsiteX7" fmla="*/ 52754 w 62365"/>
                <a:gd name="connsiteY7" fmla="*/ 53437 h 60453"/>
                <a:gd name="connsiteX8" fmla="*/ 50317 w 62365"/>
                <a:gd name="connsiteY8" fmla="*/ 38949 h 60453"/>
                <a:gd name="connsiteX9" fmla="*/ 60591 w 62365"/>
                <a:gd name="connsiteY9" fmla="*/ 28740 h 60453"/>
                <a:gd name="connsiteX10" fmla="*/ 62042 w 62365"/>
                <a:gd name="connsiteY10" fmla="*/ 22599 h 60453"/>
                <a:gd name="connsiteX11" fmla="*/ 57072 w 62365"/>
                <a:gd name="connsiteY11" fmla="*/ 18543 h 60453"/>
                <a:gd name="connsiteX12" fmla="*/ 43126 w 62365"/>
                <a:gd name="connsiteY12" fmla="*/ 16476 h 60453"/>
                <a:gd name="connsiteX13" fmla="*/ 36829 w 62365"/>
                <a:gd name="connsiteY13" fmla="*/ 3476 h 60453"/>
                <a:gd name="connsiteX14" fmla="*/ 31182 w 62365"/>
                <a:gd name="connsiteY14" fmla="*/ 0 h 60453"/>
                <a:gd name="connsiteX15" fmla="*/ 25536 w 62365"/>
                <a:gd name="connsiteY15" fmla="*/ 3476 h 60453"/>
                <a:gd name="connsiteX16" fmla="*/ 19238 w 62365"/>
                <a:gd name="connsiteY16" fmla="*/ 16476 h 60453"/>
                <a:gd name="connsiteX17" fmla="*/ 5292 w 62365"/>
                <a:gd name="connsiteY17" fmla="*/ 18543 h 60453"/>
                <a:gd name="connsiteX18" fmla="*/ 322 w 62365"/>
                <a:gd name="connsiteY18" fmla="*/ 22599 h 60453"/>
                <a:gd name="connsiteX19" fmla="*/ 1772 w 62365"/>
                <a:gd name="connsiteY19" fmla="*/ 28740 h 60453"/>
                <a:gd name="connsiteX20" fmla="*/ 24415 w 62365"/>
                <a:gd name="connsiteY20" fmla="*/ 27937 h 60453"/>
                <a:gd name="connsiteX21" fmla="*/ 29115 w 62365"/>
                <a:gd name="connsiteY21" fmla="*/ 24531 h 60453"/>
                <a:gd name="connsiteX22" fmla="*/ 31181 w 62365"/>
                <a:gd name="connsiteY22" fmla="*/ 20270 h 60453"/>
                <a:gd name="connsiteX23" fmla="*/ 33244 w 62365"/>
                <a:gd name="connsiteY23" fmla="*/ 24531 h 60453"/>
                <a:gd name="connsiteX24" fmla="*/ 37946 w 62365"/>
                <a:gd name="connsiteY24" fmla="*/ 27937 h 60453"/>
                <a:gd name="connsiteX25" fmla="*/ 43186 w 62365"/>
                <a:gd name="connsiteY25" fmla="*/ 28715 h 60453"/>
                <a:gd name="connsiteX26" fmla="*/ 39191 w 62365"/>
                <a:gd name="connsiteY26" fmla="*/ 32687 h 60453"/>
                <a:gd name="connsiteX27" fmla="*/ 37496 w 62365"/>
                <a:gd name="connsiteY27" fmla="*/ 37880 h 60453"/>
                <a:gd name="connsiteX28" fmla="*/ 38372 w 62365"/>
                <a:gd name="connsiteY28" fmla="*/ 43094 h 60453"/>
                <a:gd name="connsiteX29" fmla="*/ 34202 w 62365"/>
                <a:gd name="connsiteY29" fmla="*/ 40857 h 60453"/>
                <a:gd name="connsiteX30" fmla="*/ 28160 w 62365"/>
                <a:gd name="connsiteY30" fmla="*/ 40857 h 60453"/>
                <a:gd name="connsiteX31" fmla="*/ 23989 w 62365"/>
                <a:gd name="connsiteY31" fmla="*/ 43094 h 60453"/>
                <a:gd name="connsiteX32" fmla="*/ 24866 w 62365"/>
                <a:gd name="connsiteY32" fmla="*/ 37880 h 60453"/>
                <a:gd name="connsiteX33" fmla="*/ 23171 w 62365"/>
                <a:gd name="connsiteY33" fmla="*/ 32687 h 60453"/>
                <a:gd name="connsiteX34" fmla="*/ 19175 w 62365"/>
                <a:gd name="connsiteY34" fmla="*/ 28715 h 6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2365" h="60453">
                  <a:moveTo>
                    <a:pt x="12045" y="38949"/>
                  </a:moveTo>
                  <a:lnTo>
                    <a:pt x="9609" y="53437"/>
                  </a:lnTo>
                  <a:cubicBezTo>
                    <a:pt x="9225" y="55723"/>
                    <a:pt x="10221" y="58019"/>
                    <a:pt x="12176" y="59352"/>
                  </a:cubicBezTo>
                  <a:cubicBezTo>
                    <a:pt x="14131" y="60686"/>
                    <a:pt x="16697" y="60818"/>
                    <a:pt x="18786" y="59698"/>
                  </a:cubicBezTo>
                  <a:lnTo>
                    <a:pt x="31181" y="53053"/>
                  </a:lnTo>
                  <a:lnTo>
                    <a:pt x="43577" y="59698"/>
                  </a:lnTo>
                  <a:cubicBezTo>
                    <a:pt x="45665" y="60818"/>
                    <a:pt x="48232" y="60686"/>
                    <a:pt x="50186" y="59352"/>
                  </a:cubicBezTo>
                  <a:cubicBezTo>
                    <a:pt x="52141" y="58019"/>
                    <a:pt x="53138" y="55723"/>
                    <a:pt x="52754" y="53437"/>
                  </a:cubicBezTo>
                  <a:lnTo>
                    <a:pt x="50317" y="38949"/>
                  </a:lnTo>
                  <a:lnTo>
                    <a:pt x="60591" y="28740"/>
                  </a:lnTo>
                  <a:cubicBezTo>
                    <a:pt x="62226" y="27117"/>
                    <a:pt x="62785" y="24748"/>
                    <a:pt x="62042" y="22599"/>
                  </a:cubicBezTo>
                  <a:cubicBezTo>
                    <a:pt x="61301" y="20451"/>
                    <a:pt x="59383" y="18886"/>
                    <a:pt x="57072" y="18543"/>
                  </a:cubicBezTo>
                  <a:lnTo>
                    <a:pt x="43126" y="16476"/>
                  </a:lnTo>
                  <a:lnTo>
                    <a:pt x="36829" y="3476"/>
                  </a:lnTo>
                  <a:cubicBezTo>
                    <a:pt x="35801" y="1355"/>
                    <a:pt x="33601" y="0"/>
                    <a:pt x="31182" y="0"/>
                  </a:cubicBezTo>
                  <a:cubicBezTo>
                    <a:pt x="28762" y="0"/>
                    <a:pt x="26563" y="1355"/>
                    <a:pt x="25536" y="3476"/>
                  </a:cubicBezTo>
                  <a:lnTo>
                    <a:pt x="19238" y="16476"/>
                  </a:lnTo>
                  <a:lnTo>
                    <a:pt x="5292" y="18543"/>
                  </a:lnTo>
                  <a:cubicBezTo>
                    <a:pt x="2981" y="18886"/>
                    <a:pt x="1063" y="20451"/>
                    <a:pt x="322" y="22599"/>
                  </a:cubicBezTo>
                  <a:cubicBezTo>
                    <a:pt x="-419" y="24748"/>
                    <a:pt x="141" y="27117"/>
                    <a:pt x="1772" y="28740"/>
                  </a:cubicBezTo>
                  <a:close/>
                  <a:moveTo>
                    <a:pt x="24415" y="27937"/>
                  </a:moveTo>
                  <a:cubicBezTo>
                    <a:pt x="26470" y="27635"/>
                    <a:pt x="28233" y="26356"/>
                    <a:pt x="29115" y="24531"/>
                  </a:cubicBezTo>
                  <a:lnTo>
                    <a:pt x="31181" y="20270"/>
                  </a:lnTo>
                  <a:lnTo>
                    <a:pt x="33244" y="24531"/>
                  </a:lnTo>
                  <a:cubicBezTo>
                    <a:pt x="34129" y="26356"/>
                    <a:pt x="35892" y="27635"/>
                    <a:pt x="37946" y="27937"/>
                  </a:cubicBezTo>
                  <a:lnTo>
                    <a:pt x="43186" y="28715"/>
                  </a:lnTo>
                  <a:lnTo>
                    <a:pt x="39191" y="32687"/>
                  </a:lnTo>
                  <a:cubicBezTo>
                    <a:pt x="37807" y="34061"/>
                    <a:pt x="37181" y="35988"/>
                    <a:pt x="37496" y="37880"/>
                  </a:cubicBezTo>
                  <a:lnTo>
                    <a:pt x="38372" y="43094"/>
                  </a:lnTo>
                  <a:lnTo>
                    <a:pt x="34202" y="40857"/>
                  </a:lnTo>
                  <a:cubicBezTo>
                    <a:pt x="32322" y="39847"/>
                    <a:pt x="30039" y="39847"/>
                    <a:pt x="28160" y="40857"/>
                  </a:cubicBezTo>
                  <a:lnTo>
                    <a:pt x="23989" y="43094"/>
                  </a:lnTo>
                  <a:lnTo>
                    <a:pt x="24866" y="37880"/>
                  </a:lnTo>
                  <a:cubicBezTo>
                    <a:pt x="25181" y="35988"/>
                    <a:pt x="24554" y="34061"/>
                    <a:pt x="23171" y="32687"/>
                  </a:cubicBezTo>
                  <a:lnTo>
                    <a:pt x="19175" y="28715"/>
                  </a:ln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33B5C0E-97B2-7AC9-EA66-200A1598F998}"/>
                </a:ext>
              </a:extLst>
            </p:cNvPr>
            <p:cNvSpPr/>
            <p:nvPr/>
          </p:nvSpPr>
          <p:spPr>
            <a:xfrm>
              <a:off x="807865" y="4709834"/>
              <a:ext cx="74836" cy="72544"/>
            </a:xfrm>
            <a:custGeom>
              <a:avLst/>
              <a:gdLst>
                <a:gd name="connsiteX0" fmla="*/ 15164 w 74836"/>
                <a:gd name="connsiteY0" fmla="*/ 46666 h 72544"/>
                <a:gd name="connsiteX1" fmla="*/ 11990 w 74836"/>
                <a:gd name="connsiteY1" fmla="*/ 65526 h 72544"/>
                <a:gd name="connsiteX2" fmla="*/ 14554 w 74836"/>
                <a:gd name="connsiteY2" fmla="*/ 71441 h 72544"/>
                <a:gd name="connsiteX3" fmla="*/ 21164 w 74836"/>
                <a:gd name="connsiteY3" fmla="*/ 71789 h 72544"/>
                <a:gd name="connsiteX4" fmla="*/ 37418 w 74836"/>
                <a:gd name="connsiteY4" fmla="*/ 63080 h 72544"/>
                <a:gd name="connsiteX5" fmla="*/ 53673 w 74836"/>
                <a:gd name="connsiteY5" fmla="*/ 71789 h 72544"/>
                <a:gd name="connsiteX6" fmla="*/ 60282 w 74836"/>
                <a:gd name="connsiteY6" fmla="*/ 71441 h 72544"/>
                <a:gd name="connsiteX7" fmla="*/ 62846 w 74836"/>
                <a:gd name="connsiteY7" fmla="*/ 65526 h 72544"/>
                <a:gd name="connsiteX8" fmla="*/ 59673 w 74836"/>
                <a:gd name="connsiteY8" fmla="*/ 46666 h 72544"/>
                <a:gd name="connsiteX9" fmla="*/ 73065 w 74836"/>
                <a:gd name="connsiteY9" fmla="*/ 33358 h 72544"/>
                <a:gd name="connsiteX10" fmla="*/ 74515 w 74836"/>
                <a:gd name="connsiteY10" fmla="*/ 27218 h 72544"/>
                <a:gd name="connsiteX11" fmla="*/ 69546 w 74836"/>
                <a:gd name="connsiteY11" fmla="*/ 23161 h 72544"/>
                <a:gd name="connsiteX12" fmla="*/ 51287 w 74836"/>
                <a:gd name="connsiteY12" fmla="*/ 20460 h 72544"/>
                <a:gd name="connsiteX13" fmla="*/ 43065 w 74836"/>
                <a:gd name="connsiteY13" fmla="*/ 3476 h 72544"/>
                <a:gd name="connsiteX14" fmla="*/ 37419 w 74836"/>
                <a:gd name="connsiteY14" fmla="*/ 0 h 72544"/>
                <a:gd name="connsiteX15" fmla="*/ 31772 w 74836"/>
                <a:gd name="connsiteY15" fmla="*/ 3476 h 72544"/>
                <a:gd name="connsiteX16" fmla="*/ 23551 w 74836"/>
                <a:gd name="connsiteY16" fmla="*/ 20460 h 72544"/>
                <a:gd name="connsiteX17" fmla="*/ 5292 w 74836"/>
                <a:gd name="connsiteY17" fmla="*/ 23161 h 72544"/>
                <a:gd name="connsiteX18" fmla="*/ 322 w 74836"/>
                <a:gd name="connsiteY18" fmla="*/ 27218 h 72544"/>
                <a:gd name="connsiteX19" fmla="*/ 1772 w 74836"/>
                <a:gd name="connsiteY19" fmla="*/ 33358 h 72544"/>
                <a:gd name="connsiteX20" fmla="*/ 28728 w 74836"/>
                <a:gd name="connsiteY20" fmla="*/ 31925 h 72544"/>
                <a:gd name="connsiteX21" fmla="*/ 28725 w 74836"/>
                <a:gd name="connsiteY21" fmla="*/ 31925 h 72544"/>
                <a:gd name="connsiteX22" fmla="*/ 33428 w 74836"/>
                <a:gd name="connsiteY22" fmla="*/ 28516 h 72544"/>
                <a:gd name="connsiteX23" fmla="*/ 37418 w 74836"/>
                <a:gd name="connsiteY23" fmla="*/ 20276 h 72544"/>
                <a:gd name="connsiteX24" fmla="*/ 41407 w 74836"/>
                <a:gd name="connsiteY24" fmla="*/ 28516 h 72544"/>
                <a:gd name="connsiteX25" fmla="*/ 46110 w 74836"/>
                <a:gd name="connsiteY25" fmla="*/ 31925 h 72544"/>
                <a:gd name="connsiteX26" fmla="*/ 55660 w 74836"/>
                <a:gd name="connsiteY26" fmla="*/ 33339 h 72544"/>
                <a:gd name="connsiteX27" fmla="*/ 48546 w 74836"/>
                <a:gd name="connsiteY27" fmla="*/ 40405 h 72544"/>
                <a:gd name="connsiteX28" fmla="*/ 46850 w 74836"/>
                <a:gd name="connsiteY28" fmla="*/ 45600 h 72544"/>
                <a:gd name="connsiteX29" fmla="*/ 48465 w 74836"/>
                <a:gd name="connsiteY29" fmla="*/ 55189 h 72544"/>
                <a:gd name="connsiteX30" fmla="*/ 40432 w 74836"/>
                <a:gd name="connsiteY30" fmla="*/ 50884 h 72544"/>
                <a:gd name="connsiteX31" fmla="*/ 34402 w 74836"/>
                <a:gd name="connsiteY31" fmla="*/ 50884 h 72544"/>
                <a:gd name="connsiteX32" fmla="*/ 26369 w 74836"/>
                <a:gd name="connsiteY32" fmla="*/ 55189 h 72544"/>
                <a:gd name="connsiteX33" fmla="*/ 27984 w 74836"/>
                <a:gd name="connsiteY33" fmla="*/ 45600 h 72544"/>
                <a:gd name="connsiteX34" fmla="*/ 26288 w 74836"/>
                <a:gd name="connsiteY34" fmla="*/ 40405 h 72544"/>
                <a:gd name="connsiteX35" fmla="*/ 19174 w 74836"/>
                <a:gd name="connsiteY35" fmla="*/ 33339 h 72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4836" h="72544">
                  <a:moveTo>
                    <a:pt x="15164" y="46666"/>
                  </a:moveTo>
                  <a:lnTo>
                    <a:pt x="11990" y="65526"/>
                  </a:lnTo>
                  <a:cubicBezTo>
                    <a:pt x="11606" y="67812"/>
                    <a:pt x="12602" y="70108"/>
                    <a:pt x="14554" y="71441"/>
                  </a:cubicBezTo>
                  <a:cubicBezTo>
                    <a:pt x="16506" y="72774"/>
                    <a:pt x="19072" y="72909"/>
                    <a:pt x="21164" y="71789"/>
                  </a:cubicBezTo>
                  <a:lnTo>
                    <a:pt x="37418" y="63080"/>
                  </a:lnTo>
                  <a:lnTo>
                    <a:pt x="53673" y="71789"/>
                  </a:lnTo>
                  <a:cubicBezTo>
                    <a:pt x="55764" y="72910"/>
                    <a:pt x="58330" y="72774"/>
                    <a:pt x="60282" y="71441"/>
                  </a:cubicBezTo>
                  <a:cubicBezTo>
                    <a:pt x="62234" y="70108"/>
                    <a:pt x="63231" y="67812"/>
                    <a:pt x="62846" y="65526"/>
                  </a:cubicBezTo>
                  <a:lnTo>
                    <a:pt x="59673" y="46666"/>
                  </a:lnTo>
                  <a:lnTo>
                    <a:pt x="73065" y="33358"/>
                  </a:lnTo>
                  <a:cubicBezTo>
                    <a:pt x="74696" y="31736"/>
                    <a:pt x="75256" y="29366"/>
                    <a:pt x="74515" y="27218"/>
                  </a:cubicBezTo>
                  <a:cubicBezTo>
                    <a:pt x="73774" y="25070"/>
                    <a:pt x="71856" y="23504"/>
                    <a:pt x="69546" y="23161"/>
                  </a:cubicBezTo>
                  <a:lnTo>
                    <a:pt x="51287" y="20460"/>
                  </a:lnTo>
                  <a:lnTo>
                    <a:pt x="43065" y="3476"/>
                  </a:lnTo>
                  <a:cubicBezTo>
                    <a:pt x="42037" y="1355"/>
                    <a:pt x="39838" y="0"/>
                    <a:pt x="37419" y="0"/>
                  </a:cubicBezTo>
                  <a:cubicBezTo>
                    <a:pt x="34999" y="0"/>
                    <a:pt x="32799" y="1355"/>
                    <a:pt x="31772" y="3476"/>
                  </a:cubicBezTo>
                  <a:lnTo>
                    <a:pt x="23551" y="20460"/>
                  </a:lnTo>
                  <a:lnTo>
                    <a:pt x="5292" y="23161"/>
                  </a:lnTo>
                  <a:cubicBezTo>
                    <a:pt x="2981" y="23504"/>
                    <a:pt x="1062" y="25070"/>
                    <a:pt x="322" y="27218"/>
                  </a:cubicBezTo>
                  <a:cubicBezTo>
                    <a:pt x="-419" y="29366"/>
                    <a:pt x="141" y="31736"/>
                    <a:pt x="1772" y="33358"/>
                  </a:cubicBezTo>
                  <a:close/>
                  <a:moveTo>
                    <a:pt x="28728" y="31925"/>
                  </a:moveTo>
                  <a:lnTo>
                    <a:pt x="28725" y="31925"/>
                  </a:lnTo>
                  <a:cubicBezTo>
                    <a:pt x="30780" y="31617"/>
                    <a:pt x="32546" y="30338"/>
                    <a:pt x="33428" y="28516"/>
                  </a:cubicBezTo>
                  <a:lnTo>
                    <a:pt x="37418" y="20276"/>
                  </a:lnTo>
                  <a:lnTo>
                    <a:pt x="41407" y="28516"/>
                  </a:lnTo>
                  <a:cubicBezTo>
                    <a:pt x="42290" y="30338"/>
                    <a:pt x="44055" y="31617"/>
                    <a:pt x="46110" y="31925"/>
                  </a:cubicBezTo>
                  <a:lnTo>
                    <a:pt x="55660" y="33339"/>
                  </a:lnTo>
                  <a:lnTo>
                    <a:pt x="48546" y="40405"/>
                  </a:lnTo>
                  <a:cubicBezTo>
                    <a:pt x="47162" y="41779"/>
                    <a:pt x="46533" y="43706"/>
                    <a:pt x="46850" y="45600"/>
                  </a:cubicBezTo>
                  <a:lnTo>
                    <a:pt x="48465" y="55189"/>
                  </a:lnTo>
                  <a:lnTo>
                    <a:pt x="40432" y="50884"/>
                  </a:lnTo>
                  <a:cubicBezTo>
                    <a:pt x="38556" y="49878"/>
                    <a:pt x="36278" y="49878"/>
                    <a:pt x="34402" y="50884"/>
                  </a:cubicBezTo>
                  <a:lnTo>
                    <a:pt x="26369" y="55189"/>
                  </a:lnTo>
                  <a:lnTo>
                    <a:pt x="27984" y="45600"/>
                  </a:lnTo>
                  <a:cubicBezTo>
                    <a:pt x="28301" y="43708"/>
                    <a:pt x="27672" y="41779"/>
                    <a:pt x="26288" y="40405"/>
                  </a:cubicBezTo>
                  <a:lnTo>
                    <a:pt x="19174" y="33339"/>
                  </a:ln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8E29E2D-0D32-E912-0967-1CC90C7A5B08}"/>
                </a:ext>
              </a:extLst>
            </p:cNvPr>
            <p:cNvSpPr/>
            <p:nvPr/>
          </p:nvSpPr>
          <p:spPr>
            <a:xfrm>
              <a:off x="933691" y="4765714"/>
              <a:ext cx="67645" cy="46158"/>
            </a:xfrm>
            <a:custGeom>
              <a:avLst/>
              <a:gdLst>
                <a:gd name="connsiteX0" fmla="*/ 24063 w 67645"/>
                <a:gd name="connsiteY0" fmla="*/ 31153 h 46158"/>
                <a:gd name="connsiteX1" fmla="*/ 67645 w 67645"/>
                <a:gd name="connsiteY1" fmla="*/ 11972 h 46158"/>
                <a:gd name="connsiteX2" fmla="*/ 65927 w 67645"/>
                <a:gd name="connsiteY2" fmla="*/ 0 h 46158"/>
                <a:gd name="connsiteX3" fmla="*/ 0 w 67645"/>
                <a:gd name="connsiteY3" fmla="*/ 39309 h 46158"/>
                <a:gd name="connsiteX4" fmla="*/ 10282 w 67645"/>
                <a:gd name="connsiteY4" fmla="*/ 46156 h 46158"/>
                <a:gd name="connsiteX5" fmla="*/ 10279 w 67645"/>
                <a:gd name="connsiteY5" fmla="*/ 46159 h 46158"/>
                <a:gd name="connsiteX6" fmla="*/ 24064 w 67645"/>
                <a:gd name="connsiteY6" fmla="*/ 31153 h 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45" h="46158">
                  <a:moveTo>
                    <a:pt x="24063" y="31153"/>
                  </a:moveTo>
                  <a:cubicBezTo>
                    <a:pt x="36356" y="20787"/>
                    <a:pt x="51502" y="14121"/>
                    <a:pt x="67645" y="11972"/>
                  </a:cubicBezTo>
                  <a:lnTo>
                    <a:pt x="65927" y="0"/>
                  </a:lnTo>
                  <a:cubicBezTo>
                    <a:pt x="39218" y="3508"/>
                    <a:pt x="15277" y="17783"/>
                    <a:pt x="0" y="39309"/>
                  </a:cubicBezTo>
                  <a:lnTo>
                    <a:pt x="10282" y="46156"/>
                  </a:lnTo>
                  <a:lnTo>
                    <a:pt x="10279" y="46159"/>
                  </a:lnTo>
                  <a:cubicBezTo>
                    <a:pt x="14208" y="40618"/>
                    <a:pt x="18838" y="35577"/>
                    <a:pt x="24064" y="31153"/>
                  </a:cubicBez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372BCCE-D525-ADBF-6D26-3AA4A1B28D87}"/>
                </a:ext>
              </a:extLst>
            </p:cNvPr>
            <p:cNvSpPr/>
            <p:nvPr/>
          </p:nvSpPr>
          <p:spPr>
            <a:xfrm>
              <a:off x="788969" y="4811518"/>
              <a:ext cx="53164" cy="23977"/>
            </a:xfrm>
            <a:custGeom>
              <a:avLst/>
              <a:gdLst>
                <a:gd name="connsiteX0" fmla="*/ 46646 w 53164"/>
                <a:gd name="connsiteY0" fmla="*/ 23978 h 23977"/>
                <a:gd name="connsiteX1" fmla="*/ 53165 w 53164"/>
                <a:gd name="connsiteY1" fmla="*/ 13665 h 23977"/>
                <a:gd name="connsiteX2" fmla="*/ 0 w 53164"/>
                <a:gd name="connsiteY2" fmla="*/ 44 h 23977"/>
                <a:gd name="connsiteX3" fmla="*/ 364 w 53164"/>
                <a:gd name="connsiteY3" fmla="*/ 12130 h 23977"/>
                <a:gd name="connsiteX4" fmla="*/ 367 w 53164"/>
                <a:gd name="connsiteY4" fmla="*/ 12130 h 23977"/>
                <a:gd name="connsiteX5" fmla="*/ 46646 w 53164"/>
                <a:gd name="connsiteY5" fmla="*/ 23977 h 2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64" h="23977">
                  <a:moveTo>
                    <a:pt x="46646" y="23978"/>
                  </a:moveTo>
                  <a:lnTo>
                    <a:pt x="53165" y="13665"/>
                  </a:lnTo>
                  <a:cubicBezTo>
                    <a:pt x="37183" y="4219"/>
                    <a:pt x="18710" y="-514"/>
                    <a:pt x="0" y="44"/>
                  </a:cubicBezTo>
                  <a:lnTo>
                    <a:pt x="364" y="12130"/>
                  </a:lnTo>
                  <a:lnTo>
                    <a:pt x="367" y="12130"/>
                  </a:lnTo>
                  <a:cubicBezTo>
                    <a:pt x="16652" y="11636"/>
                    <a:pt x="32736" y="15751"/>
                    <a:pt x="46646" y="23977"/>
                  </a:cubicBez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C6D197AB-4EB9-DBAC-CA6D-DCBB2E0153C6}"/>
                </a:ext>
              </a:extLst>
            </p:cNvPr>
            <p:cNvSpPr/>
            <p:nvPr/>
          </p:nvSpPr>
          <p:spPr>
            <a:xfrm>
              <a:off x="879911" y="4752787"/>
              <a:ext cx="33973" cy="47726"/>
            </a:xfrm>
            <a:custGeom>
              <a:avLst/>
              <a:gdLst>
                <a:gd name="connsiteX0" fmla="*/ 21500 w 33973"/>
                <a:gd name="connsiteY0" fmla="*/ 44536 h 47726"/>
                <a:gd name="connsiteX1" fmla="*/ 21500 w 33973"/>
                <a:gd name="connsiteY1" fmla="*/ 47726 h 47726"/>
                <a:gd name="connsiteX2" fmla="*/ 33973 w 33973"/>
                <a:gd name="connsiteY2" fmla="*/ 47726 h 47726"/>
                <a:gd name="connsiteX3" fmla="*/ 33973 w 33973"/>
                <a:gd name="connsiteY3" fmla="*/ 44536 h 47726"/>
                <a:gd name="connsiteX4" fmla="*/ 26344 w 33973"/>
                <a:gd name="connsiteY4" fmla="*/ 18333 h 47726"/>
                <a:gd name="connsiteX5" fmla="*/ 5579 w 33973"/>
                <a:gd name="connsiteY5" fmla="*/ 0 h 47726"/>
                <a:gd name="connsiteX6" fmla="*/ 0 w 33973"/>
                <a:gd name="connsiteY6" fmla="*/ 10814 h 47726"/>
                <a:gd name="connsiteX7" fmla="*/ 0 w 33973"/>
                <a:gd name="connsiteY7" fmla="*/ 10817 h 47726"/>
                <a:gd name="connsiteX8" fmla="*/ 15723 w 33973"/>
                <a:gd name="connsiteY8" fmla="*/ 24697 h 47726"/>
                <a:gd name="connsiteX9" fmla="*/ 21500 w 33973"/>
                <a:gd name="connsiteY9" fmla="*/ 44536 h 47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73" h="47726">
                  <a:moveTo>
                    <a:pt x="21500" y="44536"/>
                  </a:moveTo>
                  <a:lnTo>
                    <a:pt x="21500" y="47726"/>
                  </a:lnTo>
                  <a:lnTo>
                    <a:pt x="33973" y="47726"/>
                  </a:lnTo>
                  <a:lnTo>
                    <a:pt x="33973" y="44536"/>
                  </a:lnTo>
                  <a:cubicBezTo>
                    <a:pt x="34006" y="35282"/>
                    <a:pt x="31364" y="26206"/>
                    <a:pt x="26344" y="18333"/>
                  </a:cubicBezTo>
                  <a:cubicBezTo>
                    <a:pt x="21324" y="10460"/>
                    <a:pt x="14133" y="4110"/>
                    <a:pt x="5579" y="0"/>
                  </a:cubicBezTo>
                  <a:lnTo>
                    <a:pt x="0" y="10814"/>
                  </a:lnTo>
                  <a:lnTo>
                    <a:pt x="0" y="10817"/>
                  </a:lnTo>
                  <a:cubicBezTo>
                    <a:pt x="6476" y="13928"/>
                    <a:pt x="11922" y="18738"/>
                    <a:pt x="15723" y="24697"/>
                  </a:cubicBezTo>
                  <a:cubicBezTo>
                    <a:pt x="19523" y="30656"/>
                    <a:pt x="21525" y="37530"/>
                    <a:pt x="21500" y="44536"/>
                  </a:cubicBezTo>
                  <a:close/>
                </a:path>
              </a:pathLst>
            </a:custGeom>
            <a:grpFill/>
            <a:ln w="7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7" name="TextBox 53">
            <a:extLst>
              <a:ext uri="{FF2B5EF4-FFF2-40B4-BE49-F238E27FC236}">
                <a16:creationId xmlns:a16="http://schemas.microsoft.com/office/drawing/2014/main" id="{59FF44B3-8FDA-4A0E-5592-7B1ABC4A58C8}"/>
              </a:ext>
            </a:extLst>
          </p:cNvPr>
          <p:cNvSpPr txBox="1"/>
          <p:nvPr/>
        </p:nvSpPr>
        <p:spPr>
          <a:xfrm>
            <a:off x="1331551" y="4700132"/>
            <a:ext cx="581061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0+</a:t>
            </a: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TextBox 54">
            <a:extLst>
              <a:ext uri="{FF2B5EF4-FFF2-40B4-BE49-F238E27FC236}">
                <a16:creationId xmlns:a16="http://schemas.microsoft.com/office/drawing/2014/main" id="{83664B41-FA03-B44B-CC90-FC088CAE01CD}"/>
              </a:ext>
            </a:extLst>
          </p:cNvPr>
          <p:cNvSpPr txBox="1"/>
          <p:nvPr/>
        </p:nvSpPr>
        <p:spPr>
          <a:xfrm>
            <a:off x="1041501" y="4976064"/>
            <a:ext cx="1092129" cy="50270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EARS OF EXPERIENCE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42" name="Group 1041">
            <a:extLst>
              <a:ext uri="{FF2B5EF4-FFF2-40B4-BE49-F238E27FC236}">
                <a16:creationId xmlns:a16="http://schemas.microsoft.com/office/drawing/2014/main" id="{377777D6-C6C2-4F2D-CC4D-416CB6D4D0DF}"/>
              </a:ext>
            </a:extLst>
          </p:cNvPr>
          <p:cNvGrpSpPr/>
          <p:nvPr/>
        </p:nvGrpSpPr>
        <p:grpSpPr>
          <a:xfrm>
            <a:off x="558819" y="3638219"/>
            <a:ext cx="1825236" cy="831880"/>
            <a:chOff x="589821" y="3669259"/>
            <a:chExt cx="1825236" cy="831880"/>
          </a:xfrm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97A621AC-1D5B-C30C-0B26-ADD9877757C2}"/>
                </a:ext>
              </a:extLst>
            </p:cNvPr>
            <p:cNvSpPr/>
            <p:nvPr/>
          </p:nvSpPr>
          <p:spPr>
            <a:xfrm>
              <a:off x="589821" y="3669259"/>
              <a:ext cx="1825236" cy="820778"/>
            </a:xfrm>
            <a:prstGeom prst="round2SameRect">
              <a:avLst/>
            </a:prstGeom>
            <a:solidFill>
              <a:srgbClr val="7F7F7F"/>
            </a:soli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038" name="Graphic 56">
              <a:extLst>
                <a:ext uri="{FF2B5EF4-FFF2-40B4-BE49-F238E27FC236}">
                  <a16:creationId xmlns:a16="http://schemas.microsoft.com/office/drawing/2014/main" id="{3ADFE460-36B1-D0CE-CB78-2F7DCE1825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10285" r="9518" b="20134"/>
            <a:stretch/>
          </p:blipFill>
          <p:spPr>
            <a:xfrm>
              <a:off x="1248307" y="3714422"/>
              <a:ext cx="471796" cy="465618"/>
            </a:xfrm>
            <a:prstGeom prst="rect">
              <a:avLst/>
            </a:prstGeom>
          </p:spPr>
        </p:pic>
        <p:sp>
          <p:nvSpPr>
            <p:cNvPr id="1041" name="TextBox 1040">
              <a:extLst>
                <a:ext uri="{FF2B5EF4-FFF2-40B4-BE49-F238E27FC236}">
                  <a16:creationId xmlns:a16="http://schemas.microsoft.com/office/drawing/2014/main" id="{D215ED5A-57BF-9EC6-9520-AAE80496D10D}"/>
                </a:ext>
              </a:extLst>
            </p:cNvPr>
            <p:cNvSpPr txBox="1"/>
            <p:nvPr/>
          </p:nvSpPr>
          <p:spPr>
            <a:xfrm>
              <a:off x="723377" y="4193362"/>
              <a:ext cx="16704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GINEERING DNA 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E16A5B0-5986-292B-11CD-E3F415775AD9}"/>
              </a:ext>
            </a:extLst>
          </p:cNvPr>
          <p:cNvSpPr txBox="1"/>
          <p:nvPr/>
        </p:nvSpPr>
        <p:spPr>
          <a:xfrm>
            <a:off x="2918041" y="575546"/>
            <a:ext cx="8946542" cy="360000"/>
          </a:xfrm>
          <a:prstGeom prst="round2DiagRect">
            <a:avLst>
              <a:gd name="adj1" fmla="val 0"/>
              <a:gd name="adj2" fmla="val 50000"/>
            </a:avLst>
          </a:prstGeom>
          <a:solidFill>
            <a:srgbClr val="084A7F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9038DD-4739-1FB0-352E-7B9BF87A75D2}"/>
              </a:ext>
            </a:extLst>
          </p:cNvPr>
          <p:cNvSpPr txBox="1"/>
          <p:nvPr/>
        </p:nvSpPr>
        <p:spPr>
          <a:xfrm>
            <a:off x="6537714" y="564406"/>
            <a:ext cx="19248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s of Business</a:t>
            </a: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​</a:t>
            </a: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118" name="Graphic 1117" descr="Bullseye with solid fill">
            <a:extLst>
              <a:ext uri="{FF2B5EF4-FFF2-40B4-BE49-F238E27FC236}">
                <a16:creationId xmlns:a16="http://schemas.microsoft.com/office/drawing/2014/main" id="{6904D65B-D02D-E774-2670-480C0261FE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380777" y="5808930"/>
            <a:ext cx="442257" cy="442257"/>
          </a:xfrm>
          <a:prstGeom prst="rect">
            <a:avLst/>
          </a:prstGeom>
        </p:spPr>
      </p:pic>
      <p:pic>
        <p:nvPicPr>
          <p:cNvPr id="1121" name="Graphic 1120" descr="World with solid fill">
            <a:extLst>
              <a:ext uri="{FF2B5EF4-FFF2-40B4-BE49-F238E27FC236}">
                <a16:creationId xmlns:a16="http://schemas.microsoft.com/office/drawing/2014/main" id="{F971421B-5D78-3811-71FC-68712969558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6194" y="5811520"/>
            <a:ext cx="489670" cy="425000"/>
          </a:xfrm>
          <a:prstGeom prst="rect">
            <a:avLst/>
          </a:prstGeom>
        </p:spPr>
      </p:pic>
      <p:pic>
        <p:nvPicPr>
          <p:cNvPr id="1123" name="Graphic 1122" descr="Cycle with people with solid fill">
            <a:extLst>
              <a:ext uri="{FF2B5EF4-FFF2-40B4-BE49-F238E27FC236}">
                <a16:creationId xmlns:a16="http://schemas.microsoft.com/office/drawing/2014/main" id="{9CD09A77-B205-54BF-A725-D6D64F9B500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44285" y="5763276"/>
            <a:ext cx="556983" cy="556983"/>
          </a:xfrm>
          <a:prstGeom prst="rect">
            <a:avLst/>
          </a:prstGeom>
        </p:spPr>
      </p:pic>
      <p:grpSp>
        <p:nvGrpSpPr>
          <p:cNvPr id="1130" name="Group 1129">
            <a:extLst>
              <a:ext uri="{FF2B5EF4-FFF2-40B4-BE49-F238E27FC236}">
                <a16:creationId xmlns:a16="http://schemas.microsoft.com/office/drawing/2014/main" id="{21FEDA34-F8B7-B2B2-180A-5575477522D1}"/>
              </a:ext>
            </a:extLst>
          </p:cNvPr>
          <p:cNvGrpSpPr/>
          <p:nvPr/>
        </p:nvGrpSpPr>
        <p:grpSpPr>
          <a:xfrm>
            <a:off x="8911138" y="5779129"/>
            <a:ext cx="602769" cy="493998"/>
            <a:chOff x="8220726" y="5511481"/>
            <a:chExt cx="914400" cy="914400"/>
          </a:xfrm>
        </p:grpSpPr>
        <p:pic>
          <p:nvPicPr>
            <p:cNvPr id="1125" name="Graphic 1124" descr="Lights On with solid fill">
              <a:extLst>
                <a:ext uri="{FF2B5EF4-FFF2-40B4-BE49-F238E27FC236}">
                  <a16:creationId xmlns:a16="http://schemas.microsoft.com/office/drawing/2014/main" id="{B911A1F4-0052-C625-357E-A9B8E173CB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220726" y="5511481"/>
              <a:ext cx="914400" cy="914400"/>
            </a:xfrm>
            <a:prstGeom prst="rect">
              <a:avLst/>
            </a:prstGeom>
          </p:spPr>
        </p:pic>
        <p:pic>
          <p:nvPicPr>
            <p:cNvPr id="1129" name="Graphic 1128" descr="Plant with solid fill">
              <a:extLst>
                <a:ext uri="{FF2B5EF4-FFF2-40B4-BE49-F238E27FC236}">
                  <a16:creationId xmlns:a16="http://schemas.microsoft.com/office/drawing/2014/main" id="{52AC0EE2-6427-33C0-2F18-C4229F52AD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446195" y="5781455"/>
              <a:ext cx="437024" cy="437024"/>
            </a:xfrm>
            <a:prstGeom prst="rect">
              <a:avLst/>
            </a:prstGeom>
          </p:spPr>
        </p:pic>
      </p:grpSp>
      <p:sp>
        <p:nvSpPr>
          <p:cNvPr id="1131" name="Rectangle 1130">
            <a:extLst>
              <a:ext uri="{FF2B5EF4-FFF2-40B4-BE49-F238E27FC236}">
                <a16:creationId xmlns:a16="http://schemas.microsoft.com/office/drawing/2014/main" id="{B7BD6112-EDE3-836D-0FCC-257ABFD66A25}"/>
              </a:ext>
            </a:extLst>
          </p:cNvPr>
          <p:cNvSpPr/>
          <p:nvPr/>
        </p:nvSpPr>
        <p:spPr>
          <a:xfrm flipH="1">
            <a:off x="6860246" y="3589008"/>
            <a:ext cx="819874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</a:t>
            </a:r>
          </a:p>
        </p:txBody>
      </p:sp>
      <p:sp>
        <p:nvSpPr>
          <p:cNvPr id="1132" name="Rectangle 1131">
            <a:extLst>
              <a:ext uri="{FF2B5EF4-FFF2-40B4-BE49-F238E27FC236}">
                <a16:creationId xmlns:a16="http://schemas.microsoft.com/office/drawing/2014/main" id="{3A03E295-1EED-6F13-6E5D-B0DE30B1DA46}"/>
              </a:ext>
            </a:extLst>
          </p:cNvPr>
          <p:cNvSpPr/>
          <p:nvPr/>
        </p:nvSpPr>
        <p:spPr>
          <a:xfrm flipH="1">
            <a:off x="4905967" y="4622115"/>
            <a:ext cx="105374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sho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shore</a:t>
            </a:r>
          </a:p>
        </p:txBody>
      </p:sp>
      <p:cxnSp>
        <p:nvCxnSpPr>
          <p:cNvPr id="1133" name="Straight Connector 1132">
            <a:extLst>
              <a:ext uri="{FF2B5EF4-FFF2-40B4-BE49-F238E27FC236}">
                <a16:creationId xmlns:a16="http://schemas.microsoft.com/office/drawing/2014/main" id="{C4ED919C-7CEE-877B-8F03-75E55EF97FDA}"/>
              </a:ext>
            </a:extLst>
          </p:cNvPr>
          <p:cNvCxnSpPr>
            <a:cxnSpLocks/>
          </p:cNvCxnSpPr>
          <p:nvPr/>
        </p:nvCxnSpPr>
        <p:spPr>
          <a:xfrm>
            <a:off x="2957458" y="3242480"/>
            <a:ext cx="6846505" cy="2949"/>
          </a:xfrm>
          <a:prstGeom prst="line">
            <a:avLst/>
          </a:prstGeom>
          <a:ln w="28575" cap="rnd">
            <a:solidFill>
              <a:schemeClr val="tx1">
                <a:lumMod val="85000"/>
                <a:lumOff val="1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4" name="Freeform: Shape 1133">
            <a:extLst>
              <a:ext uri="{FF2B5EF4-FFF2-40B4-BE49-F238E27FC236}">
                <a16:creationId xmlns:a16="http://schemas.microsoft.com/office/drawing/2014/main" id="{1353717B-C9A1-BAA9-6273-95FFD2A332F2}"/>
              </a:ext>
            </a:extLst>
          </p:cNvPr>
          <p:cNvSpPr/>
          <p:nvPr/>
        </p:nvSpPr>
        <p:spPr>
          <a:xfrm>
            <a:off x="4039535" y="1738984"/>
            <a:ext cx="1384475" cy="1251249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51832 w 1260877"/>
              <a:gd name="connsiteY10" fmla="*/ 702635 h 1346824"/>
              <a:gd name="connsiteX11" fmla="*/ 51832 w 1260877"/>
              <a:gd name="connsiteY11" fmla="*/ 436777 h 1346824"/>
              <a:gd name="connsiteX12" fmla="*/ 0 w 1260877"/>
              <a:gd name="connsiteY12" fmla="*/ 436777 h 1346824"/>
              <a:gd name="connsiteX13" fmla="*/ 0 w 1260877"/>
              <a:gd name="connsiteY13" fmla="*/ 242879 h 1346824"/>
              <a:gd name="connsiteX14" fmla="*/ 119887 w 1260877"/>
              <a:gd name="connsiteY14" fmla="*/ 122992 h 1346824"/>
              <a:gd name="connsiteX15" fmla="*/ 905597 w 1260877"/>
              <a:gd name="connsiteY15" fmla="*/ 122992 h 1346824"/>
              <a:gd name="connsiteX16" fmla="*/ 909724 w 1260877"/>
              <a:gd name="connsiteY16" fmla="*/ 109699 h 1346824"/>
              <a:gd name="connsiteX17" fmla="*/ 1075220 w 1260877"/>
              <a:gd name="connsiteY17" fmla="*/ 0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17" fmla="*/ 143272 w 1260877"/>
              <a:gd name="connsiteY17" fmla="*/ 794075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0" fmla="*/ 51832 w 1260877"/>
              <a:gd name="connsiteY0" fmla="*/ 436777 h 1346824"/>
              <a:gd name="connsiteX1" fmla="*/ 0 w 1260877"/>
              <a:gd name="connsiteY1" fmla="*/ 436777 h 1346824"/>
              <a:gd name="connsiteX2" fmla="*/ 0 w 1260877"/>
              <a:gd name="connsiteY2" fmla="*/ 242879 h 1346824"/>
              <a:gd name="connsiteX3" fmla="*/ 119887 w 1260877"/>
              <a:gd name="connsiteY3" fmla="*/ 122992 h 1346824"/>
              <a:gd name="connsiteX4" fmla="*/ 905597 w 1260877"/>
              <a:gd name="connsiteY4" fmla="*/ 122992 h 1346824"/>
              <a:gd name="connsiteX5" fmla="*/ 909724 w 1260877"/>
              <a:gd name="connsiteY5" fmla="*/ 109699 h 1346824"/>
              <a:gd name="connsiteX6" fmla="*/ 1075220 w 1260877"/>
              <a:gd name="connsiteY6" fmla="*/ 0 h 1346824"/>
              <a:gd name="connsiteX7" fmla="*/ 1081266 w 1260877"/>
              <a:gd name="connsiteY7" fmla="*/ 0 h 1346824"/>
              <a:gd name="connsiteX8" fmla="*/ 1260877 w 1260877"/>
              <a:gd name="connsiteY8" fmla="*/ 179611 h 1346824"/>
              <a:gd name="connsiteX9" fmla="*/ 1208270 w 1260877"/>
              <a:gd name="connsiteY9" fmla="*/ 306615 h 1346824"/>
              <a:gd name="connsiteX10" fmla="*/ 1157436 w 1260877"/>
              <a:gd name="connsiteY10" fmla="*/ 340888 h 1346824"/>
              <a:gd name="connsiteX11" fmla="*/ 1157436 w 1260877"/>
              <a:gd name="connsiteY11" fmla="*/ 1226937 h 1346824"/>
              <a:gd name="connsiteX12" fmla="*/ 1037549 w 1260877"/>
              <a:gd name="connsiteY12" fmla="*/ 1346824 h 1346824"/>
              <a:gd name="connsiteX13" fmla="*/ 119887 w 1260877"/>
              <a:gd name="connsiteY13" fmla="*/ 1346824 h 1346824"/>
              <a:gd name="connsiteX14" fmla="*/ 0 w 1260877"/>
              <a:gd name="connsiteY14" fmla="*/ 1226937 h 1346824"/>
              <a:gd name="connsiteX15" fmla="*/ 0 w 1260877"/>
              <a:gd name="connsiteY15" fmla="*/ 702635 h 1346824"/>
              <a:gd name="connsiteX0" fmla="*/ 0 w 1260877"/>
              <a:gd name="connsiteY0" fmla="*/ 436777 h 1346824"/>
              <a:gd name="connsiteX1" fmla="*/ 0 w 1260877"/>
              <a:gd name="connsiteY1" fmla="*/ 242879 h 1346824"/>
              <a:gd name="connsiteX2" fmla="*/ 119887 w 1260877"/>
              <a:gd name="connsiteY2" fmla="*/ 122992 h 1346824"/>
              <a:gd name="connsiteX3" fmla="*/ 905597 w 1260877"/>
              <a:gd name="connsiteY3" fmla="*/ 122992 h 1346824"/>
              <a:gd name="connsiteX4" fmla="*/ 909724 w 1260877"/>
              <a:gd name="connsiteY4" fmla="*/ 109699 h 1346824"/>
              <a:gd name="connsiteX5" fmla="*/ 1075220 w 1260877"/>
              <a:gd name="connsiteY5" fmla="*/ 0 h 1346824"/>
              <a:gd name="connsiteX6" fmla="*/ 1081266 w 1260877"/>
              <a:gd name="connsiteY6" fmla="*/ 0 h 1346824"/>
              <a:gd name="connsiteX7" fmla="*/ 1260877 w 1260877"/>
              <a:gd name="connsiteY7" fmla="*/ 179611 h 1346824"/>
              <a:gd name="connsiteX8" fmla="*/ 1208270 w 1260877"/>
              <a:gd name="connsiteY8" fmla="*/ 306615 h 1346824"/>
              <a:gd name="connsiteX9" fmla="*/ 1157436 w 1260877"/>
              <a:gd name="connsiteY9" fmla="*/ 340888 h 1346824"/>
              <a:gd name="connsiteX10" fmla="*/ 1157436 w 1260877"/>
              <a:gd name="connsiteY10" fmla="*/ 1226937 h 1346824"/>
              <a:gd name="connsiteX11" fmla="*/ 1037549 w 1260877"/>
              <a:gd name="connsiteY11" fmla="*/ 1346824 h 1346824"/>
              <a:gd name="connsiteX12" fmla="*/ 119887 w 1260877"/>
              <a:gd name="connsiteY12" fmla="*/ 1346824 h 1346824"/>
              <a:gd name="connsiteX13" fmla="*/ 0 w 1260877"/>
              <a:gd name="connsiteY13" fmla="*/ 1226937 h 1346824"/>
              <a:gd name="connsiteX14" fmla="*/ 0 w 1260877"/>
              <a:gd name="connsiteY14" fmla="*/ 702635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0877" h="1346824">
                <a:moveTo>
                  <a:pt x="0" y="436777"/>
                </a:moveTo>
                <a:lnTo>
                  <a:pt x="0" y="242879"/>
                </a:lnTo>
                <a:cubicBezTo>
                  <a:pt x="0" y="176667"/>
                  <a:pt x="53675" y="122992"/>
                  <a:pt x="119887" y="122992"/>
                </a:cubicBezTo>
                <a:lnTo>
                  <a:pt x="905597" y="122992"/>
                </a:lnTo>
                <a:lnTo>
                  <a:pt x="909724" y="109699"/>
                </a:lnTo>
                <a:cubicBezTo>
                  <a:pt x="936990" y="45234"/>
                  <a:pt x="1000823" y="0"/>
                  <a:pt x="1075220" y="0"/>
                </a:cubicBezTo>
                <a:lnTo>
                  <a:pt x="1081266" y="0"/>
                </a:lnTo>
                <a:cubicBezTo>
                  <a:pt x="1180462" y="0"/>
                  <a:pt x="1260877" y="80415"/>
                  <a:pt x="1260877" y="179611"/>
                </a:cubicBezTo>
                <a:cubicBezTo>
                  <a:pt x="1260877" y="229209"/>
                  <a:pt x="1240773" y="274112"/>
                  <a:pt x="1208270" y="306615"/>
                </a:cubicBezTo>
                <a:lnTo>
                  <a:pt x="1157436" y="340888"/>
                </a:lnTo>
                <a:lnTo>
                  <a:pt x="1157436" y="1226937"/>
                </a:lnTo>
                <a:cubicBezTo>
                  <a:pt x="1157436" y="1293149"/>
                  <a:pt x="1103761" y="1346824"/>
                  <a:pt x="1037549" y="1346824"/>
                </a:cubicBezTo>
                <a:lnTo>
                  <a:pt x="119887" y="1346824"/>
                </a:lnTo>
                <a:cubicBezTo>
                  <a:pt x="53675" y="1346824"/>
                  <a:pt x="0" y="1293149"/>
                  <a:pt x="0" y="1226937"/>
                </a:cubicBezTo>
                <a:lnTo>
                  <a:pt x="0" y="702635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35" name="Group 1134">
            <a:extLst>
              <a:ext uri="{FF2B5EF4-FFF2-40B4-BE49-F238E27FC236}">
                <a16:creationId xmlns:a16="http://schemas.microsoft.com/office/drawing/2014/main" id="{5F6524D6-68F9-7F7A-1411-EF77E8842AE7}"/>
              </a:ext>
            </a:extLst>
          </p:cNvPr>
          <p:cNvGrpSpPr/>
          <p:nvPr/>
        </p:nvGrpSpPr>
        <p:grpSpPr>
          <a:xfrm>
            <a:off x="5011682" y="1758482"/>
            <a:ext cx="429700" cy="294732"/>
            <a:chOff x="2539911" y="2257308"/>
            <a:chExt cx="412206" cy="334161"/>
          </a:xfrm>
        </p:grpSpPr>
        <p:sp>
          <p:nvSpPr>
            <p:cNvPr id="1136" name="Rectangle: Rounded Corners 1135">
              <a:extLst>
                <a:ext uri="{FF2B5EF4-FFF2-40B4-BE49-F238E27FC236}">
                  <a16:creationId xmlns:a16="http://schemas.microsoft.com/office/drawing/2014/main" id="{F5E275AD-9AB9-DBC6-45FD-0D2C078F7F7B}"/>
                </a:ext>
              </a:extLst>
            </p:cNvPr>
            <p:cNvSpPr/>
            <p:nvPr/>
          </p:nvSpPr>
          <p:spPr>
            <a:xfrm>
              <a:off x="2585326" y="2266362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084A7F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7" name="Rectangle 1136">
              <a:extLst>
                <a:ext uri="{FF2B5EF4-FFF2-40B4-BE49-F238E27FC236}">
                  <a16:creationId xmlns:a16="http://schemas.microsoft.com/office/drawing/2014/main" id="{49C51F2C-1CC5-89B3-98F1-A4F742B1ACBE}"/>
                </a:ext>
              </a:extLst>
            </p:cNvPr>
            <p:cNvSpPr/>
            <p:nvPr/>
          </p:nvSpPr>
          <p:spPr>
            <a:xfrm flipH="1">
              <a:off x="2539911" y="2257308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2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38" name="Rectangle 1137">
            <a:extLst>
              <a:ext uri="{FF2B5EF4-FFF2-40B4-BE49-F238E27FC236}">
                <a16:creationId xmlns:a16="http://schemas.microsoft.com/office/drawing/2014/main" id="{BD1D31A3-37B3-5D16-F051-2659B90E9E7C}"/>
              </a:ext>
            </a:extLst>
          </p:cNvPr>
          <p:cNvSpPr/>
          <p:nvPr/>
        </p:nvSpPr>
        <p:spPr>
          <a:xfrm flipH="1">
            <a:off x="3112027" y="3495129"/>
            <a:ext cx="1394939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 &amp; 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chnology Services​</a:t>
            </a:r>
          </a:p>
        </p:txBody>
      </p:sp>
      <p:sp>
        <p:nvSpPr>
          <p:cNvPr id="1139" name="Rectangle 1138">
            <a:extLst>
              <a:ext uri="{FF2B5EF4-FFF2-40B4-BE49-F238E27FC236}">
                <a16:creationId xmlns:a16="http://schemas.microsoft.com/office/drawing/2014/main" id="{7DF419F6-4E62-B396-407F-1FD7D60F2BB0}"/>
              </a:ext>
            </a:extLst>
          </p:cNvPr>
          <p:cNvSpPr/>
          <p:nvPr/>
        </p:nvSpPr>
        <p:spPr>
          <a:xfrm flipH="1">
            <a:off x="3183564" y="4622115"/>
            <a:ext cx="1417423" cy="369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TIMindtre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&amp;T Technology Service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F5F5F5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</p:txBody>
      </p:sp>
      <p:sp>
        <p:nvSpPr>
          <p:cNvPr id="1140" name="Rectangle 12">
            <a:extLst>
              <a:ext uri="{FF2B5EF4-FFF2-40B4-BE49-F238E27FC236}">
                <a16:creationId xmlns:a16="http://schemas.microsoft.com/office/drawing/2014/main" id="{A261169A-8697-E312-7EAA-49BF02CCD6E1}"/>
              </a:ext>
            </a:extLst>
          </p:cNvPr>
          <p:cNvSpPr/>
          <p:nvPr/>
        </p:nvSpPr>
        <p:spPr>
          <a:xfrm>
            <a:off x="3798895" y="2268652"/>
            <a:ext cx="245360" cy="973928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41" name="Group 1140">
            <a:extLst>
              <a:ext uri="{FF2B5EF4-FFF2-40B4-BE49-F238E27FC236}">
                <a16:creationId xmlns:a16="http://schemas.microsoft.com/office/drawing/2014/main" id="{5FEB6DE3-CC44-F79C-6E83-78AFC73F0732}"/>
              </a:ext>
            </a:extLst>
          </p:cNvPr>
          <p:cNvGrpSpPr/>
          <p:nvPr/>
        </p:nvGrpSpPr>
        <p:grpSpPr>
          <a:xfrm>
            <a:off x="3983726" y="2220576"/>
            <a:ext cx="112722" cy="95374"/>
            <a:chOff x="1553805" y="2781221"/>
            <a:chExt cx="108133" cy="108133"/>
          </a:xfrm>
        </p:grpSpPr>
        <p:sp>
          <p:nvSpPr>
            <p:cNvPr id="1142" name="Google Shape;975;p33">
              <a:extLst>
                <a:ext uri="{FF2B5EF4-FFF2-40B4-BE49-F238E27FC236}">
                  <a16:creationId xmlns:a16="http://schemas.microsoft.com/office/drawing/2014/main" id="{4952BC17-22BE-24E1-A0A0-84DB7703C1E7}"/>
                </a:ext>
              </a:extLst>
            </p:cNvPr>
            <p:cNvSpPr/>
            <p:nvPr/>
          </p:nvSpPr>
          <p:spPr>
            <a:xfrm>
              <a:off x="1553805" y="2781221"/>
              <a:ext cx="108133" cy="108133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3" name="Google Shape;976;p33">
              <a:extLst>
                <a:ext uri="{FF2B5EF4-FFF2-40B4-BE49-F238E27FC236}">
                  <a16:creationId xmlns:a16="http://schemas.microsoft.com/office/drawing/2014/main" id="{ED80DE17-8F61-5062-2402-E020EE902481}"/>
                </a:ext>
              </a:extLst>
            </p:cNvPr>
            <p:cNvSpPr/>
            <p:nvPr/>
          </p:nvSpPr>
          <p:spPr>
            <a:xfrm>
              <a:off x="1578214" y="2805630"/>
              <a:ext cx="59310" cy="59310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44" name="Group 1143">
            <a:extLst>
              <a:ext uri="{FF2B5EF4-FFF2-40B4-BE49-F238E27FC236}">
                <a16:creationId xmlns:a16="http://schemas.microsoft.com/office/drawing/2014/main" id="{B608855A-E802-7C9E-756C-87BE494054B0}"/>
              </a:ext>
            </a:extLst>
          </p:cNvPr>
          <p:cNvGrpSpPr/>
          <p:nvPr/>
        </p:nvGrpSpPr>
        <p:grpSpPr>
          <a:xfrm>
            <a:off x="3744731" y="3203815"/>
            <a:ext cx="112722" cy="95374"/>
            <a:chOff x="5972125" y="3766969"/>
            <a:chExt cx="102659" cy="102659"/>
          </a:xfrm>
        </p:grpSpPr>
        <p:sp>
          <p:nvSpPr>
            <p:cNvPr id="1145" name="Google Shape;975;p33">
              <a:extLst>
                <a:ext uri="{FF2B5EF4-FFF2-40B4-BE49-F238E27FC236}">
                  <a16:creationId xmlns:a16="http://schemas.microsoft.com/office/drawing/2014/main" id="{4DA3F8A1-64E6-2FD1-B0A3-EFCE3FFCEEA0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6" name="Google Shape;976;p33">
              <a:extLst>
                <a:ext uri="{FF2B5EF4-FFF2-40B4-BE49-F238E27FC236}">
                  <a16:creationId xmlns:a16="http://schemas.microsoft.com/office/drawing/2014/main" id="{7F96DD10-ADD4-419C-57B2-073560085123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47" name="Rectangle 12">
            <a:extLst>
              <a:ext uri="{FF2B5EF4-FFF2-40B4-BE49-F238E27FC236}">
                <a16:creationId xmlns:a16="http://schemas.microsoft.com/office/drawing/2014/main" id="{E6896256-43E8-F28F-C1F1-AB3B19A1CFB3}"/>
              </a:ext>
            </a:extLst>
          </p:cNvPr>
          <p:cNvSpPr/>
          <p:nvPr/>
        </p:nvSpPr>
        <p:spPr>
          <a:xfrm flipV="1">
            <a:off x="2942780" y="3242480"/>
            <a:ext cx="245360" cy="973926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48" name="Group 1147">
            <a:extLst>
              <a:ext uri="{FF2B5EF4-FFF2-40B4-BE49-F238E27FC236}">
                <a16:creationId xmlns:a16="http://schemas.microsoft.com/office/drawing/2014/main" id="{9A94EC32-946F-C526-22B5-FE30BAF649E9}"/>
              </a:ext>
            </a:extLst>
          </p:cNvPr>
          <p:cNvGrpSpPr/>
          <p:nvPr/>
        </p:nvGrpSpPr>
        <p:grpSpPr>
          <a:xfrm>
            <a:off x="3127610" y="4169109"/>
            <a:ext cx="112722" cy="95374"/>
            <a:chOff x="3459979" y="4996312"/>
            <a:chExt cx="102659" cy="102659"/>
          </a:xfrm>
        </p:grpSpPr>
        <p:sp>
          <p:nvSpPr>
            <p:cNvPr id="1149" name="Google Shape;975;p33">
              <a:extLst>
                <a:ext uri="{FF2B5EF4-FFF2-40B4-BE49-F238E27FC236}">
                  <a16:creationId xmlns:a16="http://schemas.microsoft.com/office/drawing/2014/main" id="{066CBCA8-925B-BAFF-6519-84ADFEE944B7}"/>
                </a:ext>
              </a:extLst>
            </p:cNvPr>
            <p:cNvSpPr/>
            <p:nvPr/>
          </p:nvSpPr>
          <p:spPr>
            <a:xfrm flipV="1">
              <a:off x="3459979" y="4996312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0" name="Google Shape;976;p33">
              <a:extLst>
                <a:ext uri="{FF2B5EF4-FFF2-40B4-BE49-F238E27FC236}">
                  <a16:creationId xmlns:a16="http://schemas.microsoft.com/office/drawing/2014/main" id="{70EDFD12-0E96-E5C1-94D7-FC67B8CF23C4}"/>
                </a:ext>
              </a:extLst>
            </p:cNvPr>
            <p:cNvSpPr/>
            <p:nvPr/>
          </p:nvSpPr>
          <p:spPr>
            <a:xfrm flipV="1">
              <a:off x="3483153" y="5019489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51" name="Group 1150">
            <a:extLst>
              <a:ext uri="{FF2B5EF4-FFF2-40B4-BE49-F238E27FC236}">
                <a16:creationId xmlns:a16="http://schemas.microsoft.com/office/drawing/2014/main" id="{98886C55-E583-8AE2-E4B8-3244E9CB7BB1}"/>
              </a:ext>
            </a:extLst>
          </p:cNvPr>
          <p:cNvGrpSpPr/>
          <p:nvPr/>
        </p:nvGrpSpPr>
        <p:grpSpPr>
          <a:xfrm>
            <a:off x="2886418" y="3203815"/>
            <a:ext cx="112722" cy="95374"/>
            <a:chOff x="5972125" y="3766969"/>
            <a:chExt cx="102659" cy="102659"/>
          </a:xfrm>
        </p:grpSpPr>
        <p:sp>
          <p:nvSpPr>
            <p:cNvPr id="1152" name="Google Shape;975;p33">
              <a:extLst>
                <a:ext uri="{FF2B5EF4-FFF2-40B4-BE49-F238E27FC236}">
                  <a16:creationId xmlns:a16="http://schemas.microsoft.com/office/drawing/2014/main" id="{61893904-512A-0CC4-44B8-717FE91801DA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3" name="Google Shape;976;p33">
              <a:extLst>
                <a:ext uri="{FF2B5EF4-FFF2-40B4-BE49-F238E27FC236}">
                  <a16:creationId xmlns:a16="http://schemas.microsoft.com/office/drawing/2014/main" id="{476B05E7-C60B-6531-62B3-25EAC2FFE4E7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54" name="Freeform: Shape 1153">
            <a:extLst>
              <a:ext uri="{FF2B5EF4-FFF2-40B4-BE49-F238E27FC236}">
                <a16:creationId xmlns:a16="http://schemas.microsoft.com/office/drawing/2014/main" id="{134C7697-3285-DE1F-D820-A4521FE0A04B}"/>
              </a:ext>
            </a:extLst>
          </p:cNvPr>
          <p:cNvSpPr/>
          <p:nvPr/>
        </p:nvSpPr>
        <p:spPr>
          <a:xfrm>
            <a:off x="3182494" y="3381560"/>
            <a:ext cx="1385398" cy="1251247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0 w 1260877"/>
              <a:gd name="connsiteY10" fmla="*/ 436777 h 1346824"/>
              <a:gd name="connsiteX11" fmla="*/ 0 w 1260877"/>
              <a:gd name="connsiteY11" fmla="*/ 242879 h 1346824"/>
              <a:gd name="connsiteX12" fmla="*/ 119887 w 1260877"/>
              <a:gd name="connsiteY12" fmla="*/ 122992 h 1346824"/>
              <a:gd name="connsiteX13" fmla="*/ 905597 w 1260877"/>
              <a:gd name="connsiteY13" fmla="*/ 122992 h 1346824"/>
              <a:gd name="connsiteX14" fmla="*/ 909724 w 1260877"/>
              <a:gd name="connsiteY14" fmla="*/ 109699 h 1346824"/>
              <a:gd name="connsiteX15" fmla="*/ 1075220 w 1260877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702635 h 1346824"/>
              <a:gd name="connsiteX11" fmla="*/ 843 w 1261720"/>
              <a:gd name="connsiteY11" fmla="*/ 436777 h 1346824"/>
              <a:gd name="connsiteX12" fmla="*/ 843 w 1261720"/>
              <a:gd name="connsiteY12" fmla="*/ 242879 h 1346824"/>
              <a:gd name="connsiteX13" fmla="*/ 120730 w 1261720"/>
              <a:gd name="connsiteY13" fmla="*/ 122992 h 1346824"/>
              <a:gd name="connsiteX14" fmla="*/ 906440 w 1261720"/>
              <a:gd name="connsiteY14" fmla="*/ 122992 h 1346824"/>
              <a:gd name="connsiteX15" fmla="*/ 910567 w 1261720"/>
              <a:gd name="connsiteY15" fmla="*/ 109699 h 1346824"/>
              <a:gd name="connsiteX16" fmla="*/ 1076063 w 1261720"/>
              <a:gd name="connsiteY16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436777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242879 h 1346824"/>
              <a:gd name="connsiteX11" fmla="*/ 120730 w 1261720"/>
              <a:gd name="connsiteY11" fmla="*/ 122992 h 1346824"/>
              <a:gd name="connsiteX12" fmla="*/ 906440 w 1261720"/>
              <a:gd name="connsiteY12" fmla="*/ 122992 h 1346824"/>
              <a:gd name="connsiteX13" fmla="*/ 910567 w 1261720"/>
              <a:gd name="connsiteY13" fmla="*/ 109699 h 1346824"/>
              <a:gd name="connsiteX14" fmla="*/ 1076063 w 1261720"/>
              <a:gd name="connsiteY14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1032043 h 1346824"/>
              <a:gd name="connsiteX10" fmla="*/ 0 w 1261720"/>
              <a:gd name="connsiteY10" fmla="*/ 767724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  <a:gd name="connsiteX15" fmla="*/ 91440 w 1261720"/>
              <a:gd name="connsiteY15" fmla="*/ 859164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1720" h="1346824">
                <a:moveTo>
                  <a:pt x="0" y="767724"/>
                </a:moveTo>
                <a:lnTo>
                  <a:pt x="843" y="242879"/>
                </a:lnTo>
                <a:cubicBezTo>
                  <a:pt x="843" y="176667"/>
                  <a:pt x="54518" y="122992"/>
                  <a:pt x="120730" y="122992"/>
                </a:cubicBezTo>
                <a:lnTo>
                  <a:pt x="906440" y="122992"/>
                </a:lnTo>
                <a:lnTo>
                  <a:pt x="910567" y="109699"/>
                </a:lnTo>
                <a:cubicBezTo>
                  <a:pt x="937833" y="45234"/>
                  <a:pt x="1001666" y="0"/>
                  <a:pt x="1076063" y="0"/>
                </a:cubicBezTo>
                <a:lnTo>
                  <a:pt x="1082109" y="0"/>
                </a:lnTo>
                <a:cubicBezTo>
                  <a:pt x="1181305" y="0"/>
                  <a:pt x="1261720" y="80415"/>
                  <a:pt x="1261720" y="179611"/>
                </a:cubicBezTo>
                <a:cubicBezTo>
                  <a:pt x="1261720" y="229209"/>
                  <a:pt x="1241616" y="274112"/>
                  <a:pt x="1209113" y="306615"/>
                </a:cubicBezTo>
                <a:lnTo>
                  <a:pt x="1158279" y="340888"/>
                </a:lnTo>
                <a:lnTo>
                  <a:pt x="1158279" y="1226937"/>
                </a:lnTo>
                <a:cubicBezTo>
                  <a:pt x="1158279" y="1293149"/>
                  <a:pt x="1104604" y="1346824"/>
                  <a:pt x="1038392" y="1346824"/>
                </a:cubicBezTo>
                <a:lnTo>
                  <a:pt x="120730" y="1346824"/>
                </a:lnTo>
                <a:cubicBezTo>
                  <a:pt x="54518" y="1346824"/>
                  <a:pt x="843" y="1293149"/>
                  <a:pt x="843" y="1226937"/>
                </a:cubicBezTo>
                <a:lnTo>
                  <a:pt x="0" y="1032043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5" name="Rectangle: Rounded Corners 1154">
            <a:extLst>
              <a:ext uri="{FF2B5EF4-FFF2-40B4-BE49-F238E27FC236}">
                <a16:creationId xmlns:a16="http://schemas.microsoft.com/office/drawing/2014/main" id="{3F3FE8D9-6DBA-55B8-5C49-6E06B272645D}"/>
              </a:ext>
            </a:extLst>
          </p:cNvPr>
          <p:cNvSpPr/>
          <p:nvPr/>
        </p:nvSpPr>
        <p:spPr>
          <a:xfrm>
            <a:off x="4202768" y="3409044"/>
            <a:ext cx="335014" cy="278762"/>
          </a:xfrm>
          <a:prstGeom prst="roundRect">
            <a:avLst>
              <a:gd name="adj" fmla="val 50000"/>
            </a:avLst>
          </a:prstGeom>
          <a:solidFill>
            <a:srgbClr val="084A7F"/>
          </a:solidFill>
          <a:ln w="6350" cap="rnd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6" name="Rectangle 1155">
            <a:extLst>
              <a:ext uri="{FF2B5EF4-FFF2-40B4-BE49-F238E27FC236}">
                <a16:creationId xmlns:a16="http://schemas.microsoft.com/office/drawing/2014/main" id="{053E0886-3634-75D2-AA02-9C51434C5568}"/>
              </a:ext>
            </a:extLst>
          </p:cNvPr>
          <p:cNvSpPr/>
          <p:nvPr/>
        </p:nvSpPr>
        <p:spPr>
          <a:xfrm flipH="1">
            <a:off x="4155425" y="3401059"/>
            <a:ext cx="429700" cy="2947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7" name="Rectangle 1156">
            <a:extLst>
              <a:ext uri="{FF2B5EF4-FFF2-40B4-BE49-F238E27FC236}">
                <a16:creationId xmlns:a16="http://schemas.microsoft.com/office/drawing/2014/main" id="{E3D8A5B9-07BE-B64D-6353-3510D7254DCC}"/>
              </a:ext>
            </a:extLst>
          </p:cNvPr>
          <p:cNvSpPr/>
          <p:nvPr/>
        </p:nvSpPr>
        <p:spPr>
          <a:xfrm flipH="1">
            <a:off x="8348101" y="3589008"/>
            <a:ext cx="1188646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avy Engineering</a:t>
            </a:r>
          </a:p>
        </p:txBody>
      </p:sp>
      <p:sp>
        <p:nvSpPr>
          <p:cNvPr id="1158" name="Rectangle 1157">
            <a:extLst>
              <a:ext uri="{FF2B5EF4-FFF2-40B4-BE49-F238E27FC236}">
                <a16:creationId xmlns:a16="http://schemas.microsoft.com/office/drawing/2014/main" id="{6970BD2B-7E1E-080C-273C-36FFE59ABDC8}"/>
              </a:ext>
            </a:extLst>
          </p:cNvPr>
          <p:cNvSpPr/>
          <p:nvPr/>
        </p:nvSpPr>
        <p:spPr>
          <a:xfrm flipH="1">
            <a:off x="8292116" y="4622115"/>
            <a:ext cx="1748492" cy="5078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ess Plant Equip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clear Power Plant Equip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ping Centre &amp; Forging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5F5F5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</p:txBody>
      </p:sp>
      <p:sp>
        <p:nvSpPr>
          <p:cNvPr id="1159" name="Freeform: Shape 1158">
            <a:extLst>
              <a:ext uri="{FF2B5EF4-FFF2-40B4-BE49-F238E27FC236}">
                <a16:creationId xmlns:a16="http://schemas.microsoft.com/office/drawing/2014/main" id="{E44DFC30-E002-13D2-C53C-9142B7E4D911}"/>
              </a:ext>
            </a:extLst>
          </p:cNvPr>
          <p:cNvSpPr/>
          <p:nvPr/>
        </p:nvSpPr>
        <p:spPr>
          <a:xfrm>
            <a:off x="5754104" y="1738984"/>
            <a:ext cx="1384475" cy="1251249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51832 w 1260877"/>
              <a:gd name="connsiteY10" fmla="*/ 702635 h 1346824"/>
              <a:gd name="connsiteX11" fmla="*/ 51832 w 1260877"/>
              <a:gd name="connsiteY11" fmla="*/ 436777 h 1346824"/>
              <a:gd name="connsiteX12" fmla="*/ 0 w 1260877"/>
              <a:gd name="connsiteY12" fmla="*/ 436777 h 1346824"/>
              <a:gd name="connsiteX13" fmla="*/ 0 w 1260877"/>
              <a:gd name="connsiteY13" fmla="*/ 242879 h 1346824"/>
              <a:gd name="connsiteX14" fmla="*/ 119887 w 1260877"/>
              <a:gd name="connsiteY14" fmla="*/ 122992 h 1346824"/>
              <a:gd name="connsiteX15" fmla="*/ 905597 w 1260877"/>
              <a:gd name="connsiteY15" fmla="*/ 122992 h 1346824"/>
              <a:gd name="connsiteX16" fmla="*/ 909724 w 1260877"/>
              <a:gd name="connsiteY16" fmla="*/ 109699 h 1346824"/>
              <a:gd name="connsiteX17" fmla="*/ 1075220 w 1260877"/>
              <a:gd name="connsiteY17" fmla="*/ 0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17" fmla="*/ 143272 w 1260877"/>
              <a:gd name="connsiteY17" fmla="*/ 794075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0" fmla="*/ 51832 w 1260877"/>
              <a:gd name="connsiteY0" fmla="*/ 436777 h 1346824"/>
              <a:gd name="connsiteX1" fmla="*/ 0 w 1260877"/>
              <a:gd name="connsiteY1" fmla="*/ 436777 h 1346824"/>
              <a:gd name="connsiteX2" fmla="*/ 0 w 1260877"/>
              <a:gd name="connsiteY2" fmla="*/ 242879 h 1346824"/>
              <a:gd name="connsiteX3" fmla="*/ 119887 w 1260877"/>
              <a:gd name="connsiteY3" fmla="*/ 122992 h 1346824"/>
              <a:gd name="connsiteX4" fmla="*/ 905597 w 1260877"/>
              <a:gd name="connsiteY4" fmla="*/ 122992 h 1346824"/>
              <a:gd name="connsiteX5" fmla="*/ 909724 w 1260877"/>
              <a:gd name="connsiteY5" fmla="*/ 109699 h 1346824"/>
              <a:gd name="connsiteX6" fmla="*/ 1075220 w 1260877"/>
              <a:gd name="connsiteY6" fmla="*/ 0 h 1346824"/>
              <a:gd name="connsiteX7" fmla="*/ 1081266 w 1260877"/>
              <a:gd name="connsiteY7" fmla="*/ 0 h 1346824"/>
              <a:gd name="connsiteX8" fmla="*/ 1260877 w 1260877"/>
              <a:gd name="connsiteY8" fmla="*/ 179611 h 1346824"/>
              <a:gd name="connsiteX9" fmla="*/ 1208270 w 1260877"/>
              <a:gd name="connsiteY9" fmla="*/ 306615 h 1346824"/>
              <a:gd name="connsiteX10" fmla="*/ 1157436 w 1260877"/>
              <a:gd name="connsiteY10" fmla="*/ 340888 h 1346824"/>
              <a:gd name="connsiteX11" fmla="*/ 1157436 w 1260877"/>
              <a:gd name="connsiteY11" fmla="*/ 1226937 h 1346824"/>
              <a:gd name="connsiteX12" fmla="*/ 1037549 w 1260877"/>
              <a:gd name="connsiteY12" fmla="*/ 1346824 h 1346824"/>
              <a:gd name="connsiteX13" fmla="*/ 119887 w 1260877"/>
              <a:gd name="connsiteY13" fmla="*/ 1346824 h 1346824"/>
              <a:gd name="connsiteX14" fmla="*/ 0 w 1260877"/>
              <a:gd name="connsiteY14" fmla="*/ 1226937 h 1346824"/>
              <a:gd name="connsiteX15" fmla="*/ 0 w 1260877"/>
              <a:gd name="connsiteY15" fmla="*/ 702635 h 1346824"/>
              <a:gd name="connsiteX0" fmla="*/ 0 w 1260877"/>
              <a:gd name="connsiteY0" fmla="*/ 436777 h 1346824"/>
              <a:gd name="connsiteX1" fmla="*/ 0 w 1260877"/>
              <a:gd name="connsiteY1" fmla="*/ 242879 h 1346824"/>
              <a:gd name="connsiteX2" fmla="*/ 119887 w 1260877"/>
              <a:gd name="connsiteY2" fmla="*/ 122992 h 1346824"/>
              <a:gd name="connsiteX3" fmla="*/ 905597 w 1260877"/>
              <a:gd name="connsiteY3" fmla="*/ 122992 h 1346824"/>
              <a:gd name="connsiteX4" fmla="*/ 909724 w 1260877"/>
              <a:gd name="connsiteY4" fmla="*/ 109699 h 1346824"/>
              <a:gd name="connsiteX5" fmla="*/ 1075220 w 1260877"/>
              <a:gd name="connsiteY5" fmla="*/ 0 h 1346824"/>
              <a:gd name="connsiteX6" fmla="*/ 1081266 w 1260877"/>
              <a:gd name="connsiteY6" fmla="*/ 0 h 1346824"/>
              <a:gd name="connsiteX7" fmla="*/ 1260877 w 1260877"/>
              <a:gd name="connsiteY7" fmla="*/ 179611 h 1346824"/>
              <a:gd name="connsiteX8" fmla="*/ 1208270 w 1260877"/>
              <a:gd name="connsiteY8" fmla="*/ 306615 h 1346824"/>
              <a:gd name="connsiteX9" fmla="*/ 1157436 w 1260877"/>
              <a:gd name="connsiteY9" fmla="*/ 340888 h 1346824"/>
              <a:gd name="connsiteX10" fmla="*/ 1157436 w 1260877"/>
              <a:gd name="connsiteY10" fmla="*/ 1226937 h 1346824"/>
              <a:gd name="connsiteX11" fmla="*/ 1037549 w 1260877"/>
              <a:gd name="connsiteY11" fmla="*/ 1346824 h 1346824"/>
              <a:gd name="connsiteX12" fmla="*/ 119887 w 1260877"/>
              <a:gd name="connsiteY12" fmla="*/ 1346824 h 1346824"/>
              <a:gd name="connsiteX13" fmla="*/ 0 w 1260877"/>
              <a:gd name="connsiteY13" fmla="*/ 1226937 h 1346824"/>
              <a:gd name="connsiteX14" fmla="*/ 0 w 1260877"/>
              <a:gd name="connsiteY14" fmla="*/ 702635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0877" h="1346824">
                <a:moveTo>
                  <a:pt x="0" y="436777"/>
                </a:moveTo>
                <a:lnTo>
                  <a:pt x="0" y="242879"/>
                </a:lnTo>
                <a:cubicBezTo>
                  <a:pt x="0" y="176667"/>
                  <a:pt x="53675" y="122992"/>
                  <a:pt x="119887" y="122992"/>
                </a:cubicBezTo>
                <a:lnTo>
                  <a:pt x="905597" y="122992"/>
                </a:lnTo>
                <a:lnTo>
                  <a:pt x="909724" y="109699"/>
                </a:lnTo>
                <a:cubicBezTo>
                  <a:pt x="936990" y="45234"/>
                  <a:pt x="1000823" y="0"/>
                  <a:pt x="1075220" y="0"/>
                </a:cubicBezTo>
                <a:lnTo>
                  <a:pt x="1081266" y="0"/>
                </a:lnTo>
                <a:cubicBezTo>
                  <a:pt x="1180462" y="0"/>
                  <a:pt x="1260877" y="80415"/>
                  <a:pt x="1260877" y="179611"/>
                </a:cubicBezTo>
                <a:cubicBezTo>
                  <a:pt x="1260877" y="229209"/>
                  <a:pt x="1240773" y="274112"/>
                  <a:pt x="1208270" y="306615"/>
                </a:cubicBezTo>
                <a:lnTo>
                  <a:pt x="1157436" y="340888"/>
                </a:lnTo>
                <a:lnTo>
                  <a:pt x="1157436" y="1226937"/>
                </a:lnTo>
                <a:cubicBezTo>
                  <a:pt x="1157436" y="1293149"/>
                  <a:pt x="1103761" y="1346824"/>
                  <a:pt x="1037549" y="1346824"/>
                </a:cubicBezTo>
                <a:lnTo>
                  <a:pt x="119887" y="1346824"/>
                </a:lnTo>
                <a:cubicBezTo>
                  <a:pt x="53675" y="1346824"/>
                  <a:pt x="0" y="1293149"/>
                  <a:pt x="0" y="1226937"/>
                </a:cubicBezTo>
                <a:lnTo>
                  <a:pt x="0" y="702635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0F0AC0C6-ADC3-0DA8-4F4E-7E3414CA9132}"/>
              </a:ext>
            </a:extLst>
          </p:cNvPr>
          <p:cNvGrpSpPr/>
          <p:nvPr/>
        </p:nvGrpSpPr>
        <p:grpSpPr>
          <a:xfrm>
            <a:off x="6726251" y="1758482"/>
            <a:ext cx="429700" cy="294732"/>
            <a:chOff x="2539911" y="2257308"/>
            <a:chExt cx="412206" cy="334161"/>
          </a:xfrm>
        </p:grpSpPr>
        <p:sp>
          <p:nvSpPr>
            <p:cNvPr id="1161" name="Rectangle: Rounded Corners 1160">
              <a:extLst>
                <a:ext uri="{FF2B5EF4-FFF2-40B4-BE49-F238E27FC236}">
                  <a16:creationId xmlns:a16="http://schemas.microsoft.com/office/drawing/2014/main" id="{B683AC42-A2DD-A652-A31E-A5246BEF9768}"/>
                </a:ext>
              </a:extLst>
            </p:cNvPr>
            <p:cNvSpPr/>
            <p:nvPr/>
          </p:nvSpPr>
          <p:spPr>
            <a:xfrm>
              <a:off x="2585326" y="2266362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F7C000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2" name="Rectangle 1161">
              <a:extLst>
                <a:ext uri="{FF2B5EF4-FFF2-40B4-BE49-F238E27FC236}">
                  <a16:creationId xmlns:a16="http://schemas.microsoft.com/office/drawing/2014/main" id="{041F2600-3FD8-1569-E1B7-C049FBF6FAD7}"/>
                </a:ext>
              </a:extLst>
            </p:cNvPr>
            <p:cNvSpPr/>
            <p:nvPr/>
          </p:nvSpPr>
          <p:spPr>
            <a:xfrm flipH="1">
              <a:off x="2539911" y="2257308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4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63" name="Rectangle 1162">
            <a:extLst>
              <a:ext uri="{FF2B5EF4-FFF2-40B4-BE49-F238E27FC236}">
                <a16:creationId xmlns:a16="http://schemas.microsoft.com/office/drawing/2014/main" id="{3ADB00BA-1F39-1123-D345-9E93D4439A51}"/>
              </a:ext>
            </a:extLst>
          </p:cNvPr>
          <p:cNvSpPr/>
          <p:nvPr/>
        </p:nvSpPr>
        <p:spPr>
          <a:xfrm flipH="1">
            <a:off x="7507983" y="1828860"/>
            <a:ext cx="1019185" cy="4001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l Services​</a:t>
            </a:r>
          </a:p>
        </p:txBody>
      </p:sp>
      <p:sp>
        <p:nvSpPr>
          <p:cNvPr id="1164" name="Rectangle 1163">
            <a:extLst>
              <a:ext uri="{FF2B5EF4-FFF2-40B4-BE49-F238E27FC236}">
                <a16:creationId xmlns:a16="http://schemas.microsoft.com/office/drawing/2014/main" id="{249756EE-75F3-9A7F-DA86-ECFA358DC10A}"/>
              </a:ext>
            </a:extLst>
          </p:cNvPr>
          <p:cNvSpPr/>
          <p:nvPr/>
        </p:nvSpPr>
        <p:spPr>
          <a:xfrm flipH="1">
            <a:off x="7470286" y="1162072"/>
            <a:ext cx="1494319" cy="646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ural Lending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using Financ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olesale Financ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et Management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165" name="Rectangle 12">
            <a:extLst>
              <a:ext uri="{FF2B5EF4-FFF2-40B4-BE49-F238E27FC236}">
                <a16:creationId xmlns:a16="http://schemas.microsoft.com/office/drawing/2014/main" id="{D93B1684-DDC8-3156-71C9-2F499A0DD3CC}"/>
              </a:ext>
            </a:extLst>
          </p:cNvPr>
          <p:cNvSpPr/>
          <p:nvPr/>
        </p:nvSpPr>
        <p:spPr>
          <a:xfrm>
            <a:off x="5513464" y="2268652"/>
            <a:ext cx="245360" cy="973928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66" name="Group 1165">
            <a:extLst>
              <a:ext uri="{FF2B5EF4-FFF2-40B4-BE49-F238E27FC236}">
                <a16:creationId xmlns:a16="http://schemas.microsoft.com/office/drawing/2014/main" id="{54B6570A-DA9E-CB9B-7260-A850A4B3A5CA}"/>
              </a:ext>
            </a:extLst>
          </p:cNvPr>
          <p:cNvGrpSpPr/>
          <p:nvPr/>
        </p:nvGrpSpPr>
        <p:grpSpPr>
          <a:xfrm>
            <a:off x="5698295" y="2220575"/>
            <a:ext cx="112722" cy="95374"/>
            <a:chOff x="1553805" y="2781220"/>
            <a:chExt cx="108133" cy="108133"/>
          </a:xfrm>
        </p:grpSpPr>
        <p:sp>
          <p:nvSpPr>
            <p:cNvPr id="1167" name="Google Shape;975;p33">
              <a:extLst>
                <a:ext uri="{FF2B5EF4-FFF2-40B4-BE49-F238E27FC236}">
                  <a16:creationId xmlns:a16="http://schemas.microsoft.com/office/drawing/2014/main" id="{8D0D0BBE-CDD4-2E5C-7CDE-989F02A0E39E}"/>
                </a:ext>
              </a:extLst>
            </p:cNvPr>
            <p:cNvSpPr/>
            <p:nvPr/>
          </p:nvSpPr>
          <p:spPr>
            <a:xfrm>
              <a:off x="1553805" y="2781220"/>
              <a:ext cx="108133" cy="108133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8" name="Google Shape;976;p33">
              <a:extLst>
                <a:ext uri="{FF2B5EF4-FFF2-40B4-BE49-F238E27FC236}">
                  <a16:creationId xmlns:a16="http://schemas.microsoft.com/office/drawing/2014/main" id="{026EBC2B-D3A0-A8CC-756E-A05C079CF440}"/>
                </a:ext>
              </a:extLst>
            </p:cNvPr>
            <p:cNvSpPr/>
            <p:nvPr/>
          </p:nvSpPr>
          <p:spPr>
            <a:xfrm>
              <a:off x="1578214" y="2805630"/>
              <a:ext cx="59310" cy="59310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69" name="Group 1168">
            <a:extLst>
              <a:ext uri="{FF2B5EF4-FFF2-40B4-BE49-F238E27FC236}">
                <a16:creationId xmlns:a16="http://schemas.microsoft.com/office/drawing/2014/main" id="{C7718BD8-B0FD-DF03-0183-DA2AD3E5A677}"/>
              </a:ext>
            </a:extLst>
          </p:cNvPr>
          <p:cNvGrpSpPr/>
          <p:nvPr/>
        </p:nvGrpSpPr>
        <p:grpSpPr>
          <a:xfrm>
            <a:off x="5459300" y="3203815"/>
            <a:ext cx="112722" cy="95374"/>
            <a:chOff x="5972125" y="3766969"/>
            <a:chExt cx="102659" cy="102659"/>
          </a:xfrm>
        </p:grpSpPr>
        <p:sp>
          <p:nvSpPr>
            <p:cNvPr id="1170" name="Google Shape;975;p33">
              <a:extLst>
                <a:ext uri="{FF2B5EF4-FFF2-40B4-BE49-F238E27FC236}">
                  <a16:creationId xmlns:a16="http://schemas.microsoft.com/office/drawing/2014/main" id="{AD9E221F-384D-7E3D-E320-254111FE2E25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1" name="Google Shape;976;p33">
              <a:extLst>
                <a:ext uri="{FF2B5EF4-FFF2-40B4-BE49-F238E27FC236}">
                  <a16:creationId xmlns:a16="http://schemas.microsoft.com/office/drawing/2014/main" id="{4DDE7024-EBC7-21A9-7FBD-67542C97C48B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72" name="Rectangle 12">
            <a:extLst>
              <a:ext uri="{FF2B5EF4-FFF2-40B4-BE49-F238E27FC236}">
                <a16:creationId xmlns:a16="http://schemas.microsoft.com/office/drawing/2014/main" id="{8561D427-D7FC-4C55-4E73-EF7D3EBE3329}"/>
              </a:ext>
            </a:extLst>
          </p:cNvPr>
          <p:cNvSpPr/>
          <p:nvPr/>
        </p:nvSpPr>
        <p:spPr>
          <a:xfrm flipV="1">
            <a:off x="4657349" y="3242480"/>
            <a:ext cx="245360" cy="973926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73" name="Group 1172">
            <a:extLst>
              <a:ext uri="{FF2B5EF4-FFF2-40B4-BE49-F238E27FC236}">
                <a16:creationId xmlns:a16="http://schemas.microsoft.com/office/drawing/2014/main" id="{DF2094FF-2C4E-1784-E1D1-3C6957FF952C}"/>
              </a:ext>
            </a:extLst>
          </p:cNvPr>
          <p:cNvGrpSpPr/>
          <p:nvPr/>
        </p:nvGrpSpPr>
        <p:grpSpPr>
          <a:xfrm>
            <a:off x="4842178" y="4169109"/>
            <a:ext cx="112722" cy="95374"/>
            <a:chOff x="3459979" y="4996312"/>
            <a:chExt cx="102659" cy="102659"/>
          </a:xfrm>
        </p:grpSpPr>
        <p:sp>
          <p:nvSpPr>
            <p:cNvPr id="1174" name="Google Shape;975;p33">
              <a:extLst>
                <a:ext uri="{FF2B5EF4-FFF2-40B4-BE49-F238E27FC236}">
                  <a16:creationId xmlns:a16="http://schemas.microsoft.com/office/drawing/2014/main" id="{A2ADE58C-3370-4A14-565B-3C7927060697}"/>
                </a:ext>
              </a:extLst>
            </p:cNvPr>
            <p:cNvSpPr/>
            <p:nvPr/>
          </p:nvSpPr>
          <p:spPr>
            <a:xfrm flipV="1">
              <a:off x="3459979" y="4996312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5" name="Google Shape;976;p33">
              <a:extLst>
                <a:ext uri="{FF2B5EF4-FFF2-40B4-BE49-F238E27FC236}">
                  <a16:creationId xmlns:a16="http://schemas.microsoft.com/office/drawing/2014/main" id="{8DD24C0E-7751-FE94-291F-5CC53A504E18}"/>
                </a:ext>
              </a:extLst>
            </p:cNvPr>
            <p:cNvSpPr/>
            <p:nvPr/>
          </p:nvSpPr>
          <p:spPr>
            <a:xfrm flipV="1">
              <a:off x="3483153" y="5019489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76" name="Group 1175">
            <a:extLst>
              <a:ext uri="{FF2B5EF4-FFF2-40B4-BE49-F238E27FC236}">
                <a16:creationId xmlns:a16="http://schemas.microsoft.com/office/drawing/2014/main" id="{06EF2D88-DE87-9AFB-1A69-FE892836BFCE}"/>
              </a:ext>
            </a:extLst>
          </p:cNvPr>
          <p:cNvGrpSpPr/>
          <p:nvPr/>
        </p:nvGrpSpPr>
        <p:grpSpPr>
          <a:xfrm>
            <a:off x="4600987" y="3203815"/>
            <a:ext cx="112722" cy="95374"/>
            <a:chOff x="5972125" y="3766969"/>
            <a:chExt cx="102659" cy="102659"/>
          </a:xfrm>
        </p:grpSpPr>
        <p:sp>
          <p:nvSpPr>
            <p:cNvPr id="1177" name="Google Shape;975;p33">
              <a:extLst>
                <a:ext uri="{FF2B5EF4-FFF2-40B4-BE49-F238E27FC236}">
                  <a16:creationId xmlns:a16="http://schemas.microsoft.com/office/drawing/2014/main" id="{F0C70720-A620-13F5-A71C-C47A098827E3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8" name="Google Shape;976;p33">
              <a:extLst>
                <a:ext uri="{FF2B5EF4-FFF2-40B4-BE49-F238E27FC236}">
                  <a16:creationId xmlns:a16="http://schemas.microsoft.com/office/drawing/2014/main" id="{FEA574CF-EE51-327B-C58A-2C209DF79F54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79" name="Freeform: Shape 1178">
            <a:extLst>
              <a:ext uri="{FF2B5EF4-FFF2-40B4-BE49-F238E27FC236}">
                <a16:creationId xmlns:a16="http://schemas.microsoft.com/office/drawing/2014/main" id="{716A67D8-FAEB-1E53-0B60-19E2E766D620}"/>
              </a:ext>
            </a:extLst>
          </p:cNvPr>
          <p:cNvSpPr/>
          <p:nvPr/>
        </p:nvSpPr>
        <p:spPr>
          <a:xfrm>
            <a:off x="4897063" y="3381559"/>
            <a:ext cx="1385398" cy="1251247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0 w 1260877"/>
              <a:gd name="connsiteY10" fmla="*/ 436777 h 1346824"/>
              <a:gd name="connsiteX11" fmla="*/ 0 w 1260877"/>
              <a:gd name="connsiteY11" fmla="*/ 242879 h 1346824"/>
              <a:gd name="connsiteX12" fmla="*/ 119887 w 1260877"/>
              <a:gd name="connsiteY12" fmla="*/ 122992 h 1346824"/>
              <a:gd name="connsiteX13" fmla="*/ 905597 w 1260877"/>
              <a:gd name="connsiteY13" fmla="*/ 122992 h 1346824"/>
              <a:gd name="connsiteX14" fmla="*/ 909724 w 1260877"/>
              <a:gd name="connsiteY14" fmla="*/ 109699 h 1346824"/>
              <a:gd name="connsiteX15" fmla="*/ 1075220 w 1260877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702635 h 1346824"/>
              <a:gd name="connsiteX11" fmla="*/ 843 w 1261720"/>
              <a:gd name="connsiteY11" fmla="*/ 436777 h 1346824"/>
              <a:gd name="connsiteX12" fmla="*/ 843 w 1261720"/>
              <a:gd name="connsiteY12" fmla="*/ 242879 h 1346824"/>
              <a:gd name="connsiteX13" fmla="*/ 120730 w 1261720"/>
              <a:gd name="connsiteY13" fmla="*/ 122992 h 1346824"/>
              <a:gd name="connsiteX14" fmla="*/ 906440 w 1261720"/>
              <a:gd name="connsiteY14" fmla="*/ 122992 h 1346824"/>
              <a:gd name="connsiteX15" fmla="*/ 910567 w 1261720"/>
              <a:gd name="connsiteY15" fmla="*/ 109699 h 1346824"/>
              <a:gd name="connsiteX16" fmla="*/ 1076063 w 1261720"/>
              <a:gd name="connsiteY16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436777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242879 h 1346824"/>
              <a:gd name="connsiteX11" fmla="*/ 120730 w 1261720"/>
              <a:gd name="connsiteY11" fmla="*/ 122992 h 1346824"/>
              <a:gd name="connsiteX12" fmla="*/ 906440 w 1261720"/>
              <a:gd name="connsiteY12" fmla="*/ 122992 h 1346824"/>
              <a:gd name="connsiteX13" fmla="*/ 910567 w 1261720"/>
              <a:gd name="connsiteY13" fmla="*/ 109699 h 1346824"/>
              <a:gd name="connsiteX14" fmla="*/ 1076063 w 1261720"/>
              <a:gd name="connsiteY14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1032043 h 1346824"/>
              <a:gd name="connsiteX10" fmla="*/ 0 w 1261720"/>
              <a:gd name="connsiteY10" fmla="*/ 767724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  <a:gd name="connsiteX15" fmla="*/ 91440 w 1261720"/>
              <a:gd name="connsiteY15" fmla="*/ 859164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1720" h="1346824">
                <a:moveTo>
                  <a:pt x="0" y="767724"/>
                </a:moveTo>
                <a:lnTo>
                  <a:pt x="843" y="242879"/>
                </a:lnTo>
                <a:cubicBezTo>
                  <a:pt x="843" y="176667"/>
                  <a:pt x="54518" y="122992"/>
                  <a:pt x="120730" y="122992"/>
                </a:cubicBezTo>
                <a:lnTo>
                  <a:pt x="906440" y="122992"/>
                </a:lnTo>
                <a:lnTo>
                  <a:pt x="910567" y="109699"/>
                </a:lnTo>
                <a:cubicBezTo>
                  <a:pt x="937833" y="45234"/>
                  <a:pt x="1001666" y="0"/>
                  <a:pt x="1076063" y="0"/>
                </a:cubicBezTo>
                <a:lnTo>
                  <a:pt x="1082109" y="0"/>
                </a:lnTo>
                <a:cubicBezTo>
                  <a:pt x="1181305" y="0"/>
                  <a:pt x="1261720" y="80415"/>
                  <a:pt x="1261720" y="179611"/>
                </a:cubicBezTo>
                <a:cubicBezTo>
                  <a:pt x="1261720" y="229209"/>
                  <a:pt x="1241616" y="274112"/>
                  <a:pt x="1209113" y="306615"/>
                </a:cubicBezTo>
                <a:lnTo>
                  <a:pt x="1158279" y="340888"/>
                </a:lnTo>
                <a:lnTo>
                  <a:pt x="1158279" y="1226937"/>
                </a:lnTo>
                <a:cubicBezTo>
                  <a:pt x="1158279" y="1293149"/>
                  <a:pt x="1104604" y="1346824"/>
                  <a:pt x="1038392" y="1346824"/>
                </a:cubicBezTo>
                <a:lnTo>
                  <a:pt x="120730" y="1346824"/>
                </a:lnTo>
                <a:cubicBezTo>
                  <a:pt x="54518" y="1346824"/>
                  <a:pt x="843" y="1293149"/>
                  <a:pt x="843" y="1226937"/>
                </a:cubicBezTo>
                <a:lnTo>
                  <a:pt x="0" y="1032043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80" name="Group 1179">
            <a:extLst>
              <a:ext uri="{FF2B5EF4-FFF2-40B4-BE49-F238E27FC236}">
                <a16:creationId xmlns:a16="http://schemas.microsoft.com/office/drawing/2014/main" id="{1BAFEB81-8C7C-9F84-0F93-0175F7F67F4D}"/>
              </a:ext>
            </a:extLst>
          </p:cNvPr>
          <p:cNvGrpSpPr/>
          <p:nvPr/>
        </p:nvGrpSpPr>
        <p:grpSpPr>
          <a:xfrm>
            <a:off x="5869994" y="3401058"/>
            <a:ext cx="429700" cy="294732"/>
            <a:chOff x="1727111" y="4119626"/>
            <a:chExt cx="412206" cy="334161"/>
          </a:xfrm>
        </p:grpSpPr>
        <p:sp>
          <p:nvSpPr>
            <p:cNvPr id="1181" name="Rectangle: Rounded Corners 1180">
              <a:extLst>
                <a:ext uri="{FF2B5EF4-FFF2-40B4-BE49-F238E27FC236}">
                  <a16:creationId xmlns:a16="http://schemas.microsoft.com/office/drawing/2014/main" id="{3C6C48C2-8DA5-B8AE-F45D-F089995BBA65}"/>
                </a:ext>
              </a:extLst>
            </p:cNvPr>
            <p:cNvSpPr/>
            <p:nvPr/>
          </p:nvSpPr>
          <p:spPr>
            <a:xfrm>
              <a:off x="1772527" y="4128679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F7C000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2" name="Rectangle 1181">
              <a:extLst>
                <a:ext uri="{FF2B5EF4-FFF2-40B4-BE49-F238E27FC236}">
                  <a16:creationId xmlns:a16="http://schemas.microsoft.com/office/drawing/2014/main" id="{13DA032B-E078-03A6-BCA7-2E93F76A20B6}"/>
                </a:ext>
              </a:extLst>
            </p:cNvPr>
            <p:cNvSpPr/>
            <p:nvPr/>
          </p:nvSpPr>
          <p:spPr>
            <a:xfrm flipH="1">
              <a:off x="1727111" y="4119626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3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83" name="Rectangle 1182">
            <a:extLst>
              <a:ext uri="{FF2B5EF4-FFF2-40B4-BE49-F238E27FC236}">
                <a16:creationId xmlns:a16="http://schemas.microsoft.com/office/drawing/2014/main" id="{52CFDF9F-201B-2363-23E3-0E829FD59F99}"/>
              </a:ext>
            </a:extLst>
          </p:cNvPr>
          <p:cNvSpPr/>
          <p:nvPr/>
        </p:nvSpPr>
        <p:spPr>
          <a:xfrm flipH="1">
            <a:off x="5896843" y="1828860"/>
            <a:ext cx="963296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ense Engineering</a:t>
            </a:r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BBADDF0B-E915-7879-6466-BE8036C97553}"/>
              </a:ext>
            </a:extLst>
          </p:cNvPr>
          <p:cNvSpPr/>
          <p:nvPr/>
        </p:nvSpPr>
        <p:spPr>
          <a:xfrm flipH="1">
            <a:off x="5757329" y="1306922"/>
            <a:ext cx="1494319" cy="5078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ense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erospace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ipbuilding​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185" name="Freeform: Shape 1184">
            <a:extLst>
              <a:ext uri="{FF2B5EF4-FFF2-40B4-BE49-F238E27FC236}">
                <a16:creationId xmlns:a16="http://schemas.microsoft.com/office/drawing/2014/main" id="{E4951D1A-2E7B-90E4-E355-96A632ECF794}"/>
              </a:ext>
            </a:extLst>
          </p:cNvPr>
          <p:cNvSpPr/>
          <p:nvPr/>
        </p:nvSpPr>
        <p:spPr>
          <a:xfrm>
            <a:off x="7468673" y="1738984"/>
            <a:ext cx="1384475" cy="1251249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51832 w 1260877"/>
              <a:gd name="connsiteY10" fmla="*/ 702635 h 1346824"/>
              <a:gd name="connsiteX11" fmla="*/ 51832 w 1260877"/>
              <a:gd name="connsiteY11" fmla="*/ 436777 h 1346824"/>
              <a:gd name="connsiteX12" fmla="*/ 0 w 1260877"/>
              <a:gd name="connsiteY12" fmla="*/ 436777 h 1346824"/>
              <a:gd name="connsiteX13" fmla="*/ 0 w 1260877"/>
              <a:gd name="connsiteY13" fmla="*/ 242879 h 1346824"/>
              <a:gd name="connsiteX14" fmla="*/ 119887 w 1260877"/>
              <a:gd name="connsiteY14" fmla="*/ 122992 h 1346824"/>
              <a:gd name="connsiteX15" fmla="*/ 905597 w 1260877"/>
              <a:gd name="connsiteY15" fmla="*/ 122992 h 1346824"/>
              <a:gd name="connsiteX16" fmla="*/ 909724 w 1260877"/>
              <a:gd name="connsiteY16" fmla="*/ 109699 h 1346824"/>
              <a:gd name="connsiteX17" fmla="*/ 1075220 w 1260877"/>
              <a:gd name="connsiteY17" fmla="*/ 0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17" fmla="*/ 143272 w 1260877"/>
              <a:gd name="connsiteY17" fmla="*/ 794075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0" fmla="*/ 51832 w 1260877"/>
              <a:gd name="connsiteY0" fmla="*/ 436777 h 1346824"/>
              <a:gd name="connsiteX1" fmla="*/ 0 w 1260877"/>
              <a:gd name="connsiteY1" fmla="*/ 436777 h 1346824"/>
              <a:gd name="connsiteX2" fmla="*/ 0 w 1260877"/>
              <a:gd name="connsiteY2" fmla="*/ 242879 h 1346824"/>
              <a:gd name="connsiteX3" fmla="*/ 119887 w 1260877"/>
              <a:gd name="connsiteY3" fmla="*/ 122992 h 1346824"/>
              <a:gd name="connsiteX4" fmla="*/ 905597 w 1260877"/>
              <a:gd name="connsiteY4" fmla="*/ 122992 h 1346824"/>
              <a:gd name="connsiteX5" fmla="*/ 909724 w 1260877"/>
              <a:gd name="connsiteY5" fmla="*/ 109699 h 1346824"/>
              <a:gd name="connsiteX6" fmla="*/ 1075220 w 1260877"/>
              <a:gd name="connsiteY6" fmla="*/ 0 h 1346824"/>
              <a:gd name="connsiteX7" fmla="*/ 1081266 w 1260877"/>
              <a:gd name="connsiteY7" fmla="*/ 0 h 1346824"/>
              <a:gd name="connsiteX8" fmla="*/ 1260877 w 1260877"/>
              <a:gd name="connsiteY8" fmla="*/ 179611 h 1346824"/>
              <a:gd name="connsiteX9" fmla="*/ 1208270 w 1260877"/>
              <a:gd name="connsiteY9" fmla="*/ 306615 h 1346824"/>
              <a:gd name="connsiteX10" fmla="*/ 1157436 w 1260877"/>
              <a:gd name="connsiteY10" fmla="*/ 340888 h 1346824"/>
              <a:gd name="connsiteX11" fmla="*/ 1157436 w 1260877"/>
              <a:gd name="connsiteY11" fmla="*/ 1226937 h 1346824"/>
              <a:gd name="connsiteX12" fmla="*/ 1037549 w 1260877"/>
              <a:gd name="connsiteY12" fmla="*/ 1346824 h 1346824"/>
              <a:gd name="connsiteX13" fmla="*/ 119887 w 1260877"/>
              <a:gd name="connsiteY13" fmla="*/ 1346824 h 1346824"/>
              <a:gd name="connsiteX14" fmla="*/ 0 w 1260877"/>
              <a:gd name="connsiteY14" fmla="*/ 1226937 h 1346824"/>
              <a:gd name="connsiteX15" fmla="*/ 0 w 1260877"/>
              <a:gd name="connsiteY15" fmla="*/ 702635 h 1346824"/>
              <a:gd name="connsiteX0" fmla="*/ 0 w 1260877"/>
              <a:gd name="connsiteY0" fmla="*/ 436777 h 1346824"/>
              <a:gd name="connsiteX1" fmla="*/ 0 w 1260877"/>
              <a:gd name="connsiteY1" fmla="*/ 242879 h 1346824"/>
              <a:gd name="connsiteX2" fmla="*/ 119887 w 1260877"/>
              <a:gd name="connsiteY2" fmla="*/ 122992 h 1346824"/>
              <a:gd name="connsiteX3" fmla="*/ 905597 w 1260877"/>
              <a:gd name="connsiteY3" fmla="*/ 122992 h 1346824"/>
              <a:gd name="connsiteX4" fmla="*/ 909724 w 1260877"/>
              <a:gd name="connsiteY4" fmla="*/ 109699 h 1346824"/>
              <a:gd name="connsiteX5" fmla="*/ 1075220 w 1260877"/>
              <a:gd name="connsiteY5" fmla="*/ 0 h 1346824"/>
              <a:gd name="connsiteX6" fmla="*/ 1081266 w 1260877"/>
              <a:gd name="connsiteY6" fmla="*/ 0 h 1346824"/>
              <a:gd name="connsiteX7" fmla="*/ 1260877 w 1260877"/>
              <a:gd name="connsiteY7" fmla="*/ 179611 h 1346824"/>
              <a:gd name="connsiteX8" fmla="*/ 1208270 w 1260877"/>
              <a:gd name="connsiteY8" fmla="*/ 306615 h 1346824"/>
              <a:gd name="connsiteX9" fmla="*/ 1157436 w 1260877"/>
              <a:gd name="connsiteY9" fmla="*/ 340888 h 1346824"/>
              <a:gd name="connsiteX10" fmla="*/ 1157436 w 1260877"/>
              <a:gd name="connsiteY10" fmla="*/ 1226937 h 1346824"/>
              <a:gd name="connsiteX11" fmla="*/ 1037549 w 1260877"/>
              <a:gd name="connsiteY11" fmla="*/ 1346824 h 1346824"/>
              <a:gd name="connsiteX12" fmla="*/ 119887 w 1260877"/>
              <a:gd name="connsiteY12" fmla="*/ 1346824 h 1346824"/>
              <a:gd name="connsiteX13" fmla="*/ 0 w 1260877"/>
              <a:gd name="connsiteY13" fmla="*/ 1226937 h 1346824"/>
              <a:gd name="connsiteX14" fmla="*/ 0 w 1260877"/>
              <a:gd name="connsiteY14" fmla="*/ 702635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0877" h="1346824">
                <a:moveTo>
                  <a:pt x="0" y="436777"/>
                </a:moveTo>
                <a:lnTo>
                  <a:pt x="0" y="242879"/>
                </a:lnTo>
                <a:cubicBezTo>
                  <a:pt x="0" y="176667"/>
                  <a:pt x="53675" y="122992"/>
                  <a:pt x="119887" y="122992"/>
                </a:cubicBezTo>
                <a:lnTo>
                  <a:pt x="905597" y="122992"/>
                </a:lnTo>
                <a:lnTo>
                  <a:pt x="909724" y="109699"/>
                </a:lnTo>
                <a:cubicBezTo>
                  <a:pt x="936990" y="45234"/>
                  <a:pt x="1000823" y="0"/>
                  <a:pt x="1075220" y="0"/>
                </a:cubicBezTo>
                <a:lnTo>
                  <a:pt x="1081266" y="0"/>
                </a:lnTo>
                <a:cubicBezTo>
                  <a:pt x="1180462" y="0"/>
                  <a:pt x="1260877" y="80415"/>
                  <a:pt x="1260877" y="179611"/>
                </a:cubicBezTo>
                <a:cubicBezTo>
                  <a:pt x="1260877" y="229209"/>
                  <a:pt x="1240773" y="274112"/>
                  <a:pt x="1208270" y="306615"/>
                </a:cubicBezTo>
                <a:lnTo>
                  <a:pt x="1157436" y="340888"/>
                </a:lnTo>
                <a:lnTo>
                  <a:pt x="1157436" y="1226937"/>
                </a:lnTo>
                <a:cubicBezTo>
                  <a:pt x="1157436" y="1293149"/>
                  <a:pt x="1103761" y="1346824"/>
                  <a:pt x="1037549" y="1346824"/>
                </a:cubicBezTo>
                <a:lnTo>
                  <a:pt x="119887" y="1346824"/>
                </a:lnTo>
                <a:cubicBezTo>
                  <a:pt x="53675" y="1346824"/>
                  <a:pt x="0" y="1293149"/>
                  <a:pt x="0" y="1226937"/>
                </a:cubicBezTo>
                <a:lnTo>
                  <a:pt x="0" y="702635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86" name="Group 1185">
            <a:extLst>
              <a:ext uri="{FF2B5EF4-FFF2-40B4-BE49-F238E27FC236}">
                <a16:creationId xmlns:a16="http://schemas.microsoft.com/office/drawing/2014/main" id="{58507465-9005-2631-B4C1-0ECC612D31F0}"/>
              </a:ext>
            </a:extLst>
          </p:cNvPr>
          <p:cNvGrpSpPr/>
          <p:nvPr/>
        </p:nvGrpSpPr>
        <p:grpSpPr>
          <a:xfrm>
            <a:off x="8440820" y="1758482"/>
            <a:ext cx="429700" cy="294732"/>
            <a:chOff x="2539911" y="2257308"/>
            <a:chExt cx="412206" cy="334161"/>
          </a:xfrm>
        </p:grpSpPr>
        <p:sp>
          <p:nvSpPr>
            <p:cNvPr id="1187" name="Rectangle: Rounded Corners 1186">
              <a:extLst>
                <a:ext uri="{FF2B5EF4-FFF2-40B4-BE49-F238E27FC236}">
                  <a16:creationId xmlns:a16="http://schemas.microsoft.com/office/drawing/2014/main" id="{50F9A1BE-5F9E-0E1E-C8B1-B080CDB83693}"/>
                </a:ext>
              </a:extLst>
            </p:cNvPr>
            <p:cNvSpPr/>
            <p:nvPr/>
          </p:nvSpPr>
          <p:spPr>
            <a:xfrm>
              <a:off x="2585326" y="2266362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084A7F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8" name="Rectangle 1187">
              <a:extLst>
                <a:ext uri="{FF2B5EF4-FFF2-40B4-BE49-F238E27FC236}">
                  <a16:creationId xmlns:a16="http://schemas.microsoft.com/office/drawing/2014/main" id="{29C1836F-43F2-311D-F721-6B6BDE6E818F}"/>
                </a:ext>
              </a:extLst>
            </p:cNvPr>
            <p:cNvSpPr/>
            <p:nvPr/>
          </p:nvSpPr>
          <p:spPr>
            <a:xfrm flipH="1">
              <a:off x="2539911" y="2257308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6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89" name="Rectangle 1188">
            <a:extLst>
              <a:ext uri="{FF2B5EF4-FFF2-40B4-BE49-F238E27FC236}">
                <a16:creationId xmlns:a16="http://schemas.microsoft.com/office/drawing/2014/main" id="{A7D39EF5-C88B-C653-85EE-FCCB9A65030E}"/>
              </a:ext>
            </a:extLst>
          </p:cNvPr>
          <p:cNvSpPr/>
          <p:nvPr/>
        </p:nvSpPr>
        <p:spPr>
          <a:xfrm flipH="1">
            <a:off x="4060353" y="1905805"/>
            <a:ext cx="1188646" cy="24622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rastructure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highlight>
                  <a:srgbClr val="F5F5F5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84A7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90" name="Rectangle 1189">
            <a:extLst>
              <a:ext uri="{FF2B5EF4-FFF2-40B4-BE49-F238E27FC236}">
                <a16:creationId xmlns:a16="http://schemas.microsoft.com/office/drawing/2014/main" id="{AC5EE8B9-25FA-8A7A-3EFC-CBA9E3D590B5}"/>
              </a:ext>
            </a:extLst>
          </p:cNvPr>
          <p:cNvSpPr/>
          <p:nvPr/>
        </p:nvSpPr>
        <p:spPr>
          <a:xfrm flipH="1">
            <a:off x="4044953" y="937390"/>
            <a:ext cx="1642843" cy="923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ildings &amp; Factorie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portation Infra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avy Civil infra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ter &amp; Effluent Treat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tall. &amp; Mat. Handling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T&amp;D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91" name="Group 1190">
            <a:extLst>
              <a:ext uri="{FF2B5EF4-FFF2-40B4-BE49-F238E27FC236}">
                <a16:creationId xmlns:a16="http://schemas.microsoft.com/office/drawing/2014/main" id="{0AF64DFE-A1B7-BF57-E6CF-9D3A8105829F}"/>
              </a:ext>
            </a:extLst>
          </p:cNvPr>
          <p:cNvGrpSpPr/>
          <p:nvPr/>
        </p:nvGrpSpPr>
        <p:grpSpPr>
          <a:xfrm>
            <a:off x="7173869" y="2220576"/>
            <a:ext cx="351717" cy="1078613"/>
            <a:chOff x="1324540" y="2781221"/>
            <a:chExt cx="337398" cy="1222908"/>
          </a:xfrm>
        </p:grpSpPr>
        <p:sp>
          <p:nvSpPr>
            <p:cNvPr id="1192" name="Rectangle 12">
              <a:extLst>
                <a:ext uri="{FF2B5EF4-FFF2-40B4-BE49-F238E27FC236}">
                  <a16:creationId xmlns:a16="http://schemas.microsoft.com/office/drawing/2014/main" id="{DB3196BB-EB56-D009-D692-6A1537D69B9F}"/>
                </a:ext>
              </a:extLst>
            </p:cNvPr>
            <p:cNvSpPr/>
            <p:nvPr/>
          </p:nvSpPr>
          <p:spPr>
            <a:xfrm>
              <a:off x="1376499" y="2835729"/>
              <a:ext cx="235371" cy="1104218"/>
            </a:xfrm>
            <a:custGeom>
              <a:avLst/>
              <a:gdLst>
                <a:gd name="connsiteX0" fmla="*/ 0 w 774700"/>
                <a:gd name="connsiteY0" fmla="*/ 0 h 1047750"/>
                <a:gd name="connsiteX1" fmla="*/ 774700 w 774700"/>
                <a:gd name="connsiteY1" fmla="*/ 0 h 1047750"/>
                <a:gd name="connsiteX2" fmla="*/ 774700 w 774700"/>
                <a:gd name="connsiteY2" fmla="*/ 1047750 h 1047750"/>
                <a:gd name="connsiteX3" fmla="*/ 0 w 774700"/>
                <a:gd name="connsiteY3" fmla="*/ 1047750 h 1047750"/>
                <a:gd name="connsiteX4" fmla="*/ 0 w 774700"/>
                <a:gd name="connsiteY4" fmla="*/ 0 h 1047750"/>
                <a:gd name="connsiteX0" fmla="*/ 0 w 774700"/>
                <a:gd name="connsiteY0" fmla="*/ 2951 h 1050701"/>
                <a:gd name="connsiteX1" fmla="*/ 223456 w 774700"/>
                <a:gd name="connsiteY1" fmla="*/ 0 h 1050701"/>
                <a:gd name="connsiteX2" fmla="*/ 774700 w 774700"/>
                <a:gd name="connsiteY2" fmla="*/ 2951 h 1050701"/>
                <a:gd name="connsiteX3" fmla="*/ 774700 w 774700"/>
                <a:gd name="connsiteY3" fmla="*/ 1050701 h 1050701"/>
                <a:gd name="connsiteX4" fmla="*/ 0 w 774700"/>
                <a:gd name="connsiteY4" fmla="*/ 1050701 h 1050701"/>
                <a:gd name="connsiteX5" fmla="*/ 0 w 774700"/>
                <a:gd name="connsiteY5" fmla="*/ 2951 h 1050701"/>
                <a:gd name="connsiteX0" fmla="*/ 0 w 774700"/>
                <a:gd name="connsiteY0" fmla="*/ 2951 h 1050701"/>
                <a:gd name="connsiteX1" fmla="*/ 223456 w 774700"/>
                <a:gd name="connsiteY1" fmla="*/ 0 h 1050701"/>
                <a:gd name="connsiteX2" fmla="*/ 774700 w 774700"/>
                <a:gd name="connsiteY2" fmla="*/ 1050701 h 1050701"/>
                <a:gd name="connsiteX3" fmla="*/ 0 w 774700"/>
                <a:gd name="connsiteY3" fmla="*/ 1050701 h 1050701"/>
                <a:gd name="connsiteX4" fmla="*/ 0 w 774700"/>
                <a:gd name="connsiteY4" fmla="*/ 2951 h 1050701"/>
                <a:gd name="connsiteX0" fmla="*/ 774700 w 866140"/>
                <a:gd name="connsiteY0" fmla="*/ 1050701 h 1142141"/>
                <a:gd name="connsiteX1" fmla="*/ 0 w 866140"/>
                <a:gd name="connsiteY1" fmla="*/ 1050701 h 1142141"/>
                <a:gd name="connsiteX2" fmla="*/ 0 w 866140"/>
                <a:gd name="connsiteY2" fmla="*/ 2951 h 1142141"/>
                <a:gd name="connsiteX3" fmla="*/ 223456 w 866140"/>
                <a:gd name="connsiteY3" fmla="*/ 0 h 1142141"/>
                <a:gd name="connsiteX4" fmla="*/ 866140 w 866140"/>
                <a:gd name="connsiteY4" fmla="*/ 1142141 h 1142141"/>
                <a:gd name="connsiteX0" fmla="*/ 774700 w 774700"/>
                <a:gd name="connsiteY0" fmla="*/ 1050701 h 1050701"/>
                <a:gd name="connsiteX1" fmla="*/ 0 w 774700"/>
                <a:gd name="connsiteY1" fmla="*/ 1050701 h 1050701"/>
                <a:gd name="connsiteX2" fmla="*/ 0 w 774700"/>
                <a:gd name="connsiteY2" fmla="*/ 2951 h 1050701"/>
                <a:gd name="connsiteX3" fmla="*/ 223456 w 774700"/>
                <a:gd name="connsiteY3" fmla="*/ 0 h 1050701"/>
                <a:gd name="connsiteX0" fmla="*/ 774700 w 774700"/>
                <a:gd name="connsiteY0" fmla="*/ 1048320 h 1048320"/>
                <a:gd name="connsiteX1" fmla="*/ 0 w 774700"/>
                <a:gd name="connsiteY1" fmla="*/ 1048320 h 1048320"/>
                <a:gd name="connsiteX2" fmla="*/ 0 w 774700"/>
                <a:gd name="connsiteY2" fmla="*/ 570 h 1048320"/>
                <a:gd name="connsiteX3" fmla="*/ 223456 w 774700"/>
                <a:gd name="connsiteY3" fmla="*/ 0 h 1048320"/>
                <a:gd name="connsiteX0" fmla="*/ 0 w 223456"/>
                <a:gd name="connsiteY0" fmla="*/ 1048320 h 1048320"/>
                <a:gd name="connsiteX1" fmla="*/ 0 w 223456"/>
                <a:gd name="connsiteY1" fmla="*/ 570 h 1048320"/>
                <a:gd name="connsiteX2" fmla="*/ 223456 w 223456"/>
                <a:gd name="connsiteY2" fmla="*/ 0 h 104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456" h="1048320">
                  <a:moveTo>
                    <a:pt x="0" y="1048320"/>
                  </a:moveTo>
                  <a:lnTo>
                    <a:pt x="0" y="570"/>
                  </a:lnTo>
                  <a:lnTo>
                    <a:pt x="223456" y="0"/>
                  </a:lnTo>
                </a:path>
              </a:pathLst>
            </a:custGeom>
            <a:noFill/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193" name="Group 1192">
              <a:extLst>
                <a:ext uri="{FF2B5EF4-FFF2-40B4-BE49-F238E27FC236}">
                  <a16:creationId xmlns:a16="http://schemas.microsoft.com/office/drawing/2014/main" id="{157964C5-2E07-5476-0722-BBE51093BE3C}"/>
                </a:ext>
              </a:extLst>
            </p:cNvPr>
            <p:cNvGrpSpPr/>
            <p:nvPr/>
          </p:nvGrpSpPr>
          <p:grpSpPr>
            <a:xfrm>
              <a:off x="1553805" y="2781221"/>
              <a:ext cx="108133" cy="108133"/>
              <a:chOff x="1553805" y="2781221"/>
              <a:chExt cx="108133" cy="108133"/>
            </a:xfrm>
          </p:grpSpPr>
          <p:sp>
            <p:nvSpPr>
              <p:cNvPr id="1197" name="Google Shape;975;p33">
                <a:extLst>
                  <a:ext uri="{FF2B5EF4-FFF2-40B4-BE49-F238E27FC236}">
                    <a16:creationId xmlns:a16="http://schemas.microsoft.com/office/drawing/2014/main" id="{4176753F-D08C-7F83-6F2E-9C2CD31BBE08}"/>
                  </a:ext>
                </a:extLst>
              </p:cNvPr>
              <p:cNvSpPr/>
              <p:nvPr/>
            </p:nvSpPr>
            <p:spPr>
              <a:xfrm>
                <a:off x="1553805" y="2781221"/>
                <a:ext cx="108133" cy="108133"/>
              </a:xfrm>
              <a:prstGeom prst="ellipse">
                <a:avLst/>
              </a:prstGeom>
              <a:solidFill>
                <a:schemeClr val="bg1"/>
              </a:solidFill>
              <a:ln w="6350" cap="flat" cmpd="sng">
                <a:solidFill>
                  <a:schemeClr val="tx1">
                    <a:lumMod val="85000"/>
                    <a:lumOff val="15000"/>
                  </a:schemeClr>
                </a:solidFill>
                <a:prstDash val="solid"/>
                <a:miter lim="23353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98" name="Google Shape;976;p33">
                <a:extLst>
                  <a:ext uri="{FF2B5EF4-FFF2-40B4-BE49-F238E27FC236}">
                    <a16:creationId xmlns:a16="http://schemas.microsoft.com/office/drawing/2014/main" id="{79F7A47C-BE01-B0E2-AA20-8EE3D8183DCF}"/>
                  </a:ext>
                </a:extLst>
              </p:cNvPr>
              <p:cNvSpPr/>
              <p:nvPr/>
            </p:nvSpPr>
            <p:spPr>
              <a:xfrm>
                <a:off x="1578214" y="2805630"/>
                <a:ext cx="59310" cy="59310"/>
              </a:xfrm>
              <a:prstGeom prst="ellipse">
                <a:avLst/>
              </a:prstGeom>
              <a:solidFill>
                <a:srgbClr val="084A7F"/>
              </a:solidFill>
              <a:ln w="6350"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1194" name="Group 1193">
              <a:extLst>
                <a:ext uri="{FF2B5EF4-FFF2-40B4-BE49-F238E27FC236}">
                  <a16:creationId xmlns:a16="http://schemas.microsoft.com/office/drawing/2014/main" id="{9999C49B-4EDB-8DD3-9CE3-86499D3C7F5C}"/>
                </a:ext>
              </a:extLst>
            </p:cNvPr>
            <p:cNvGrpSpPr/>
            <p:nvPr/>
          </p:nvGrpSpPr>
          <p:grpSpPr>
            <a:xfrm>
              <a:off x="1324540" y="3895996"/>
              <a:ext cx="108133" cy="108133"/>
              <a:chOff x="5972125" y="3766969"/>
              <a:chExt cx="102659" cy="102659"/>
            </a:xfrm>
          </p:grpSpPr>
          <p:sp>
            <p:nvSpPr>
              <p:cNvPr id="1195" name="Google Shape;975;p33">
                <a:extLst>
                  <a:ext uri="{FF2B5EF4-FFF2-40B4-BE49-F238E27FC236}">
                    <a16:creationId xmlns:a16="http://schemas.microsoft.com/office/drawing/2014/main" id="{478CB63A-B764-6081-282B-D3A001FF4C6E}"/>
                  </a:ext>
                </a:extLst>
              </p:cNvPr>
              <p:cNvSpPr/>
              <p:nvPr/>
            </p:nvSpPr>
            <p:spPr>
              <a:xfrm>
                <a:off x="5972125" y="3766969"/>
                <a:ext cx="102659" cy="102659"/>
              </a:xfrm>
              <a:prstGeom prst="ellipse">
                <a:avLst/>
              </a:prstGeom>
              <a:solidFill>
                <a:schemeClr val="bg1"/>
              </a:solidFill>
              <a:ln w="6350" cap="flat" cmpd="sng">
                <a:solidFill>
                  <a:schemeClr val="tx1">
                    <a:lumMod val="85000"/>
                    <a:lumOff val="15000"/>
                  </a:schemeClr>
                </a:solidFill>
                <a:prstDash val="solid"/>
                <a:miter lim="23353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96" name="Google Shape;976;p33">
                <a:extLst>
                  <a:ext uri="{FF2B5EF4-FFF2-40B4-BE49-F238E27FC236}">
                    <a16:creationId xmlns:a16="http://schemas.microsoft.com/office/drawing/2014/main" id="{7A51B5A4-47DA-3530-873B-2C89953EBADB}"/>
                  </a:ext>
                </a:extLst>
              </p:cNvPr>
              <p:cNvSpPr/>
              <p:nvPr/>
            </p:nvSpPr>
            <p:spPr>
              <a:xfrm>
                <a:off x="5995300" y="3790144"/>
                <a:ext cx="56308" cy="56308"/>
              </a:xfrm>
              <a:prstGeom prst="ellipse">
                <a:avLst/>
              </a:prstGeom>
              <a:solidFill>
                <a:srgbClr val="FFC000"/>
              </a:solidFill>
              <a:ln w="6350"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1199" name="Rectangle 12">
            <a:extLst>
              <a:ext uri="{FF2B5EF4-FFF2-40B4-BE49-F238E27FC236}">
                <a16:creationId xmlns:a16="http://schemas.microsoft.com/office/drawing/2014/main" id="{407EC1D8-88C9-C3E5-7690-DF6A964F4B5D}"/>
              </a:ext>
            </a:extLst>
          </p:cNvPr>
          <p:cNvSpPr/>
          <p:nvPr/>
        </p:nvSpPr>
        <p:spPr>
          <a:xfrm flipV="1">
            <a:off x="6371919" y="3242480"/>
            <a:ext cx="245360" cy="973926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00" name="Group 1199">
            <a:extLst>
              <a:ext uri="{FF2B5EF4-FFF2-40B4-BE49-F238E27FC236}">
                <a16:creationId xmlns:a16="http://schemas.microsoft.com/office/drawing/2014/main" id="{793DDBDA-5238-28B5-4C52-5A9872416B49}"/>
              </a:ext>
            </a:extLst>
          </p:cNvPr>
          <p:cNvGrpSpPr/>
          <p:nvPr/>
        </p:nvGrpSpPr>
        <p:grpSpPr>
          <a:xfrm>
            <a:off x="6556748" y="4169109"/>
            <a:ext cx="112722" cy="95374"/>
            <a:chOff x="3459979" y="4996312"/>
            <a:chExt cx="102659" cy="102659"/>
          </a:xfrm>
        </p:grpSpPr>
        <p:sp>
          <p:nvSpPr>
            <p:cNvPr id="1201" name="Google Shape;975;p33">
              <a:extLst>
                <a:ext uri="{FF2B5EF4-FFF2-40B4-BE49-F238E27FC236}">
                  <a16:creationId xmlns:a16="http://schemas.microsoft.com/office/drawing/2014/main" id="{215C6A6E-31EC-22E0-A811-674910BABB9C}"/>
                </a:ext>
              </a:extLst>
            </p:cNvPr>
            <p:cNvSpPr/>
            <p:nvPr/>
          </p:nvSpPr>
          <p:spPr>
            <a:xfrm flipV="1">
              <a:off x="3459979" y="4996312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2" name="Google Shape;976;p33">
              <a:extLst>
                <a:ext uri="{FF2B5EF4-FFF2-40B4-BE49-F238E27FC236}">
                  <a16:creationId xmlns:a16="http://schemas.microsoft.com/office/drawing/2014/main" id="{3A2AD9BB-AE4B-70AD-2480-34B34B3E703F}"/>
                </a:ext>
              </a:extLst>
            </p:cNvPr>
            <p:cNvSpPr/>
            <p:nvPr/>
          </p:nvSpPr>
          <p:spPr>
            <a:xfrm flipV="1">
              <a:off x="3483153" y="5019489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03" name="Group 1202">
            <a:extLst>
              <a:ext uri="{FF2B5EF4-FFF2-40B4-BE49-F238E27FC236}">
                <a16:creationId xmlns:a16="http://schemas.microsoft.com/office/drawing/2014/main" id="{D2732074-409F-A2D7-DF09-0878F1B7033F}"/>
              </a:ext>
            </a:extLst>
          </p:cNvPr>
          <p:cNvGrpSpPr/>
          <p:nvPr/>
        </p:nvGrpSpPr>
        <p:grpSpPr>
          <a:xfrm>
            <a:off x="6315557" y="3203815"/>
            <a:ext cx="112722" cy="95374"/>
            <a:chOff x="5972125" y="3766969"/>
            <a:chExt cx="102659" cy="102659"/>
          </a:xfrm>
        </p:grpSpPr>
        <p:sp>
          <p:nvSpPr>
            <p:cNvPr id="1204" name="Google Shape;975;p33">
              <a:extLst>
                <a:ext uri="{FF2B5EF4-FFF2-40B4-BE49-F238E27FC236}">
                  <a16:creationId xmlns:a16="http://schemas.microsoft.com/office/drawing/2014/main" id="{9374B666-BD88-B8F3-7483-1FE9E4C54618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5" name="Google Shape;976;p33">
              <a:extLst>
                <a:ext uri="{FF2B5EF4-FFF2-40B4-BE49-F238E27FC236}">
                  <a16:creationId xmlns:a16="http://schemas.microsoft.com/office/drawing/2014/main" id="{A27E4C4D-E77A-E657-A795-67B2F4C4747E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06" name="Freeform: Shape 1205">
            <a:extLst>
              <a:ext uri="{FF2B5EF4-FFF2-40B4-BE49-F238E27FC236}">
                <a16:creationId xmlns:a16="http://schemas.microsoft.com/office/drawing/2014/main" id="{1144938B-D074-503D-1307-BD908A2DE9FA}"/>
              </a:ext>
            </a:extLst>
          </p:cNvPr>
          <p:cNvSpPr/>
          <p:nvPr/>
        </p:nvSpPr>
        <p:spPr>
          <a:xfrm>
            <a:off x="6611633" y="3381560"/>
            <a:ext cx="1385398" cy="1251246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0 w 1260877"/>
              <a:gd name="connsiteY10" fmla="*/ 436777 h 1346824"/>
              <a:gd name="connsiteX11" fmla="*/ 0 w 1260877"/>
              <a:gd name="connsiteY11" fmla="*/ 242879 h 1346824"/>
              <a:gd name="connsiteX12" fmla="*/ 119887 w 1260877"/>
              <a:gd name="connsiteY12" fmla="*/ 122992 h 1346824"/>
              <a:gd name="connsiteX13" fmla="*/ 905597 w 1260877"/>
              <a:gd name="connsiteY13" fmla="*/ 122992 h 1346824"/>
              <a:gd name="connsiteX14" fmla="*/ 909724 w 1260877"/>
              <a:gd name="connsiteY14" fmla="*/ 109699 h 1346824"/>
              <a:gd name="connsiteX15" fmla="*/ 1075220 w 1260877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702635 h 1346824"/>
              <a:gd name="connsiteX11" fmla="*/ 843 w 1261720"/>
              <a:gd name="connsiteY11" fmla="*/ 436777 h 1346824"/>
              <a:gd name="connsiteX12" fmla="*/ 843 w 1261720"/>
              <a:gd name="connsiteY12" fmla="*/ 242879 h 1346824"/>
              <a:gd name="connsiteX13" fmla="*/ 120730 w 1261720"/>
              <a:gd name="connsiteY13" fmla="*/ 122992 h 1346824"/>
              <a:gd name="connsiteX14" fmla="*/ 906440 w 1261720"/>
              <a:gd name="connsiteY14" fmla="*/ 122992 h 1346824"/>
              <a:gd name="connsiteX15" fmla="*/ 910567 w 1261720"/>
              <a:gd name="connsiteY15" fmla="*/ 109699 h 1346824"/>
              <a:gd name="connsiteX16" fmla="*/ 1076063 w 1261720"/>
              <a:gd name="connsiteY16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436777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242879 h 1346824"/>
              <a:gd name="connsiteX11" fmla="*/ 120730 w 1261720"/>
              <a:gd name="connsiteY11" fmla="*/ 122992 h 1346824"/>
              <a:gd name="connsiteX12" fmla="*/ 906440 w 1261720"/>
              <a:gd name="connsiteY12" fmla="*/ 122992 h 1346824"/>
              <a:gd name="connsiteX13" fmla="*/ 910567 w 1261720"/>
              <a:gd name="connsiteY13" fmla="*/ 109699 h 1346824"/>
              <a:gd name="connsiteX14" fmla="*/ 1076063 w 1261720"/>
              <a:gd name="connsiteY14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1032043 h 1346824"/>
              <a:gd name="connsiteX10" fmla="*/ 0 w 1261720"/>
              <a:gd name="connsiteY10" fmla="*/ 767724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  <a:gd name="connsiteX15" fmla="*/ 91440 w 1261720"/>
              <a:gd name="connsiteY15" fmla="*/ 859164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1720" h="1346824">
                <a:moveTo>
                  <a:pt x="0" y="767724"/>
                </a:moveTo>
                <a:lnTo>
                  <a:pt x="843" y="242879"/>
                </a:lnTo>
                <a:cubicBezTo>
                  <a:pt x="843" y="176667"/>
                  <a:pt x="54518" y="122992"/>
                  <a:pt x="120730" y="122992"/>
                </a:cubicBezTo>
                <a:lnTo>
                  <a:pt x="906440" y="122992"/>
                </a:lnTo>
                <a:lnTo>
                  <a:pt x="910567" y="109699"/>
                </a:lnTo>
                <a:cubicBezTo>
                  <a:pt x="937833" y="45234"/>
                  <a:pt x="1001666" y="0"/>
                  <a:pt x="1076063" y="0"/>
                </a:cubicBezTo>
                <a:lnTo>
                  <a:pt x="1082109" y="0"/>
                </a:lnTo>
                <a:cubicBezTo>
                  <a:pt x="1181305" y="0"/>
                  <a:pt x="1261720" y="80415"/>
                  <a:pt x="1261720" y="179611"/>
                </a:cubicBezTo>
                <a:cubicBezTo>
                  <a:pt x="1261720" y="229209"/>
                  <a:pt x="1241616" y="274112"/>
                  <a:pt x="1209113" y="306615"/>
                </a:cubicBezTo>
                <a:lnTo>
                  <a:pt x="1158279" y="340888"/>
                </a:lnTo>
                <a:lnTo>
                  <a:pt x="1158279" y="1226937"/>
                </a:lnTo>
                <a:cubicBezTo>
                  <a:pt x="1158279" y="1293149"/>
                  <a:pt x="1104604" y="1346824"/>
                  <a:pt x="1038392" y="1346824"/>
                </a:cubicBezTo>
                <a:lnTo>
                  <a:pt x="120730" y="1346824"/>
                </a:lnTo>
                <a:cubicBezTo>
                  <a:pt x="54518" y="1346824"/>
                  <a:pt x="843" y="1293149"/>
                  <a:pt x="843" y="1226937"/>
                </a:cubicBezTo>
                <a:lnTo>
                  <a:pt x="0" y="1032043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07" name="Rectangle: Rounded Corners 1206">
            <a:extLst>
              <a:ext uri="{FF2B5EF4-FFF2-40B4-BE49-F238E27FC236}">
                <a16:creationId xmlns:a16="http://schemas.microsoft.com/office/drawing/2014/main" id="{88069C8E-F315-DB50-2EB5-892774A1ED04}"/>
              </a:ext>
            </a:extLst>
          </p:cNvPr>
          <p:cNvSpPr/>
          <p:nvPr/>
        </p:nvSpPr>
        <p:spPr>
          <a:xfrm>
            <a:off x="7631907" y="3409043"/>
            <a:ext cx="335014" cy="278762"/>
          </a:xfrm>
          <a:prstGeom prst="roundRect">
            <a:avLst>
              <a:gd name="adj" fmla="val 50000"/>
            </a:avLst>
          </a:prstGeom>
          <a:solidFill>
            <a:srgbClr val="084A7F"/>
          </a:solidFill>
          <a:ln w="6350" cap="rnd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08" name="Rectangle 1207">
            <a:extLst>
              <a:ext uri="{FF2B5EF4-FFF2-40B4-BE49-F238E27FC236}">
                <a16:creationId xmlns:a16="http://schemas.microsoft.com/office/drawing/2014/main" id="{C2324800-B686-0009-777E-54677563E590}"/>
              </a:ext>
            </a:extLst>
          </p:cNvPr>
          <p:cNvSpPr/>
          <p:nvPr/>
        </p:nvSpPr>
        <p:spPr>
          <a:xfrm flipH="1">
            <a:off x="4977566" y="3580541"/>
            <a:ext cx="1188646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ydrocarbon</a:t>
            </a:r>
          </a:p>
        </p:txBody>
      </p:sp>
      <p:sp>
        <p:nvSpPr>
          <p:cNvPr id="1209" name="Freeform: Shape 1208">
            <a:extLst>
              <a:ext uri="{FF2B5EF4-FFF2-40B4-BE49-F238E27FC236}">
                <a16:creationId xmlns:a16="http://schemas.microsoft.com/office/drawing/2014/main" id="{56F893C7-8537-EACA-0E85-CC072EA59C16}"/>
              </a:ext>
            </a:extLst>
          </p:cNvPr>
          <p:cNvSpPr/>
          <p:nvPr/>
        </p:nvSpPr>
        <p:spPr>
          <a:xfrm>
            <a:off x="9183243" y="1738985"/>
            <a:ext cx="1384474" cy="1251249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51832 w 1260877"/>
              <a:gd name="connsiteY10" fmla="*/ 702635 h 1346824"/>
              <a:gd name="connsiteX11" fmla="*/ 51832 w 1260877"/>
              <a:gd name="connsiteY11" fmla="*/ 436777 h 1346824"/>
              <a:gd name="connsiteX12" fmla="*/ 0 w 1260877"/>
              <a:gd name="connsiteY12" fmla="*/ 436777 h 1346824"/>
              <a:gd name="connsiteX13" fmla="*/ 0 w 1260877"/>
              <a:gd name="connsiteY13" fmla="*/ 242879 h 1346824"/>
              <a:gd name="connsiteX14" fmla="*/ 119887 w 1260877"/>
              <a:gd name="connsiteY14" fmla="*/ 122992 h 1346824"/>
              <a:gd name="connsiteX15" fmla="*/ 905597 w 1260877"/>
              <a:gd name="connsiteY15" fmla="*/ 122992 h 1346824"/>
              <a:gd name="connsiteX16" fmla="*/ 909724 w 1260877"/>
              <a:gd name="connsiteY16" fmla="*/ 109699 h 1346824"/>
              <a:gd name="connsiteX17" fmla="*/ 1075220 w 1260877"/>
              <a:gd name="connsiteY17" fmla="*/ 0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17" fmla="*/ 143272 w 1260877"/>
              <a:gd name="connsiteY17" fmla="*/ 794075 h 1346824"/>
              <a:gd name="connsiteX0" fmla="*/ 51832 w 1260877"/>
              <a:gd name="connsiteY0" fmla="*/ 702635 h 1346824"/>
              <a:gd name="connsiteX1" fmla="*/ 51832 w 1260877"/>
              <a:gd name="connsiteY1" fmla="*/ 436777 h 1346824"/>
              <a:gd name="connsiteX2" fmla="*/ 0 w 1260877"/>
              <a:gd name="connsiteY2" fmla="*/ 436777 h 1346824"/>
              <a:gd name="connsiteX3" fmla="*/ 0 w 1260877"/>
              <a:gd name="connsiteY3" fmla="*/ 242879 h 1346824"/>
              <a:gd name="connsiteX4" fmla="*/ 119887 w 1260877"/>
              <a:gd name="connsiteY4" fmla="*/ 122992 h 1346824"/>
              <a:gd name="connsiteX5" fmla="*/ 905597 w 1260877"/>
              <a:gd name="connsiteY5" fmla="*/ 122992 h 1346824"/>
              <a:gd name="connsiteX6" fmla="*/ 909724 w 1260877"/>
              <a:gd name="connsiteY6" fmla="*/ 109699 h 1346824"/>
              <a:gd name="connsiteX7" fmla="*/ 1075220 w 1260877"/>
              <a:gd name="connsiteY7" fmla="*/ 0 h 1346824"/>
              <a:gd name="connsiteX8" fmla="*/ 1081266 w 1260877"/>
              <a:gd name="connsiteY8" fmla="*/ 0 h 1346824"/>
              <a:gd name="connsiteX9" fmla="*/ 1260877 w 1260877"/>
              <a:gd name="connsiteY9" fmla="*/ 179611 h 1346824"/>
              <a:gd name="connsiteX10" fmla="*/ 1208270 w 1260877"/>
              <a:gd name="connsiteY10" fmla="*/ 306615 h 1346824"/>
              <a:gd name="connsiteX11" fmla="*/ 1157436 w 1260877"/>
              <a:gd name="connsiteY11" fmla="*/ 340888 h 1346824"/>
              <a:gd name="connsiteX12" fmla="*/ 1157436 w 1260877"/>
              <a:gd name="connsiteY12" fmla="*/ 1226937 h 1346824"/>
              <a:gd name="connsiteX13" fmla="*/ 1037549 w 1260877"/>
              <a:gd name="connsiteY13" fmla="*/ 1346824 h 1346824"/>
              <a:gd name="connsiteX14" fmla="*/ 119887 w 1260877"/>
              <a:gd name="connsiteY14" fmla="*/ 1346824 h 1346824"/>
              <a:gd name="connsiteX15" fmla="*/ 0 w 1260877"/>
              <a:gd name="connsiteY15" fmla="*/ 1226937 h 1346824"/>
              <a:gd name="connsiteX16" fmla="*/ 0 w 1260877"/>
              <a:gd name="connsiteY16" fmla="*/ 702635 h 1346824"/>
              <a:gd name="connsiteX0" fmla="*/ 51832 w 1260877"/>
              <a:gd name="connsiteY0" fmla="*/ 436777 h 1346824"/>
              <a:gd name="connsiteX1" fmla="*/ 0 w 1260877"/>
              <a:gd name="connsiteY1" fmla="*/ 436777 h 1346824"/>
              <a:gd name="connsiteX2" fmla="*/ 0 w 1260877"/>
              <a:gd name="connsiteY2" fmla="*/ 242879 h 1346824"/>
              <a:gd name="connsiteX3" fmla="*/ 119887 w 1260877"/>
              <a:gd name="connsiteY3" fmla="*/ 122992 h 1346824"/>
              <a:gd name="connsiteX4" fmla="*/ 905597 w 1260877"/>
              <a:gd name="connsiteY4" fmla="*/ 122992 h 1346824"/>
              <a:gd name="connsiteX5" fmla="*/ 909724 w 1260877"/>
              <a:gd name="connsiteY5" fmla="*/ 109699 h 1346824"/>
              <a:gd name="connsiteX6" fmla="*/ 1075220 w 1260877"/>
              <a:gd name="connsiteY6" fmla="*/ 0 h 1346824"/>
              <a:gd name="connsiteX7" fmla="*/ 1081266 w 1260877"/>
              <a:gd name="connsiteY7" fmla="*/ 0 h 1346824"/>
              <a:gd name="connsiteX8" fmla="*/ 1260877 w 1260877"/>
              <a:gd name="connsiteY8" fmla="*/ 179611 h 1346824"/>
              <a:gd name="connsiteX9" fmla="*/ 1208270 w 1260877"/>
              <a:gd name="connsiteY9" fmla="*/ 306615 h 1346824"/>
              <a:gd name="connsiteX10" fmla="*/ 1157436 w 1260877"/>
              <a:gd name="connsiteY10" fmla="*/ 340888 h 1346824"/>
              <a:gd name="connsiteX11" fmla="*/ 1157436 w 1260877"/>
              <a:gd name="connsiteY11" fmla="*/ 1226937 h 1346824"/>
              <a:gd name="connsiteX12" fmla="*/ 1037549 w 1260877"/>
              <a:gd name="connsiteY12" fmla="*/ 1346824 h 1346824"/>
              <a:gd name="connsiteX13" fmla="*/ 119887 w 1260877"/>
              <a:gd name="connsiteY13" fmla="*/ 1346824 h 1346824"/>
              <a:gd name="connsiteX14" fmla="*/ 0 w 1260877"/>
              <a:gd name="connsiteY14" fmla="*/ 1226937 h 1346824"/>
              <a:gd name="connsiteX15" fmla="*/ 0 w 1260877"/>
              <a:gd name="connsiteY15" fmla="*/ 702635 h 1346824"/>
              <a:gd name="connsiteX0" fmla="*/ 0 w 1260877"/>
              <a:gd name="connsiteY0" fmla="*/ 436777 h 1346824"/>
              <a:gd name="connsiteX1" fmla="*/ 0 w 1260877"/>
              <a:gd name="connsiteY1" fmla="*/ 242879 h 1346824"/>
              <a:gd name="connsiteX2" fmla="*/ 119887 w 1260877"/>
              <a:gd name="connsiteY2" fmla="*/ 122992 h 1346824"/>
              <a:gd name="connsiteX3" fmla="*/ 905597 w 1260877"/>
              <a:gd name="connsiteY3" fmla="*/ 122992 h 1346824"/>
              <a:gd name="connsiteX4" fmla="*/ 909724 w 1260877"/>
              <a:gd name="connsiteY4" fmla="*/ 109699 h 1346824"/>
              <a:gd name="connsiteX5" fmla="*/ 1075220 w 1260877"/>
              <a:gd name="connsiteY5" fmla="*/ 0 h 1346824"/>
              <a:gd name="connsiteX6" fmla="*/ 1081266 w 1260877"/>
              <a:gd name="connsiteY6" fmla="*/ 0 h 1346824"/>
              <a:gd name="connsiteX7" fmla="*/ 1260877 w 1260877"/>
              <a:gd name="connsiteY7" fmla="*/ 179611 h 1346824"/>
              <a:gd name="connsiteX8" fmla="*/ 1208270 w 1260877"/>
              <a:gd name="connsiteY8" fmla="*/ 306615 h 1346824"/>
              <a:gd name="connsiteX9" fmla="*/ 1157436 w 1260877"/>
              <a:gd name="connsiteY9" fmla="*/ 340888 h 1346824"/>
              <a:gd name="connsiteX10" fmla="*/ 1157436 w 1260877"/>
              <a:gd name="connsiteY10" fmla="*/ 1226937 h 1346824"/>
              <a:gd name="connsiteX11" fmla="*/ 1037549 w 1260877"/>
              <a:gd name="connsiteY11" fmla="*/ 1346824 h 1346824"/>
              <a:gd name="connsiteX12" fmla="*/ 119887 w 1260877"/>
              <a:gd name="connsiteY12" fmla="*/ 1346824 h 1346824"/>
              <a:gd name="connsiteX13" fmla="*/ 0 w 1260877"/>
              <a:gd name="connsiteY13" fmla="*/ 1226937 h 1346824"/>
              <a:gd name="connsiteX14" fmla="*/ 0 w 1260877"/>
              <a:gd name="connsiteY14" fmla="*/ 702635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0877" h="1346824">
                <a:moveTo>
                  <a:pt x="0" y="436777"/>
                </a:moveTo>
                <a:lnTo>
                  <a:pt x="0" y="242879"/>
                </a:lnTo>
                <a:cubicBezTo>
                  <a:pt x="0" y="176667"/>
                  <a:pt x="53675" y="122992"/>
                  <a:pt x="119887" y="122992"/>
                </a:cubicBezTo>
                <a:lnTo>
                  <a:pt x="905597" y="122992"/>
                </a:lnTo>
                <a:lnTo>
                  <a:pt x="909724" y="109699"/>
                </a:lnTo>
                <a:cubicBezTo>
                  <a:pt x="936990" y="45234"/>
                  <a:pt x="1000823" y="0"/>
                  <a:pt x="1075220" y="0"/>
                </a:cubicBezTo>
                <a:lnTo>
                  <a:pt x="1081266" y="0"/>
                </a:lnTo>
                <a:cubicBezTo>
                  <a:pt x="1180462" y="0"/>
                  <a:pt x="1260877" y="80415"/>
                  <a:pt x="1260877" y="179611"/>
                </a:cubicBezTo>
                <a:cubicBezTo>
                  <a:pt x="1260877" y="229209"/>
                  <a:pt x="1240773" y="274112"/>
                  <a:pt x="1208270" y="306615"/>
                </a:cubicBezTo>
                <a:lnTo>
                  <a:pt x="1157436" y="340888"/>
                </a:lnTo>
                <a:lnTo>
                  <a:pt x="1157436" y="1226937"/>
                </a:lnTo>
                <a:cubicBezTo>
                  <a:pt x="1157436" y="1293149"/>
                  <a:pt x="1103761" y="1346824"/>
                  <a:pt x="1037549" y="1346824"/>
                </a:cubicBezTo>
                <a:lnTo>
                  <a:pt x="119887" y="1346824"/>
                </a:lnTo>
                <a:cubicBezTo>
                  <a:pt x="53675" y="1346824"/>
                  <a:pt x="0" y="1293149"/>
                  <a:pt x="0" y="1226937"/>
                </a:cubicBezTo>
                <a:lnTo>
                  <a:pt x="0" y="702635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10" name="Group 1209">
            <a:extLst>
              <a:ext uri="{FF2B5EF4-FFF2-40B4-BE49-F238E27FC236}">
                <a16:creationId xmlns:a16="http://schemas.microsoft.com/office/drawing/2014/main" id="{87BD30F9-D6E6-A79A-2CA8-EE11FAE19F0A}"/>
              </a:ext>
            </a:extLst>
          </p:cNvPr>
          <p:cNvGrpSpPr/>
          <p:nvPr/>
        </p:nvGrpSpPr>
        <p:grpSpPr>
          <a:xfrm>
            <a:off x="10155389" y="1758482"/>
            <a:ext cx="429700" cy="294732"/>
            <a:chOff x="2539911" y="2257308"/>
            <a:chExt cx="412206" cy="334161"/>
          </a:xfrm>
        </p:grpSpPr>
        <p:sp>
          <p:nvSpPr>
            <p:cNvPr id="1211" name="Rectangle: Rounded Corners 1210">
              <a:extLst>
                <a:ext uri="{FF2B5EF4-FFF2-40B4-BE49-F238E27FC236}">
                  <a16:creationId xmlns:a16="http://schemas.microsoft.com/office/drawing/2014/main" id="{729FB33C-D10B-B3E6-5258-409C37841437}"/>
                </a:ext>
              </a:extLst>
            </p:cNvPr>
            <p:cNvSpPr/>
            <p:nvPr/>
          </p:nvSpPr>
          <p:spPr>
            <a:xfrm>
              <a:off x="2585326" y="2266362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F7C000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2" name="Rectangle 1211">
              <a:extLst>
                <a:ext uri="{FF2B5EF4-FFF2-40B4-BE49-F238E27FC236}">
                  <a16:creationId xmlns:a16="http://schemas.microsoft.com/office/drawing/2014/main" id="{C7E9FAA2-ED95-A686-92E1-83A1B1EADB4A}"/>
                </a:ext>
              </a:extLst>
            </p:cNvPr>
            <p:cNvSpPr/>
            <p:nvPr/>
          </p:nvSpPr>
          <p:spPr>
            <a:xfrm flipH="1">
              <a:off x="2539911" y="2257308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8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13" name="Rectangle 1212">
            <a:extLst>
              <a:ext uri="{FF2B5EF4-FFF2-40B4-BE49-F238E27FC236}">
                <a16:creationId xmlns:a16="http://schemas.microsoft.com/office/drawing/2014/main" id="{30A75B84-7A7F-ADE9-F478-8BF05921A07B}"/>
              </a:ext>
            </a:extLst>
          </p:cNvPr>
          <p:cNvSpPr/>
          <p:nvPr/>
        </p:nvSpPr>
        <p:spPr>
          <a:xfrm flipH="1">
            <a:off x="10044919" y="4622115"/>
            <a:ext cx="1257985" cy="1061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PC- Coal &amp; Gas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mal Power Plant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truction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ectrostatic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cipitator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Equipment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ufacturing​</a:t>
            </a:r>
          </a:p>
        </p:txBody>
      </p:sp>
      <p:sp>
        <p:nvSpPr>
          <p:cNvPr id="1214" name="Rectangle 12">
            <a:extLst>
              <a:ext uri="{FF2B5EF4-FFF2-40B4-BE49-F238E27FC236}">
                <a16:creationId xmlns:a16="http://schemas.microsoft.com/office/drawing/2014/main" id="{7304AB1F-0DA1-81FB-33CB-945F3357FA8B}"/>
              </a:ext>
            </a:extLst>
          </p:cNvPr>
          <p:cNvSpPr/>
          <p:nvPr/>
        </p:nvSpPr>
        <p:spPr>
          <a:xfrm>
            <a:off x="8942603" y="2268652"/>
            <a:ext cx="245360" cy="973927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15" name="Group 1214">
            <a:extLst>
              <a:ext uri="{FF2B5EF4-FFF2-40B4-BE49-F238E27FC236}">
                <a16:creationId xmlns:a16="http://schemas.microsoft.com/office/drawing/2014/main" id="{A41CBF13-6CB3-BEC3-3626-3CBB789D1417}"/>
              </a:ext>
            </a:extLst>
          </p:cNvPr>
          <p:cNvGrpSpPr/>
          <p:nvPr/>
        </p:nvGrpSpPr>
        <p:grpSpPr>
          <a:xfrm>
            <a:off x="9127434" y="2220576"/>
            <a:ext cx="112722" cy="95374"/>
            <a:chOff x="1553805" y="2781221"/>
            <a:chExt cx="108133" cy="108133"/>
          </a:xfrm>
        </p:grpSpPr>
        <p:sp>
          <p:nvSpPr>
            <p:cNvPr id="1216" name="Google Shape;975;p33">
              <a:extLst>
                <a:ext uri="{FF2B5EF4-FFF2-40B4-BE49-F238E27FC236}">
                  <a16:creationId xmlns:a16="http://schemas.microsoft.com/office/drawing/2014/main" id="{F2397FF6-245D-5AC8-8D9E-FCAA82B725E9}"/>
                </a:ext>
              </a:extLst>
            </p:cNvPr>
            <p:cNvSpPr/>
            <p:nvPr/>
          </p:nvSpPr>
          <p:spPr>
            <a:xfrm>
              <a:off x="1553805" y="2781221"/>
              <a:ext cx="108133" cy="108133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7" name="Google Shape;976;p33">
              <a:extLst>
                <a:ext uri="{FF2B5EF4-FFF2-40B4-BE49-F238E27FC236}">
                  <a16:creationId xmlns:a16="http://schemas.microsoft.com/office/drawing/2014/main" id="{037D976D-F4CB-B116-80EF-3869743EC3F8}"/>
                </a:ext>
              </a:extLst>
            </p:cNvPr>
            <p:cNvSpPr/>
            <p:nvPr/>
          </p:nvSpPr>
          <p:spPr>
            <a:xfrm>
              <a:off x="1578214" y="2805630"/>
              <a:ext cx="59310" cy="59310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18" name="Group 1217">
            <a:extLst>
              <a:ext uri="{FF2B5EF4-FFF2-40B4-BE49-F238E27FC236}">
                <a16:creationId xmlns:a16="http://schemas.microsoft.com/office/drawing/2014/main" id="{A315C44C-5A9B-3FB1-6D93-D41A4306B358}"/>
              </a:ext>
            </a:extLst>
          </p:cNvPr>
          <p:cNvGrpSpPr/>
          <p:nvPr/>
        </p:nvGrpSpPr>
        <p:grpSpPr>
          <a:xfrm>
            <a:off x="8888439" y="3203815"/>
            <a:ext cx="112722" cy="95374"/>
            <a:chOff x="5972125" y="3766969"/>
            <a:chExt cx="102659" cy="102659"/>
          </a:xfrm>
        </p:grpSpPr>
        <p:sp>
          <p:nvSpPr>
            <p:cNvPr id="1219" name="Google Shape;975;p33">
              <a:extLst>
                <a:ext uri="{FF2B5EF4-FFF2-40B4-BE49-F238E27FC236}">
                  <a16:creationId xmlns:a16="http://schemas.microsoft.com/office/drawing/2014/main" id="{F758FF7D-924A-B3DA-AD31-9FDB11FAF354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0" name="Google Shape;976;p33">
              <a:extLst>
                <a:ext uri="{FF2B5EF4-FFF2-40B4-BE49-F238E27FC236}">
                  <a16:creationId xmlns:a16="http://schemas.microsoft.com/office/drawing/2014/main" id="{53F62EA0-E90E-2D68-023E-54198E9C8EB4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1" name="Rectangle 12">
            <a:extLst>
              <a:ext uri="{FF2B5EF4-FFF2-40B4-BE49-F238E27FC236}">
                <a16:creationId xmlns:a16="http://schemas.microsoft.com/office/drawing/2014/main" id="{7277B373-3139-1567-802B-9BEBB62A2F54}"/>
              </a:ext>
            </a:extLst>
          </p:cNvPr>
          <p:cNvSpPr/>
          <p:nvPr/>
        </p:nvSpPr>
        <p:spPr>
          <a:xfrm flipV="1">
            <a:off x="8086488" y="3242480"/>
            <a:ext cx="245360" cy="973926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22" name="Group 1221">
            <a:extLst>
              <a:ext uri="{FF2B5EF4-FFF2-40B4-BE49-F238E27FC236}">
                <a16:creationId xmlns:a16="http://schemas.microsoft.com/office/drawing/2014/main" id="{A3700257-3812-36FF-0A72-901F47A396B1}"/>
              </a:ext>
            </a:extLst>
          </p:cNvPr>
          <p:cNvGrpSpPr/>
          <p:nvPr/>
        </p:nvGrpSpPr>
        <p:grpSpPr>
          <a:xfrm>
            <a:off x="8271318" y="4169109"/>
            <a:ext cx="112722" cy="95374"/>
            <a:chOff x="3459979" y="4996312"/>
            <a:chExt cx="102659" cy="102659"/>
          </a:xfrm>
        </p:grpSpPr>
        <p:sp>
          <p:nvSpPr>
            <p:cNvPr id="1223" name="Google Shape;975;p33">
              <a:extLst>
                <a:ext uri="{FF2B5EF4-FFF2-40B4-BE49-F238E27FC236}">
                  <a16:creationId xmlns:a16="http://schemas.microsoft.com/office/drawing/2014/main" id="{A015BDB9-EBEA-D5E3-C3C3-25634214428E}"/>
                </a:ext>
              </a:extLst>
            </p:cNvPr>
            <p:cNvSpPr/>
            <p:nvPr/>
          </p:nvSpPr>
          <p:spPr>
            <a:xfrm flipV="1">
              <a:off x="3459979" y="4996312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4" name="Google Shape;976;p33">
              <a:extLst>
                <a:ext uri="{FF2B5EF4-FFF2-40B4-BE49-F238E27FC236}">
                  <a16:creationId xmlns:a16="http://schemas.microsoft.com/office/drawing/2014/main" id="{C133B720-6633-49C8-C832-1C509854DDC2}"/>
                </a:ext>
              </a:extLst>
            </p:cNvPr>
            <p:cNvSpPr/>
            <p:nvPr/>
          </p:nvSpPr>
          <p:spPr>
            <a:xfrm flipV="1">
              <a:off x="3483153" y="5019489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25" name="Group 1224">
            <a:extLst>
              <a:ext uri="{FF2B5EF4-FFF2-40B4-BE49-F238E27FC236}">
                <a16:creationId xmlns:a16="http://schemas.microsoft.com/office/drawing/2014/main" id="{ACC8B0F6-FA60-C48C-9719-AF20D56B83E8}"/>
              </a:ext>
            </a:extLst>
          </p:cNvPr>
          <p:cNvGrpSpPr/>
          <p:nvPr/>
        </p:nvGrpSpPr>
        <p:grpSpPr>
          <a:xfrm>
            <a:off x="8030126" y="3203815"/>
            <a:ext cx="112722" cy="95374"/>
            <a:chOff x="5972125" y="3766969"/>
            <a:chExt cx="102659" cy="102659"/>
          </a:xfrm>
        </p:grpSpPr>
        <p:sp>
          <p:nvSpPr>
            <p:cNvPr id="1226" name="Google Shape;975;p33">
              <a:extLst>
                <a:ext uri="{FF2B5EF4-FFF2-40B4-BE49-F238E27FC236}">
                  <a16:creationId xmlns:a16="http://schemas.microsoft.com/office/drawing/2014/main" id="{5AC72AC8-C299-05AC-2BD0-D27879AFD2EC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7" name="Google Shape;976;p33">
              <a:extLst>
                <a:ext uri="{FF2B5EF4-FFF2-40B4-BE49-F238E27FC236}">
                  <a16:creationId xmlns:a16="http://schemas.microsoft.com/office/drawing/2014/main" id="{4A1FCF69-A3E0-AC1C-0C9E-FD5FAFB3C52C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8" name="Freeform: Shape 1227">
            <a:extLst>
              <a:ext uri="{FF2B5EF4-FFF2-40B4-BE49-F238E27FC236}">
                <a16:creationId xmlns:a16="http://schemas.microsoft.com/office/drawing/2014/main" id="{0E4E4999-DE6C-ECD7-A37F-81F1C23F7E6F}"/>
              </a:ext>
            </a:extLst>
          </p:cNvPr>
          <p:cNvSpPr/>
          <p:nvPr/>
        </p:nvSpPr>
        <p:spPr>
          <a:xfrm>
            <a:off x="8326202" y="3381559"/>
            <a:ext cx="1385398" cy="1251247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0 w 1260877"/>
              <a:gd name="connsiteY10" fmla="*/ 436777 h 1346824"/>
              <a:gd name="connsiteX11" fmla="*/ 0 w 1260877"/>
              <a:gd name="connsiteY11" fmla="*/ 242879 h 1346824"/>
              <a:gd name="connsiteX12" fmla="*/ 119887 w 1260877"/>
              <a:gd name="connsiteY12" fmla="*/ 122992 h 1346824"/>
              <a:gd name="connsiteX13" fmla="*/ 905597 w 1260877"/>
              <a:gd name="connsiteY13" fmla="*/ 122992 h 1346824"/>
              <a:gd name="connsiteX14" fmla="*/ 909724 w 1260877"/>
              <a:gd name="connsiteY14" fmla="*/ 109699 h 1346824"/>
              <a:gd name="connsiteX15" fmla="*/ 1075220 w 1260877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702635 h 1346824"/>
              <a:gd name="connsiteX11" fmla="*/ 843 w 1261720"/>
              <a:gd name="connsiteY11" fmla="*/ 436777 h 1346824"/>
              <a:gd name="connsiteX12" fmla="*/ 843 w 1261720"/>
              <a:gd name="connsiteY12" fmla="*/ 242879 h 1346824"/>
              <a:gd name="connsiteX13" fmla="*/ 120730 w 1261720"/>
              <a:gd name="connsiteY13" fmla="*/ 122992 h 1346824"/>
              <a:gd name="connsiteX14" fmla="*/ 906440 w 1261720"/>
              <a:gd name="connsiteY14" fmla="*/ 122992 h 1346824"/>
              <a:gd name="connsiteX15" fmla="*/ 910567 w 1261720"/>
              <a:gd name="connsiteY15" fmla="*/ 109699 h 1346824"/>
              <a:gd name="connsiteX16" fmla="*/ 1076063 w 1261720"/>
              <a:gd name="connsiteY16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436777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242879 h 1346824"/>
              <a:gd name="connsiteX11" fmla="*/ 120730 w 1261720"/>
              <a:gd name="connsiteY11" fmla="*/ 122992 h 1346824"/>
              <a:gd name="connsiteX12" fmla="*/ 906440 w 1261720"/>
              <a:gd name="connsiteY12" fmla="*/ 122992 h 1346824"/>
              <a:gd name="connsiteX13" fmla="*/ 910567 w 1261720"/>
              <a:gd name="connsiteY13" fmla="*/ 109699 h 1346824"/>
              <a:gd name="connsiteX14" fmla="*/ 1076063 w 1261720"/>
              <a:gd name="connsiteY14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1032043 h 1346824"/>
              <a:gd name="connsiteX10" fmla="*/ 0 w 1261720"/>
              <a:gd name="connsiteY10" fmla="*/ 767724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  <a:gd name="connsiteX15" fmla="*/ 91440 w 1261720"/>
              <a:gd name="connsiteY15" fmla="*/ 859164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1720" h="1346824">
                <a:moveTo>
                  <a:pt x="0" y="767724"/>
                </a:moveTo>
                <a:lnTo>
                  <a:pt x="843" y="242879"/>
                </a:lnTo>
                <a:cubicBezTo>
                  <a:pt x="843" y="176667"/>
                  <a:pt x="54518" y="122992"/>
                  <a:pt x="120730" y="122992"/>
                </a:cubicBezTo>
                <a:lnTo>
                  <a:pt x="906440" y="122992"/>
                </a:lnTo>
                <a:lnTo>
                  <a:pt x="910567" y="109699"/>
                </a:lnTo>
                <a:cubicBezTo>
                  <a:pt x="937833" y="45234"/>
                  <a:pt x="1001666" y="0"/>
                  <a:pt x="1076063" y="0"/>
                </a:cubicBezTo>
                <a:lnTo>
                  <a:pt x="1082109" y="0"/>
                </a:lnTo>
                <a:cubicBezTo>
                  <a:pt x="1181305" y="0"/>
                  <a:pt x="1261720" y="80415"/>
                  <a:pt x="1261720" y="179611"/>
                </a:cubicBezTo>
                <a:cubicBezTo>
                  <a:pt x="1261720" y="229209"/>
                  <a:pt x="1241616" y="274112"/>
                  <a:pt x="1209113" y="306615"/>
                </a:cubicBezTo>
                <a:lnTo>
                  <a:pt x="1158279" y="340888"/>
                </a:lnTo>
                <a:lnTo>
                  <a:pt x="1158279" y="1226937"/>
                </a:lnTo>
                <a:cubicBezTo>
                  <a:pt x="1158279" y="1293149"/>
                  <a:pt x="1104604" y="1346824"/>
                  <a:pt x="1038392" y="1346824"/>
                </a:cubicBezTo>
                <a:lnTo>
                  <a:pt x="120730" y="1346824"/>
                </a:lnTo>
                <a:cubicBezTo>
                  <a:pt x="54518" y="1346824"/>
                  <a:pt x="843" y="1293149"/>
                  <a:pt x="843" y="1226937"/>
                </a:cubicBezTo>
                <a:lnTo>
                  <a:pt x="0" y="1032043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29" name="Group 1228">
            <a:extLst>
              <a:ext uri="{FF2B5EF4-FFF2-40B4-BE49-F238E27FC236}">
                <a16:creationId xmlns:a16="http://schemas.microsoft.com/office/drawing/2014/main" id="{D7203DA8-B40A-A91C-8C61-3E21A5942FDB}"/>
              </a:ext>
            </a:extLst>
          </p:cNvPr>
          <p:cNvGrpSpPr/>
          <p:nvPr/>
        </p:nvGrpSpPr>
        <p:grpSpPr>
          <a:xfrm>
            <a:off x="9299133" y="3401058"/>
            <a:ext cx="429700" cy="294732"/>
            <a:chOff x="1727111" y="4119626"/>
            <a:chExt cx="412206" cy="334161"/>
          </a:xfrm>
        </p:grpSpPr>
        <p:sp>
          <p:nvSpPr>
            <p:cNvPr id="1230" name="Rectangle: Rounded Corners 1229">
              <a:extLst>
                <a:ext uri="{FF2B5EF4-FFF2-40B4-BE49-F238E27FC236}">
                  <a16:creationId xmlns:a16="http://schemas.microsoft.com/office/drawing/2014/main" id="{23407A62-D2EA-9AE2-7691-969526F12F2B}"/>
                </a:ext>
              </a:extLst>
            </p:cNvPr>
            <p:cNvSpPr/>
            <p:nvPr/>
          </p:nvSpPr>
          <p:spPr>
            <a:xfrm>
              <a:off x="1772249" y="4122930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F7C000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1" name="Rectangle 1230">
              <a:extLst>
                <a:ext uri="{FF2B5EF4-FFF2-40B4-BE49-F238E27FC236}">
                  <a16:creationId xmlns:a16="http://schemas.microsoft.com/office/drawing/2014/main" id="{A9881865-0AEA-7E63-20D9-EDEF69570D1D}"/>
                </a:ext>
              </a:extLst>
            </p:cNvPr>
            <p:cNvSpPr/>
            <p:nvPr/>
          </p:nvSpPr>
          <p:spPr>
            <a:xfrm flipH="1">
              <a:off x="1727111" y="4119626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7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32" name="Rectangle 1231">
            <a:extLst>
              <a:ext uri="{FF2B5EF4-FFF2-40B4-BE49-F238E27FC236}">
                <a16:creationId xmlns:a16="http://schemas.microsoft.com/office/drawing/2014/main" id="{D7FB5274-7113-F502-E33B-1401CABE233C}"/>
              </a:ext>
            </a:extLst>
          </p:cNvPr>
          <p:cNvSpPr/>
          <p:nvPr/>
        </p:nvSpPr>
        <p:spPr>
          <a:xfrm flipH="1">
            <a:off x="9175011" y="1828860"/>
            <a:ext cx="1188646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mental Project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84A7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33" name="Rectangle 1232">
            <a:extLst>
              <a:ext uri="{FF2B5EF4-FFF2-40B4-BE49-F238E27FC236}">
                <a16:creationId xmlns:a16="http://schemas.microsoft.com/office/drawing/2014/main" id="{B9935810-A54D-2DC1-3B22-14839FFA7B9C}"/>
              </a:ext>
            </a:extLst>
          </p:cNvPr>
          <p:cNvSpPr/>
          <p:nvPr/>
        </p:nvSpPr>
        <p:spPr>
          <a:xfrm flipH="1">
            <a:off x="9256575" y="1317685"/>
            <a:ext cx="1494319" cy="5078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ads / Trans. Line 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tros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Generation​</a:t>
            </a:r>
          </a:p>
        </p:txBody>
      </p:sp>
      <p:sp>
        <p:nvSpPr>
          <p:cNvPr id="1234" name="Rectangle 12">
            <a:extLst>
              <a:ext uri="{FF2B5EF4-FFF2-40B4-BE49-F238E27FC236}">
                <a16:creationId xmlns:a16="http://schemas.microsoft.com/office/drawing/2014/main" id="{A7ED05F1-20CE-5823-52F1-E5118514F11D}"/>
              </a:ext>
            </a:extLst>
          </p:cNvPr>
          <p:cNvSpPr/>
          <p:nvPr/>
        </p:nvSpPr>
        <p:spPr>
          <a:xfrm flipV="1">
            <a:off x="9801058" y="3242480"/>
            <a:ext cx="245360" cy="973926"/>
          </a:xfrm>
          <a:custGeom>
            <a:avLst/>
            <a:gdLst>
              <a:gd name="connsiteX0" fmla="*/ 0 w 774700"/>
              <a:gd name="connsiteY0" fmla="*/ 0 h 1047750"/>
              <a:gd name="connsiteX1" fmla="*/ 774700 w 774700"/>
              <a:gd name="connsiteY1" fmla="*/ 0 h 1047750"/>
              <a:gd name="connsiteX2" fmla="*/ 774700 w 774700"/>
              <a:gd name="connsiteY2" fmla="*/ 1047750 h 1047750"/>
              <a:gd name="connsiteX3" fmla="*/ 0 w 774700"/>
              <a:gd name="connsiteY3" fmla="*/ 1047750 h 1047750"/>
              <a:gd name="connsiteX4" fmla="*/ 0 w 774700"/>
              <a:gd name="connsiteY4" fmla="*/ 0 h 1047750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2951 h 1050701"/>
              <a:gd name="connsiteX3" fmla="*/ 774700 w 774700"/>
              <a:gd name="connsiteY3" fmla="*/ 1050701 h 1050701"/>
              <a:gd name="connsiteX4" fmla="*/ 0 w 774700"/>
              <a:gd name="connsiteY4" fmla="*/ 1050701 h 1050701"/>
              <a:gd name="connsiteX5" fmla="*/ 0 w 774700"/>
              <a:gd name="connsiteY5" fmla="*/ 2951 h 1050701"/>
              <a:gd name="connsiteX0" fmla="*/ 0 w 774700"/>
              <a:gd name="connsiteY0" fmla="*/ 2951 h 1050701"/>
              <a:gd name="connsiteX1" fmla="*/ 223456 w 774700"/>
              <a:gd name="connsiteY1" fmla="*/ 0 h 1050701"/>
              <a:gd name="connsiteX2" fmla="*/ 774700 w 774700"/>
              <a:gd name="connsiteY2" fmla="*/ 1050701 h 1050701"/>
              <a:gd name="connsiteX3" fmla="*/ 0 w 774700"/>
              <a:gd name="connsiteY3" fmla="*/ 1050701 h 1050701"/>
              <a:gd name="connsiteX4" fmla="*/ 0 w 774700"/>
              <a:gd name="connsiteY4" fmla="*/ 2951 h 1050701"/>
              <a:gd name="connsiteX0" fmla="*/ 774700 w 866140"/>
              <a:gd name="connsiteY0" fmla="*/ 1050701 h 1142141"/>
              <a:gd name="connsiteX1" fmla="*/ 0 w 866140"/>
              <a:gd name="connsiteY1" fmla="*/ 1050701 h 1142141"/>
              <a:gd name="connsiteX2" fmla="*/ 0 w 866140"/>
              <a:gd name="connsiteY2" fmla="*/ 2951 h 1142141"/>
              <a:gd name="connsiteX3" fmla="*/ 223456 w 866140"/>
              <a:gd name="connsiteY3" fmla="*/ 0 h 1142141"/>
              <a:gd name="connsiteX4" fmla="*/ 866140 w 866140"/>
              <a:gd name="connsiteY4" fmla="*/ 1142141 h 1142141"/>
              <a:gd name="connsiteX0" fmla="*/ 774700 w 774700"/>
              <a:gd name="connsiteY0" fmla="*/ 1050701 h 1050701"/>
              <a:gd name="connsiteX1" fmla="*/ 0 w 774700"/>
              <a:gd name="connsiteY1" fmla="*/ 1050701 h 1050701"/>
              <a:gd name="connsiteX2" fmla="*/ 0 w 774700"/>
              <a:gd name="connsiteY2" fmla="*/ 2951 h 1050701"/>
              <a:gd name="connsiteX3" fmla="*/ 223456 w 774700"/>
              <a:gd name="connsiteY3" fmla="*/ 0 h 1050701"/>
              <a:gd name="connsiteX0" fmla="*/ 774700 w 774700"/>
              <a:gd name="connsiteY0" fmla="*/ 1048320 h 1048320"/>
              <a:gd name="connsiteX1" fmla="*/ 0 w 774700"/>
              <a:gd name="connsiteY1" fmla="*/ 1048320 h 1048320"/>
              <a:gd name="connsiteX2" fmla="*/ 0 w 774700"/>
              <a:gd name="connsiteY2" fmla="*/ 570 h 1048320"/>
              <a:gd name="connsiteX3" fmla="*/ 223456 w 774700"/>
              <a:gd name="connsiteY3" fmla="*/ 0 h 1048320"/>
              <a:gd name="connsiteX0" fmla="*/ 0 w 223456"/>
              <a:gd name="connsiteY0" fmla="*/ 1048320 h 1048320"/>
              <a:gd name="connsiteX1" fmla="*/ 0 w 223456"/>
              <a:gd name="connsiteY1" fmla="*/ 570 h 1048320"/>
              <a:gd name="connsiteX2" fmla="*/ 223456 w 223456"/>
              <a:gd name="connsiteY2" fmla="*/ 0 h 104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456" h="1048320">
                <a:moveTo>
                  <a:pt x="0" y="1048320"/>
                </a:moveTo>
                <a:lnTo>
                  <a:pt x="0" y="570"/>
                </a:lnTo>
                <a:lnTo>
                  <a:pt x="223456" y="0"/>
                </a:lnTo>
              </a:path>
            </a:pathLst>
          </a:custGeom>
          <a:noFill/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35" name="Group 1234">
            <a:extLst>
              <a:ext uri="{FF2B5EF4-FFF2-40B4-BE49-F238E27FC236}">
                <a16:creationId xmlns:a16="http://schemas.microsoft.com/office/drawing/2014/main" id="{D3B4BE99-CDFB-3DE2-7586-812E7F8282BD}"/>
              </a:ext>
            </a:extLst>
          </p:cNvPr>
          <p:cNvGrpSpPr/>
          <p:nvPr/>
        </p:nvGrpSpPr>
        <p:grpSpPr>
          <a:xfrm>
            <a:off x="9985887" y="4169109"/>
            <a:ext cx="112722" cy="95374"/>
            <a:chOff x="3459979" y="4996312"/>
            <a:chExt cx="102659" cy="102659"/>
          </a:xfrm>
        </p:grpSpPr>
        <p:sp>
          <p:nvSpPr>
            <p:cNvPr id="1236" name="Google Shape;975;p33">
              <a:extLst>
                <a:ext uri="{FF2B5EF4-FFF2-40B4-BE49-F238E27FC236}">
                  <a16:creationId xmlns:a16="http://schemas.microsoft.com/office/drawing/2014/main" id="{56855574-5D6A-5D29-8C8D-3886D832EE3E}"/>
                </a:ext>
              </a:extLst>
            </p:cNvPr>
            <p:cNvSpPr/>
            <p:nvPr/>
          </p:nvSpPr>
          <p:spPr>
            <a:xfrm flipV="1">
              <a:off x="3459979" y="4996312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7" name="Google Shape;976;p33">
              <a:extLst>
                <a:ext uri="{FF2B5EF4-FFF2-40B4-BE49-F238E27FC236}">
                  <a16:creationId xmlns:a16="http://schemas.microsoft.com/office/drawing/2014/main" id="{B3D20BA5-5FCB-0964-5C5D-F70DF96A9D53}"/>
                </a:ext>
              </a:extLst>
            </p:cNvPr>
            <p:cNvSpPr/>
            <p:nvPr/>
          </p:nvSpPr>
          <p:spPr>
            <a:xfrm flipV="1">
              <a:off x="3483153" y="5019489"/>
              <a:ext cx="56308" cy="56308"/>
            </a:xfrm>
            <a:prstGeom prst="ellipse">
              <a:avLst/>
            </a:prstGeom>
            <a:solidFill>
              <a:srgbClr val="FFC000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38" name="Group 1237">
            <a:extLst>
              <a:ext uri="{FF2B5EF4-FFF2-40B4-BE49-F238E27FC236}">
                <a16:creationId xmlns:a16="http://schemas.microsoft.com/office/drawing/2014/main" id="{118240DB-6149-A41A-D942-C423F2AC9039}"/>
              </a:ext>
            </a:extLst>
          </p:cNvPr>
          <p:cNvGrpSpPr/>
          <p:nvPr/>
        </p:nvGrpSpPr>
        <p:grpSpPr>
          <a:xfrm>
            <a:off x="9744696" y="3203815"/>
            <a:ext cx="112722" cy="95374"/>
            <a:chOff x="5972125" y="3766969"/>
            <a:chExt cx="102659" cy="102659"/>
          </a:xfrm>
        </p:grpSpPr>
        <p:sp>
          <p:nvSpPr>
            <p:cNvPr id="1239" name="Google Shape;975;p33">
              <a:extLst>
                <a:ext uri="{FF2B5EF4-FFF2-40B4-BE49-F238E27FC236}">
                  <a16:creationId xmlns:a16="http://schemas.microsoft.com/office/drawing/2014/main" id="{ECD0AD56-375A-F842-C50E-F65C8FAF010E}"/>
                </a:ext>
              </a:extLst>
            </p:cNvPr>
            <p:cNvSpPr/>
            <p:nvPr/>
          </p:nvSpPr>
          <p:spPr>
            <a:xfrm>
              <a:off x="5972125" y="3766969"/>
              <a:ext cx="102659" cy="102659"/>
            </a:xfrm>
            <a:prstGeom prst="ellipse">
              <a:avLst/>
            </a:prstGeom>
            <a:solidFill>
              <a:schemeClr val="bg1"/>
            </a:solidFill>
            <a:ln w="6350" cap="flat" cmpd="sng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23353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0" name="Google Shape;976;p33">
              <a:extLst>
                <a:ext uri="{FF2B5EF4-FFF2-40B4-BE49-F238E27FC236}">
                  <a16:creationId xmlns:a16="http://schemas.microsoft.com/office/drawing/2014/main" id="{74385EAB-0AE5-366E-2AED-1106455C0E30}"/>
                </a:ext>
              </a:extLst>
            </p:cNvPr>
            <p:cNvSpPr/>
            <p:nvPr/>
          </p:nvSpPr>
          <p:spPr>
            <a:xfrm>
              <a:off x="5995300" y="3790144"/>
              <a:ext cx="56308" cy="56308"/>
            </a:xfrm>
            <a:prstGeom prst="ellipse">
              <a:avLst/>
            </a:prstGeom>
            <a:solidFill>
              <a:srgbClr val="084A7F"/>
            </a:solidFill>
            <a:ln w="63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41" name="Freeform: Shape 1240">
            <a:extLst>
              <a:ext uri="{FF2B5EF4-FFF2-40B4-BE49-F238E27FC236}">
                <a16:creationId xmlns:a16="http://schemas.microsoft.com/office/drawing/2014/main" id="{1BE5F356-03EE-563E-3134-62953E58D963}"/>
              </a:ext>
            </a:extLst>
          </p:cNvPr>
          <p:cNvSpPr/>
          <p:nvPr/>
        </p:nvSpPr>
        <p:spPr>
          <a:xfrm>
            <a:off x="10040771" y="3381560"/>
            <a:ext cx="1385398" cy="1251246"/>
          </a:xfrm>
          <a:custGeom>
            <a:avLst/>
            <a:gdLst>
              <a:gd name="connsiteX0" fmla="*/ 1075220 w 1260877"/>
              <a:gd name="connsiteY0" fmla="*/ 0 h 1346824"/>
              <a:gd name="connsiteX1" fmla="*/ 1081266 w 1260877"/>
              <a:gd name="connsiteY1" fmla="*/ 0 h 1346824"/>
              <a:gd name="connsiteX2" fmla="*/ 1260877 w 1260877"/>
              <a:gd name="connsiteY2" fmla="*/ 179611 h 1346824"/>
              <a:gd name="connsiteX3" fmla="*/ 1208270 w 1260877"/>
              <a:gd name="connsiteY3" fmla="*/ 306615 h 1346824"/>
              <a:gd name="connsiteX4" fmla="*/ 1157436 w 1260877"/>
              <a:gd name="connsiteY4" fmla="*/ 340888 h 1346824"/>
              <a:gd name="connsiteX5" fmla="*/ 1157436 w 1260877"/>
              <a:gd name="connsiteY5" fmla="*/ 1226937 h 1346824"/>
              <a:gd name="connsiteX6" fmla="*/ 1037549 w 1260877"/>
              <a:gd name="connsiteY6" fmla="*/ 1346824 h 1346824"/>
              <a:gd name="connsiteX7" fmla="*/ 119887 w 1260877"/>
              <a:gd name="connsiteY7" fmla="*/ 1346824 h 1346824"/>
              <a:gd name="connsiteX8" fmla="*/ 0 w 1260877"/>
              <a:gd name="connsiteY8" fmla="*/ 1226937 h 1346824"/>
              <a:gd name="connsiteX9" fmla="*/ 0 w 1260877"/>
              <a:gd name="connsiteY9" fmla="*/ 702635 h 1346824"/>
              <a:gd name="connsiteX10" fmla="*/ 0 w 1260877"/>
              <a:gd name="connsiteY10" fmla="*/ 436777 h 1346824"/>
              <a:gd name="connsiteX11" fmla="*/ 0 w 1260877"/>
              <a:gd name="connsiteY11" fmla="*/ 242879 h 1346824"/>
              <a:gd name="connsiteX12" fmla="*/ 119887 w 1260877"/>
              <a:gd name="connsiteY12" fmla="*/ 122992 h 1346824"/>
              <a:gd name="connsiteX13" fmla="*/ 905597 w 1260877"/>
              <a:gd name="connsiteY13" fmla="*/ 122992 h 1346824"/>
              <a:gd name="connsiteX14" fmla="*/ 909724 w 1260877"/>
              <a:gd name="connsiteY14" fmla="*/ 109699 h 1346824"/>
              <a:gd name="connsiteX15" fmla="*/ 1075220 w 1260877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702635 h 1346824"/>
              <a:gd name="connsiteX11" fmla="*/ 843 w 1261720"/>
              <a:gd name="connsiteY11" fmla="*/ 436777 h 1346824"/>
              <a:gd name="connsiteX12" fmla="*/ 843 w 1261720"/>
              <a:gd name="connsiteY12" fmla="*/ 242879 h 1346824"/>
              <a:gd name="connsiteX13" fmla="*/ 120730 w 1261720"/>
              <a:gd name="connsiteY13" fmla="*/ 122992 h 1346824"/>
              <a:gd name="connsiteX14" fmla="*/ 906440 w 1261720"/>
              <a:gd name="connsiteY14" fmla="*/ 122992 h 1346824"/>
              <a:gd name="connsiteX15" fmla="*/ 910567 w 1261720"/>
              <a:gd name="connsiteY15" fmla="*/ 109699 h 1346824"/>
              <a:gd name="connsiteX16" fmla="*/ 1076063 w 1261720"/>
              <a:gd name="connsiteY16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436777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767724 h 1346824"/>
              <a:gd name="connsiteX10" fmla="*/ 843 w 1261720"/>
              <a:gd name="connsiteY10" fmla="*/ 242879 h 1346824"/>
              <a:gd name="connsiteX11" fmla="*/ 120730 w 1261720"/>
              <a:gd name="connsiteY11" fmla="*/ 122992 h 1346824"/>
              <a:gd name="connsiteX12" fmla="*/ 906440 w 1261720"/>
              <a:gd name="connsiteY12" fmla="*/ 122992 h 1346824"/>
              <a:gd name="connsiteX13" fmla="*/ 910567 w 1261720"/>
              <a:gd name="connsiteY13" fmla="*/ 109699 h 1346824"/>
              <a:gd name="connsiteX14" fmla="*/ 1076063 w 1261720"/>
              <a:gd name="connsiteY14" fmla="*/ 0 h 1346824"/>
              <a:gd name="connsiteX0" fmla="*/ 1076063 w 1261720"/>
              <a:gd name="connsiteY0" fmla="*/ 0 h 1346824"/>
              <a:gd name="connsiteX1" fmla="*/ 1082109 w 1261720"/>
              <a:gd name="connsiteY1" fmla="*/ 0 h 1346824"/>
              <a:gd name="connsiteX2" fmla="*/ 1261720 w 1261720"/>
              <a:gd name="connsiteY2" fmla="*/ 179611 h 1346824"/>
              <a:gd name="connsiteX3" fmla="*/ 1209113 w 1261720"/>
              <a:gd name="connsiteY3" fmla="*/ 306615 h 1346824"/>
              <a:gd name="connsiteX4" fmla="*/ 1158279 w 1261720"/>
              <a:gd name="connsiteY4" fmla="*/ 340888 h 1346824"/>
              <a:gd name="connsiteX5" fmla="*/ 1158279 w 1261720"/>
              <a:gd name="connsiteY5" fmla="*/ 1226937 h 1346824"/>
              <a:gd name="connsiteX6" fmla="*/ 1038392 w 1261720"/>
              <a:gd name="connsiteY6" fmla="*/ 1346824 h 1346824"/>
              <a:gd name="connsiteX7" fmla="*/ 120730 w 1261720"/>
              <a:gd name="connsiteY7" fmla="*/ 1346824 h 1346824"/>
              <a:gd name="connsiteX8" fmla="*/ 843 w 1261720"/>
              <a:gd name="connsiteY8" fmla="*/ 1226937 h 1346824"/>
              <a:gd name="connsiteX9" fmla="*/ 0 w 1261720"/>
              <a:gd name="connsiteY9" fmla="*/ 1032043 h 1346824"/>
              <a:gd name="connsiteX10" fmla="*/ 0 w 1261720"/>
              <a:gd name="connsiteY10" fmla="*/ 767724 h 1346824"/>
              <a:gd name="connsiteX11" fmla="*/ 843 w 1261720"/>
              <a:gd name="connsiteY11" fmla="*/ 242879 h 1346824"/>
              <a:gd name="connsiteX12" fmla="*/ 120730 w 1261720"/>
              <a:gd name="connsiteY12" fmla="*/ 122992 h 1346824"/>
              <a:gd name="connsiteX13" fmla="*/ 906440 w 1261720"/>
              <a:gd name="connsiteY13" fmla="*/ 122992 h 1346824"/>
              <a:gd name="connsiteX14" fmla="*/ 910567 w 1261720"/>
              <a:gd name="connsiteY14" fmla="*/ 109699 h 1346824"/>
              <a:gd name="connsiteX15" fmla="*/ 1076063 w 1261720"/>
              <a:gd name="connsiteY15" fmla="*/ 0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  <a:gd name="connsiteX15" fmla="*/ 91440 w 1261720"/>
              <a:gd name="connsiteY15" fmla="*/ 859164 h 1346824"/>
              <a:gd name="connsiteX0" fmla="*/ 0 w 1261720"/>
              <a:gd name="connsiteY0" fmla="*/ 767724 h 1346824"/>
              <a:gd name="connsiteX1" fmla="*/ 843 w 1261720"/>
              <a:gd name="connsiteY1" fmla="*/ 242879 h 1346824"/>
              <a:gd name="connsiteX2" fmla="*/ 120730 w 1261720"/>
              <a:gd name="connsiteY2" fmla="*/ 122992 h 1346824"/>
              <a:gd name="connsiteX3" fmla="*/ 906440 w 1261720"/>
              <a:gd name="connsiteY3" fmla="*/ 122992 h 1346824"/>
              <a:gd name="connsiteX4" fmla="*/ 910567 w 1261720"/>
              <a:gd name="connsiteY4" fmla="*/ 109699 h 1346824"/>
              <a:gd name="connsiteX5" fmla="*/ 1076063 w 1261720"/>
              <a:gd name="connsiteY5" fmla="*/ 0 h 1346824"/>
              <a:gd name="connsiteX6" fmla="*/ 1082109 w 1261720"/>
              <a:gd name="connsiteY6" fmla="*/ 0 h 1346824"/>
              <a:gd name="connsiteX7" fmla="*/ 1261720 w 1261720"/>
              <a:gd name="connsiteY7" fmla="*/ 179611 h 1346824"/>
              <a:gd name="connsiteX8" fmla="*/ 1209113 w 1261720"/>
              <a:gd name="connsiteY8" fmla="*/ 306615 h 1346824"/>
              <a:gd name="connsiteX9" fmla="*/ 1158279 w 1261720"/>
              <a:gd name="connsiteY9" fmla="*/ 340888 h 1346824"/>
              <a:gd name="connsiteX10" fmla="*/ 1158279 w 1261720"/>
              <a:gd name="connsiteY10" fmla="*/ 1226937 h 1346824"/>
              <a:gd name="connsiteX11" fmla="*/ 1038392 w 1261720"/>
              <a:gd name="connsiteY11" fmla="*/ 1346824 h 1346824"/>
              <a:gd name="connsiteX12" fmla="*/ 120730 w 1261720"/>
              <a:gd name="connsiteY12" fmla="*/ 1346824 h 1346824"/>
              <a:gd name="connsiteX13" fmla="*/ 843 w 1261720"/>
              <a:gd name="connsiteY13" fmla="*/ 1226937 h 1346824"/>
              <a:gd name="connsiteX14" fmla="*/ 0 w 1261720"/>
              <a:gd name="connsiteY14" fmla="*/ 1032043 h 134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61720" h="1346824">
                <a:moveTo>
                  <a:pt x="0" y="767724"/>
                </a:moveTo>
                <a:lnTo>
                  <a:pt x="843" y="242879"/>
                </a:lnTo>
                <a:cubicBezTo>
                  <a:pt x="843" y="176667"/>
                  <a:pt x="54518" y="122992"/>
                  <a:pt x="120730" y="122992"/>
                </a:cubicBezTo>
                <a:lnTo>
                  <a:pt x="906440" y="122992"/>
                </a:lnTo>
                <a:lnTo>
                  <a:pt x="910567" y="109699"/>
                </a:lnTo>
                <a:cubicBezTo>
                  <a:pt x="937833" y="45234"/>
                  <a:pt x="1001666" y="0"/>
                  <a:pt x="1076063" y="0"/>
                </a:cubicBezTo>
                <a:lnTo>
                  <a:pt x="1082109" y="0"/>
                </a:lnTo>
                <a:cubicBezTo>
                  <a:pt x="1181305" y="0"/>
                  <a:pt x="1261720" y="80415"/>
                  <a:pt x="1261720" y="179611"/>
                </a:cubicBezTo>
                <a:cubicBezTo>
                  <a:pt x="1261720" y="229209"/>
                  <a:pt x="1241616" y="274112"/>
                  <a:pt x="1209113" y="306615"/>
                </a:cubicBezTo>
                <a:lnTo>
                  <a:pt x="1158279" y="340888"/>
                </a:lnTo>
                <a:lnTo>
                  <a:pt x="1158279" y="1226937"/>
                </a:lnTo>
                <a:cubicBezTo>
                  <a:pt x="1158279" y="1293149"/>
                  <a:pt x="1104604" y="1346824"/>
                  <a:pt x="1038392" y="1346824"/>
                </a:cubicBezTo>
                <a:lnTo>
                  <a:pt x="120730" y="1346824"/>
                </a:lnTo>
                <a:cubicBezTo>
                  <a:pt x="54518" y="1346824"/>
                  <a:pt x="843" y="1293149"/>
                  <a:pt x="843" y="1226937"/>
                </a:cubicBezTo>
                <a:lnTo>
                  <a:pt x="0" y="1032043"/>
                </a:lnTo>
              </a:path>
            </a:pathLst>
          </a:custGeom>
          <a:noFill/>
          <a:ln w="6350" cap="rnd" cmpd="sng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42" name="Group 1241">
            <a:extLst>
              <a:ext uri="{FF2B5EF4-FFF2-40B4-BE49-F238E27FC236}">
                <a16:creationId xmlns:a16="http://schemas.microsoft.com/office/drawing/2014/main" id="{9F453491-9CC0-3BC9-3C70-0E74A4564B08}"/>
              </a:ext>
            </a:extLst>
          </p:cNvPr>
          <p:cNvGrpSpPr/>
          <p:nvPr/>
        </p:nvGrpSpPr>
        <p:grpSpPr>
          <a:xfrm>
            <a:off x="11013702" y="3401059"/>
            <a:ext cx="429700" cy="294732"/>
            <a:chOff x="1727111" y="4119626"/>
            <a:chExt cx="412206" cy="334161"/>
          </a:xfrm>
        </p:grpSpPr>
        <p:sp>
          <p:nvSpPr>
            <p:cNvPr id="1243" name="Rectangle: Rounded Corners 1242">
              <a:extLst>
                <a:ext uri="{FF2B5EF4-FFF2-40B4-BE49-F238E27FC236}">
                  <a16:creationId xmlns:a16="http://schemas.microsoft.com/office/drawing/2014/main" id="{7F3D04C7-F99C-06C8-0812-A055ACEA4B0E}"/>
                </a:ext>
              </a:extLst>
            </p:cNvPr>
            <p:cNvSpPr/>
            <p:nvPr/>
          </p:nvSpPr>
          <p:spPr>
            <a:xfrm>
              <a:off x="1772527" y="4128679"/>
              <a:ext cx="321375" cy="316055"/>
            </a:xfrm>
            <a:prstGeom prst="roundRect">
              <a:avLst>
                <a:gd name="adj" fmla="val 50000"/>
              </a:avLst>
            </a:prstGeom>
            <a:solidFill>
              <a:srgbClr val="084A7F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4" name="Rectangle 1243">
              <a:extLst>
                <a:ext uri="{FF2B5EF4-FFF2-40B4-BE49-F238E27FC236}">
                  <a16:creationId xmlns:a16="http://schemas.microsoft.com/office/drawing/2014/main" id="{FA4625CF-E125-DCAF-5951-F314D1B697E1}"/>
                </a:ext>
              </a:extLst>
            </p:cNvPr>
            <p:cNvSpPr/>
            <p:nvPr/>
          </p:nvSpPr>
          <p:spPr>
            <a:xfrm flipH="1">
              <a:off x="1727111" y="4119626"/>
              <a:ext cx="412206" cy="33416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9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45" name="Rectangle 1244">
            <a:extLst>
              <a:ext uri="{FF2B5EF4-FFF2-40B4-BE49-F238E27FC236}">
                <a16:creationId xmlns:a16="http://schemas.microsoft.com/office/drawing/2014/main" id="{82568A7C-6B3C-0545-5BC2-5EF5AC8ECBC5}"/>
              </a:ext>
            </a:extLst>
          </p:cNvPr>
          <p:cNvSpPr/>
          <p:nvPr/>
        </p:nvSpPr>
        <p:spPr>
          <a:xfrm flipH="1">
            <a:off x="10331961" y="3580541"/>
            <a:ext cx="735187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highlight>
                  <a:srgbClr val="F5F5F5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her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84A7F"/>
                </a:solidFill>
                <a:effectLst/>
                <a:highlight>
                  <a:srgbClr val="F5F5F5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84A7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46" name="Rectangle 1245">
            <a:extLst>
              <a:ext uri="{FF2B5EF4-FFF2-40B4-BE49-F238E27FC236}">
                <a16:creationId xmlns:a16="http://schemas.microsoft.com/office/drawing/2014/main" id="{F0FF2669-54B7-B8C5-0F9B-57644EE86A8B}"/>
              </a:ext>
            </a:extLst>
          </p:cNvPr>
          <p:cNvSpPr/>
          <p:nvPr/>
        </p:nvSpPr>
        <p:spPr>
          <a:xfrm flipH="1">
            <a:off x="6547500" y="4622115"/>
            <a:ext cx="1836539" cy="5078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alty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 Products &amp; Machinery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mart World &amp; Comm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</a:t>
            </a:r>
          </a:p>
        </p:txBody>
      </p:sp>
      <p:sp>
        <p:nvSpPr>
          <p:cNvPr id="1256" name="TextBox 1255">
            <a:extLst>
              <a:ext uri="{FF2B5EF4-FFF2-40B4-BE49-F238E27FC236}">
                <a16:creationId xmlns:a16="http://schemas.microsoft.com/office/drawing/2014/main" id="{5DD7CBC4-CC98-2E60-26E3-B4754DFB9DDA}"/>
              </a:ext>
            </a:extLst>
          </p:cNvPr>
          <p:cNvSpPr txBox="1"/>
          <p:nvPr/>
        </p:nvSpPr>
        <p:spPr>
          <a:xfrm>
            <a:off x="7520822" y="3394107"/>
            <a:ext cx="538924" cy="2947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pic>
        <p:nvPicPr>
          <p:cNvPr id="1260" name="Picture 1259">
            <a:extLst>
              <a:ext uri="{FF2B5EF4-FFF2-40B4-BE49-F238E27FC236}">
                <a16:creationId xmlns:a16="http://schemas.microsoft.com/office/drawing/2014/main" id="{C03FECD7-9850-1170-4E1A-82498274F78C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t="9669" b="4567"/>
          <a:stretch/>
        </p:blipFill>
        <p:spPr>
          <a:xfrm>
            <a:off x="6685472" y="3877071"/>
            <a:ext cx="1152000" cy="703779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62" name="Picture 1261">
            <a:extLst>
              <a:ext uri="{FF2B5EF4-FFF2-40B4-BE49-F238E27FC236}">
                <a16:creationId xmlns:a16="http://schemas.microsoft.com/office/drawing/2014/main" id="{E798F166-034A-C79F-564B-4827BB68604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63115" y="3899817"/>
            <a:ext cx="1152000" cy="658286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63" name="Picture 8" descr="L&amp;T Hydrocarbon wins EPC &amp; Installation project for new offshore structures">
            <a:extLst>
              <a:ext uri="{FF2B5EF4-FFF2-40B4-BE49-F238E27FC236}">
                <a16:creationId xmlns:a16="http://schemas.microsoft.com/office/drawing/2014/main" id="{5314B0FC-4721-E4AD-8244-1A01272A9D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69430" y="3888129"/>
            <a:ext cx="1152000" cy="68166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7" name="Picture 1266">
            <a:extLst>
              <a:ext uri="{FF2B5EF4-FFF2-40B4-BE49-F238E27FC236}">
                <a16:creationId xmlns:a16="http://schemas.microsoft.com/office/drawing/2014/main" id="{D031B8FF-006C-CFA0-10D8-403B682590B2}"/>
              </a:ext>
            </a:extLst>
          </p:cNvPr>
          <p:cNvPicPr>
            <a:picLocks noChangeAspect="1"/>
          </p:cNvPicPr>
          <p:nvPr/>
        </p:nvPicPr>
        <p:blipFill>
          <a:blip r:embed="rId25"/>
          <a:srcRect l="25451" t="135" r="55" b="-445"/>
          <a:stretch/>
        </p:blipFill>
        <p:spPr>
          <a:xfrm>
            <a:off x="8413051" y="3881827"/>
            <a:ext cx="1152000" cy="694267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69" name="Picture 14" descr="Baiju Thakur - Erection - L&amp;T Construction | LinkedIn">
            <a:extLst>
              <a:ext uri="{FF2B5EF4-FFF2-40B4-BE49-F238E27FC236}">
                <a16:creationId xmlns:a16="http://schemas.microsoft.com/office/drawing/2014/main" id="{FD97D031-D0A0-47A8-80AD-418C476233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20398" y="3890451"/>
            <a:ext cx="1152000" cy="677018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0" name="Picture 16" descr="Heavy Civil Infrastructure | Construction | EPC Projects | L&amp;T Annual  Review 2024">
            <a:extLst>
              <a:ext uri="{FF2B5EF4-FFF2-40B4-BE49-F238E27FC236}">
                <a16:creationId xmlns:a16="http://schemas.microsoft.com/office/drawing/2014/main" id="{EFF04392-2FF1-6F80-4AF6-1C40D0BF1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11536" y="2236577"/>
            <a:ext cx="1152000" cy="702462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1" name="Picture 18" descr="Article - L&amp;T's Arsenal">
            <a:extLst>
              <a:ext uri="{FF2B5EF4-FFF2-40B4-BE49-F238E27FC236}">
                <a16:creationId xmlns:a16="http://schemas.microsoft.com/office/drawing/2014/main" id="{156CEDD0-0B2F-A63A-22B8-80BA529908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18902" y="2243461"/>
            <a:ext cx="1152000" cy="688694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2" name="Picture 20" descr="2 Midcap Stocks To Buy According To Motilal Oswal For Up To 30% Gains -  Goodreturns">
            <a:extLst>
              <a:ext uri="{FF2B5EF4-FFF2-40B4-BE49-F238E27FC236}">
                <a16:creationId xmlns:a16="http://schemas.microsoft.com/office/drawing/2014/main" id="{65975441-D204-43B7-88FE-D45EA236B2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43414" y="2251677"/>
            <a:ext cx="1152000" cy="67226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3" name="Picture 22" descr="L&amp;T is the lowest bidder for the Hyderabad Airport Metro project">
            <a:extLst>
              <a:ext uri="{FF2B5EF4-FFF2-40B4-BE49-F238E27FC236}">
                <a16:creationId xmlns:a16="http://schemas.microsoft.com/office/drawing/2014/main" id="{E0DFB0A9-AF61-CDAF-F08D-B57BE574D8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65601" y="2250663"/>
            <a:ext cx="1152000" cy="674291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2723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98510-6859-BE0D-4B43-F18992B02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CAF74889-BBC2-0F7E-F18E-DFD163F50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/>
              <a:t>LTIMindtree – 5th Largest India-based Global Tech Consulting &amp; Digital Solutions Firm</a:t>
            </a:r>
            <a:endParaRPr lang="en-IN" sz="2400" b="1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6CDC864-6016-1586-D6D7-0F1B3B8F03FE}"/>
              </a:ext>
            </a:extLst>
          </p:cNvPr>
          <p:cNvSpPr/>
          <p:nvPr/>
        </p:nvSpPr>
        <p:spPr>
          <a:xfrm>
            <a:off x="0" y="626739"/>
            <a:ext cx="12192000" cy="738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BCAE5689-5E75-B342-2720-7D7CBA9C6043}"/>
              </a:ext>
            </a:extLst>
          </p:cNvPr>
          <p:cNvGrpSpPr/>
          <p:nvPr/>
        </p:nvGrpSpPr>
        <p:grpSpPr>
          <a:xfrm>
            <a:off x="1708741" y="669018"/>
            <a:ext cx="1758864" cy="722961"/>
            <a:chOff x="3164302" y="763791"/>
            <a:chExt cx="1758864" cy="722961"/>
          </a:xfrm>
        </p:grpSpPr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AA0BCCC9-FDEB-6BC4-09BE-86ED7C056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4302" y="968844"/>
              <a:ext cx="338227" cy="338227"/>
            </a:xfrm>
            <a:prstGeom prst="rect">
              <a:avLst/>
            </a:prstGeom>
          </p:spPr>
        </p:pic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C250946D-C949-7F3B-5E5F-A58BAC37A592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3558506" y="763791"/>
              <a:ext cx="950872" cy="27788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  <a:r>
                <a:rPr kumimoji="0" lang="en-IN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000+ </a:t>
              </a: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9B0EEF6-0FC1-C0BA-5658-A0DD4913D5E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3558506" y="968844"/>
              <a:ext cx="950872" cy="26506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s</a:t>
              </a: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6AD622D-18C6-C17C-E52F-556B7E935AC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3558505" y="1152374"/>
              <a:ext cx="1364661" cy="33437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ur tribe of avid problem solver</a:t>
              </a:r>
            </a:p>
          </p:txBody>
        </p:sp>
      </p:grp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D9397952-7306-5317-1EB9-C5FC061E4C0C}"/>
              </a:ext>
            </a:extLst>
          </p:cNvPr>
          <p:cNvCxnSpPr>
            <a:cxnSpLocks/>
          </p:cNvCxnSpPr>
          <p:nvPr/>
        </p:nvCxnSpPr>
        <p:spPr>
          <a:xfrm>
            <a:off x="3559505" y="743998"/>
            <a:ext cx="0" cy="573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5704F848-451D-D590-EFBB-F6412266BE6D}"/>
              </a:ext>
            </a:extLst>
          </p:cNvPr>
          <p:cNvGrpSpPr/>
          <p:nvPr/>
        </p:nvGrpSpPr>
        <p:grpSpPr>
          <a:xfrm>
            <a:off x="-2" y="626739"/>
            <a:ext cx="1642895" cy="738930"/>
            <a:chOff x="-2" y="704328"/>
            <a:chExt cx="1642895" cy="738930"/>
          </a:xfrm>
        </p:grpSpPr>
        <p:sp>
          <p:nvSpPr>
            <p:cNvPr id="183" name="Rectangle: Rounded Corners 189">
              <a:extLst>
                <a:ext uri="{FF2B5EF4-FFF2-40B4-BE49-F238E27FC236}">
                  <a16:creationId xmlns:a16="http://schemas.microsoft.com/office/drawing/2014/main" id="{E7CCD6BE-B42A-F47C-296D-4A8BB1DF53B6}"/>
                </a:ext>
              </a:extLst>
            </p:cNvPr>
            <p:cNvSpPr/>
            <p:nvPr/>
          </p:nvSpPr>
          <p:spPr>
            <a:xfrm rot="16200000" flipH="1" flipV="1">
              <a:off x="384912" y="319414"/>
              <a:ext cx="738930" cy="1508757"/>
            </a:xfrm>
            <a:prstGeom prst="round2SameRect">
              <a:avLst>
                <a:gd name="adj1" fmla="val 4736"/>
                <a:gd name="adj2" fmla="val 0"/>
              </a:avLst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C8628307-DE2C-EFEB-FAD4-6C8C805EB4EA}"/>
                </a:ext>
              </a:extLst>
            </p:cNvPr>
            <p:cNvSpPr txBox="1"/>
            <p:nvPr/>
          </p:nvSpPr>
          <p:spPr>
            <a:xfrm>
              <a:off x="310125" y="904516"/>
              <a:ext cx="111500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ighlights</a:t>
              </a:r>
            </a:p>
          </p:txBody>
        </p:sp>
        <p:sp>
          <p:nvSpPr>
            <p:cNvPr id="185" name="Isosceles Triangle 184">
              <a:extLst>
                <a:ext uri="{FF2B5EF4-FFF2-40B4-BE49-F238E27FC236}">
                  <a16:creationId xmlns:a16="http://schemas.microsoft.com/office/drawing/2014/main" id="{D56ACB05-07E3-D53A-5B06-8FB9778C21D3}"/>
                </a:ext>
              </a:extLst>
            </p:cNvPr>
            <p:cNvSpPr/>
            <p:nvPr/>
          </p:nvSpPr>
          <p:spPr>
            <a:xfrm rot="5400000">
              <a:off x="1300423" y="957436"/>
              <a:ext cx="452226" cy="232714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30AAD825-F052-E5AA-1355-AF025784BD4B}"/>
              </a:ext>
            </a:extLst>
          </p:cNvPr>
          <p:cNvGrpSpPr/>
          <p:nvPr/>
        </p:nvGrpSpPr>
        <p:grpSpPr>
          <a:xfrm>
            <a:off x="3651405" y="716466"/>
            <a:ext cx="1519202" cy="628064"/>
            <a:chOff x="3164302" y="763791"/>
            <a:chExt cx="1519202" cy="628064"/>
          </a:xfrm>
        </p:grpSpPr>
        <p:pic>
          <p:nvPicPr>
            <p:cNvPr id="208" name="Picture 207">
              <a:extLst>
                <a:ext uri="{FF2B5EF4-FFF2-40B4-BE49-F238E27FC236}">
                  <a16:creationId xmlns:a16="http://schemas.microsoft.com/office/drawing/2014/main" id="{B38EF2EE-87C7-63A9-24E5-8B795F02C9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4302" y="968844"/>
              <a:ext cx="338227" cy="338227"/>
            </a:xfrm>
            <a:prstGeom prst="rect">
              <a:avLst/>
            </a:prstGeom>
          </p:spPr>
        </p:pic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4B02E033-1520-5E63-6BF3-D6D1DD0E03CF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3558506" y="763791"/>
              <a:ext cx="950872" cy="27788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$ 4.4+ </a:t>
              </a: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C3618C1F-50A9-D92E-08D4-91EF93F1D1E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3558506" y="968844"/>
              <a:ext cx="950872" cy="26506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llion</a:t>
              </a: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43DCB0F5-8F79-957D-AA8A-0608D395C7B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3558505" y="1185717"/>
              <a:ext cx="1124999" cy="20613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nual Revenue</a:t>
              </a: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2763264D-06F1-BE3E-37DF-D737868C0246}"/>
              </a:ext>
            </a:extLst>
          </p:cNvPr>
          <p:cNvGrpSpPr/>
          <p:nvPr/>
        </p:nvGrpSpPr>
        <p:grpSpPr>
          <a:xfrm>
            <a:off x="5354407" y="716466"/>
            <a:ext cx="1519202" cy="628064"/>
            <a:chOff x="3164302" y="763791"/>
            <a:chExt cx="1519202" cy="628064"/>
          </a:xfrm>
        </p:grpSpPr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83C6B9A0-8005-4C75-43BC-DD62104B6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4302" y="968844"/>
              <a:ext cx="338227" cy="338227"/>
            </a:xfrm>
            <a:prstGeom prst="rect">
              <a:avLst/>
            </a:prstGeom>
          </p:spPr>
        </p:pic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85041558-9958-8C0C-37E5-75E4CBB847B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3558506" y="763791"/>
              <a:ext cx="950872" cy="27788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50+ </a:t>
              </a: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9C1635CD-FCE6-FA91-8885-44707E426BEB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3558506" y="968844"/>
              <a:ext cx="950872" cy="26506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ogos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31992C9B-9473-331D-4515-D1F1EF397500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3558505" y="1185717"/>
              <a:ext cx="1124999" cy="20613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tune 500</a:t>
              </a: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058B3937-E803-8CD8-CFCD-1D7556409E31}"/>
              </a:ext>
            </a:extLst>
          </p:cNvPr>
          <p:cNvGrpSpPr/>
          <p:nvPr/>
        </p:nvGrpSpPr>
        <p:grpSpPr>
          <a:xfrm>
            <a:off x="7057409" y="716466"/>
            <a:ext cx="1519202" cy="628064"/>
            <a:chOff x="3164302" y="763791"/>
            <a:chExt cx="1519202" cy="628064"/>
          </a:xfrm>
        </p:grpSpPr>
        <p:pic>
          <p:nvPicPr>
            <p:cNvPr id="218" name="Picture 217">
              <a:extLst>
                <a:ext uri="{FF2B5EF4-FFF2-40B4-BE49-F238E27FC236}">
                  <a16:creationId xmlns:a16="http://schemas.microsoft.com/office/drawing/2014/main" id="{2D2B0769-341D-DBFB-96F5-FAB7C1D67C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4302" y="968844"/>
              <a:ext cx="338227" cy="338227"/>
            </a:xfrm>
            <a:prstGeom prst="rect">
              <a:avLst/>
            </a:prstGeom>
          </p:spPr>
        </p:pic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BE182E43-DBE0-010A-DC6A-85AEF060844B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3558506" y="763791"/>
              <a:ext cx="950872" cy="27788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00+ 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58F401CE-594C-C48B-2AFC-939B4AACCA5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3558506" y="968844"/>
              <a:ext cx="950872" cy="26506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tive 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439D0936-09C3-9CA2-AB1F-AA48B334BCF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3558505" y="1185717"/>
              <a:ext cx="1124999" cy="20613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ient Base</a:t>
              </a:r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26CC4872-6C3E-D123-DBA0-DC10BDF6546E}"/>
              </a:ext>
            </a:extLst>
          </p:cNvPr>
          <p:cNvGrpSpPr/>
          <p:nvPr/>
        </p:nvGrpSpPr>
        <p:grpSpPr>
          <a:xfrm>
            <a:off x="10463418" y="716466"/>
            <a:ext cx="1519202" cy="628064"/>
            <a:chOff x="3164302" y="763791"/>
            <a:chExt cx="1519202" cy="628064"/>
          </a:xfrm>
        </p:grpSpPr>
        <p:pic>
          <p:nvPicPr>
            <p:cNvPr id="223" name="Picture 222">
              <a:extLst>
                <a:ext uri="{FF2B5EF4-FFF2-40B4-BE49-F238E27FC236}">
                  <a16:creationId xmlns:a16="http://schemas.microsoft.com/office/drawing/2014/main" id="{8AA911D0-245D-3195-A59C-A41871FF3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4302" y="968844"/>
              <a:ext cx="338227" cy="338227"/>
            </a:xfrm>
            <a:prstGeom prst="rect">
              <a:avLst/>
            </a:prstGeom>
          </p:spPr>
        </p:pic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019C2313-28FC-E6D8-FD8A-924EA86862E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3558506" y="763791"/>
              <a:ext cx="950872" cy="27788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0+ 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89A84F27-7096-1DFE-A45F-6CCBC74DB32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558506" y="968844"/>
              <a:ext cx="950872" cy="26506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untries</a:t>
              </a:r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87C11853-541E-0681-809F-75D63F1A2388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558505" y="1185717"/>
              <a:ext cx="1124999" cy="206138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al Presence</a:t>
              </a:r>
            </a:p>
          </p:txBody>
        </p:sp>
      </p:grp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5A10A968-C5D1-AFD4-A176-03D748B5E83A}"/>
              </a:ext>
            </a:extLst>
          </p:cNvPr>
          <p:cNvCxnSpPr>
            <a:cxnSpLocks/>
          </p:cNvCxnSpPr>
          <p:nvPr/>
        </p:nvCxnSpPr>
        <p:spPr>
          <a:xfrm>
            <a:off x="5262507" y="743998"/>
            <a:ext cx="0" cy="573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8E0A7806-9394-6CFE-5119-4FBFFFCC1D55}"/>
              </a:ext>
            </a:extLst>
          </p:cNvPr>
          <p:cNvCxnSpPr>
            <a:cxnSpLocks/>
          </p:cNvCxnSpPr>
          <p:nvPr/>
        </p:nvCxnSpPr>
        <p:spPr>
          <a:xfrm>
            <a:off x="6965509" y="743998"/>
            <a:ext cx="0" cy="573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72F925D8-BA9D-34CA-B682-BF6946DDC3F9}"/>
              </a:ext>
            </a:extLst>
          </p:cNvPr>
          <p:cNvCxnSpPr>
            <a:cxnSpLocks/>
          </p:cNvCxnSpPr>
          <p:nvPr/>
        </p:nvCxnSpPr>
        <p:spPr>
          <a:xfrm>
            <a:off x="10371516" y="743998"/>
            <a:ext cx="0" cy="573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E4894827-4D00-94A8-5FDF-41D5A9548EEB}"/>
              </a:ext>
            </a:extLst>
          </p:cNvPr>
          <p:cNvSpPr/>
          <p:nvPr/>
        </p:nvSpPr>
        <p:spPr>
          <a:xfrm rot="10800000" flipH="1" flipV="1">
            <a:off x="0" y="1472643"/>
            <a:ext cx="12211603" cy="376425"/>
          </a:xfrm>
          <a:prstGeom prst="roundRect">
            <a:avLst>
              <a:gd name="adj" fmla="val 0"/>
            </a:avLst>
          </a:prstGeom>
          <a:solidFill>
            <a:srgbClr val="8486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ried service offerings across the key Business Verticals</a:t>
            </a:r>
          </a:p>
        </p:txBody>
      </p:sp>
      <p:sp>
        <p:nvSpPr>
          <p:cNvPr id="257" name="Rectangle: Rounded Corners 256">
            <a:extLst>
              <a:ext uri="{FF2B5EF4-FFF2-40B4-BE49-F238E27FC236}">
                <a16:creationId xmlns:a16="http://schemas.microsoft.com/office/drawing/2014/main" id="{90630657-ACB6-B4D1-B66B-4E07EEC30581}"/>
              </a:ext>
            </a:extLst>
          </p:cNvPr>
          <p:cNvSpPr/>
          <p:nvPr/>
        </p:nvSpPr>
        <p:spPr>
          <a:xfrm rot="10800000" flipH="1" flipV="1">
            <a:off x="406400" y="5011407"/>
            <a:ext cx="4999965" cy="282814"/>
          </a:xfrm>
          <a:prstGeom prst="roundRect">
            <a:avLst/>
          </a:prstGeom>
          <a:solidFill>
            <a:srgbClr val="08558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r Strategic Partner Ecosystem</a:t>
            </a:r>
          </a:p>
        </p:txBody>
      </p: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DFDD8261-EADD-B47B-3334-8D21C8CCBCD6}"/>
              </a:ext>
            </a:extLst>
          </p:cNvPr>
          <p:cNvSpPr/>
          <p:nvPr/>
        </p:nvSpPr>
        <p:spPr>
          <a:xfrm rot="10800000" flipH="1" flipV="1">
            <a:off x="6785636" y="5011407"/>
            <a:ext cx="4999966" cy="282814"/>
          </a:xfrm>
          <a:prstGeom prst="roundRect">
            <a:avLst/>
          </a:prstGeom>
          <a:solidFill>
            <a:srgbClr val="08558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Ps / Platforms / Accelerators</a:t>
            </a: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4EE9E914-24BD-C245-BD0C-93161E26E809}"/>
              </a:ext>
            </a:extLst>
          </p:cNvPr>
          <p:cNvGrpSpPr/>
          <p:nvPr/>
        </p:nvGrpSpPr>
        <p:grpSpPr>
          <a:xfrm>
            <a:off x="430011" y="5415434"/>
            <a:ext cx="4534040" cy="763698"/>
            <a:chOff x="370954" y="5145825"/>
            <a:chExt cx="4738763" cy="798181"/>
          </a:xfrm>
        </p:grpSpPr>
        <p:pic>
          <p:nvPicPr>
            <p:cNvPr id="262" name="Picture 16">
              <a:extLst>
                <a:ext uri="{FF2B5EF4-FFF2-40B4-BE49-F238E27FC236}">
                  <a16:creationId xmlns:a16="http://schemas.microsoft.com/office/drawing/2014/main" id="{F4C0337A-95F1-6D46-67F0-E90EE1D6E9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6029" y="5651519"/>
              <a:ext cx="879514" cy="222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3" name="Picture 18" descr="Amazon Web Services - Wikipedia">
              <a:extLst>
                <a:ext uri="{FF2B5EF4-FFF2-40B4-BE49-F238E27FC236}">
                  <a16:creationId xmlns:a16="http://schemas.microsoft.com/office/drawing/2014/main" id="{A7692240-663A-E4BA-E6EA-D74EBC1B88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6133" y="5214219"/>
              <a:ext cx="434730" cy="225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4" name="Picture 20">
              <a:extLst>
                <a:ext uri="{FF2B5EF4-FFF2-40B4-BE49-F238E27FC236}">
                  <a16:creationId xmlns:a16="http://schemas.microsoft.com/office/drawing/2014/main" id="{D80FE61E-9670-3AD5-B86B-D0DDAB39A0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954" y="5664718"/>
              <a:ext cx="754666" cy="1965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5" name="Picture 22" descr="Logo&#10;&#10;Description automatically generated">
              <a:extLst>
                <a:ext uri="{FF2B5EF4-FFF2-40B4-BE49-F238E27FC236}">
                  <a16:creationId xmlns:a16="http://schemas.microsoft.com/office/drawing/2014/main" id="{78FE108F-8B3F-D131-5FCB-DA2E01DE03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3726" b="26687"/>
            <a:stretch/>
          </p:blipFill>
          <p:spPr bwMode="auto">
            <a:xfrm>
              <a:off x="1295881" y="5634890"/>
              <a:ext cx="930080" cy="256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" name="Picture 8">
              <a:extLst>
                <a:ext uri="{FF2B5EF4-FFF2-40B4-BE49-F238E27FC236}">
                  <a16:creationId xmlns:a16="http://schemas.microsoft.com/office/drawing/2014/main" id="{F70C982C-1DB6-2FD3-45ED-4A8FA0FB69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2155" y="5235945"/>
              <a:ext cx="367562" cy="181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7" name="Picture 2">
              <a:extLst>
                <a:ext uri="{FF2B5EF4-FFF2-40B4-BE49-F238E27FC236}">
                  <a16:creationId xmlns:a16="http://schemas.microsoft.com/office/drawing/2014/main" id="{4A43FC00-E2E1-44CB-0CBA-F4B2B5C341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954" y="5234099"/>
              <a:ext cx="869562" cy="185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8" name="Picture 2" descr="Oracle Logo, symbol, meaning, history, PNG, brand">
              <a:extLst>
                <a:ext uri="{FF2B5EF4-FFF2-40B4-BE49-F238E27FC236}">
                  <a16:creationId xmlns:a16="http://schemas.microsoft.com/office/drawing/2014/main" id="{68C16317-0E3A-8F46-6FB4-A9DD6C5636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2765" b="22909"/>
            <a:stretch/>
          </p:blipFill>
          <p:spPr bwMode="auto">
            <a:xfrm>
              <a:off x="2902824" y="5201105"/>
              <a:ext cx="1008493" cy="251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9" name="Picture 16">
              <a:extLst>
                <a:ext uri="{FF2B5EF4-FFF2-40B4-BE49-F238E27FC236}">
                  <a16:creationId xmlns:a16="http://schemas.microsoft.com/office/drawing/2014/main" id="{07785BC1-8384-634D-FC5B-9113222DD9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6222" y="5581995"/>
              <a:ext cx="689546" cy="362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0" name="Picture 18" descr="Google Cloud Platform Logo (GCP) - PNG Logo Vector Brand Downloads (SVG,  EPS)">
              <a:extLst>
                <a:ext uri="{FF2B5EF4-FFF2-40B4-BE49-F238E27FC236}">
                  <a16:creationId xmlns:a16="http://schemas.microsoft.com/office/drawing/2014/main" id="{2DAE51FB-9250-6E9B-09AB-9E71A104D4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6480" y="5145825"/>
              <a:ext cx="640727" cy="362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1" name="Picture 270" descr="Icon&#10;&#10;Description automatically generated">
              <a:extLst>
                <a:ext uri="{FF2B5EF4-FFF2-40B4-BE49-F238E27FC236}">
                  <a16:creationId xmlns:a16="http://schemas.microsoft.com/office/drawing/2014/main" id="{0C55CC8A-F4B4-A0A5-56B3-1E93D228B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06934" y="5212251"/>
              <a:ext cx="439604" cy="229158"/>
            </a:xfrm>
            <a:prstGeom prst="rect">
              <a:avLst/>
            </a:prstGeom>
          </p:spPr>
        </p:pic>
        <p:pic>
          <p:nvPicPr>
            <p:cNvPr id="272" name="Picture 4" descr="ServiceNow Logo and symbol, meaning, history, PNG">
              <a:extLst>
                <a:ext uri="{FF2B5EF4-FFF2-40B4-BE49-F238E27FC236}">
                  <a16:creationId xmlns:a16="http://schemas.microsoft.com/office/drawing/2014/main" id="{E456F91A-9360-73A8-16A0-481451BDCD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27" t="42405" b="37112"/>
            <a:stretch/>
          </p:blipFill>
          <p:spPr bwMode="auto">
            <a:xfrm>
              <a:off x="4305805" y="5712169"/>
              <a:ext cx="790086" cy="101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56FEA2B7-CD08-1679-884C-315A5126C5B0}"/>
              </a:ext>
            </a:extLst>
          </p:cNvPr>
          <p:cNvGrpSpPr/>
          <p:nvPr/>
        </p:nvGrpSpPr>
        <p:grpSpPr>
          <a:xfrm>
            <a:off x="7222019" y="5406972"/>
            <a:ext cx="4618964" cy="769962"/>
            <a:chOff x="6618722" y="5307803"/>
            <a:chExt cx="5222261" cy="870529"/>
          </a:xfrm>
        </p:grpSpPr>
        <p:pic>
          <p:nvPicPr>
            <p:cNvPr id="274" name="Picture 2">
              <a:extLst>
                <a:ext uri="{FF2B5EF4-FFF2-40B4-BE49-F238E27FC236}">
                  <a16:creationId xmlns:a16="http://schemas.microsoft.com/office/drawing/2014/main" id="{E5805A78-D4D9-0624-97F7-CE3941A7C8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92813" y="5307803"/>
              <a:ext cx="1299782" cy="425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5" name="Picture 6">
              <a:extLst>
                <a:ext uri="{FF2B5EF4-FFF2-40B4-BE49-F238E27FC236}">
                  <a16:creationId xmlns:a16="http://schemas.microsoft.com/office/drawing/2014/main" id="{D432D81F-6C25-2245-A9A7-8E7333D16F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722" y="5782890"/>
              <a:ext cx="938759" cy="325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6" name="Picture 32" descr="Infinity Cloud">
              <a:extLst>
                <a:ext uri="{FF2B5EF4-FFF2-40B4-BE49-F238E27FC236}">
                  <a16:creationId xmlns:a16="http://schemas.microsoft.com/office/drawing/2014/main" id="{CECC2358-A470-367D-613F-2CB8795923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6989" y="5416541"/>
              <a:ext cx="1078776" cy="208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7" name="Picture 34">
              <a:extLst>
                <a:ext uri="{FF2B5EF4-FFF2-40B4-BE49-F238E27FC236}">
                  <a16:creationId xmlns:a16="http://schemas.microsoft.com/office/drawing/2014/main" id="{1072BB57-9EDB-DBFC-1CDE-D5D2E21BA9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49643" y="5395169"/>
              <a:ext cx="1091340" cy="251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8" name="Picture 277" descr="A blue and orange text&#10;&#10;Description automatically generated">
              <a:extLst>
                <a:ext uri="{FF2B5EF4-FFF2-40B4-BE49-F238E27FC236}">
                  <a16:creationId xmlns:a16="http://schemas.microsoft.com/office/drawing/2014/main" id="{53DCB409-7C59-5384-D8E6-3DD5542F16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98783" y="5788453"/>
              <a:ext cx="1276317" cy="313944"/>
            </a:xfrm>
            <a:prstGeom prst="rect">
              <a:avLst/>
            </a:prstGeom>
          </p:spPr>
        </p:pic>
        <p:pic>
          <p:nvPicPr>
            <p:cNvPr id="279" name="Picture 278">
              <a:extLst>
                <a:ext uri="{FF2B5EF4-FFF2-40B4-BE49-F238E27FC236}">
                  <a16:creationId xmlns:a16="http://schemas.microsoft.com/office/drawing/2014/main" id="{5252723B-F278-F89E-93F3-3391B97B4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12209" y="5806281"/>
              <a:ext cx="570153" cy="278289"/>
            </a:xfrm>
            <a:prstGeom prst="rect">
              <a:avLst/>
            </a:prstGeom>
          </p:spPr>
        </p:pic>
        <p:pic>
          <p:nvPicPr>
            <p:cNvPr id="280" name="Picture 279">
              <a:extLst>
                <a:ext uri="{FF2B5EF4-FFF2-40B4-BE49-F238E27FC236}">
                  <a16:creationId xmlns:a16="http://schemas.microsoft.com/office/drawing/2014/main" id="{5272699B-1663-CBF2-9B26-628B9AD8C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61181" y="5447548"/>
              <a:ext cx="938760" cy="146300"/>
            </a:xfrm>
            <a:prstGeom prst="rect">
              <a:avLst/>
            </a:prstGeom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807A691D-5580-8706-2E3D-E7DEDBB797F5}"/>
                </a:ext>
              </a:extLst>
            </p:cNvPr>
            <p:cNvSpPr txBox="1"/>
            <p:nvPr/>
          </p:nvSpPr>
          <p:spPr>
            <a:xfrm>
              <a:off x="8437089" y="5776148"/>
              <a:ext cx="1187556" cy="382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haroni" panose="02010803020104030203" pitchFamily="2" charset="-79"/>
                  <a:ea typeface="+mn-ea"/>
                  <a:cs typeface="Aharoni" panose="02010803020104030203" pitchFamily="2" charset="-79"/>
                </a:rPr>
                <a:t>RED</a:t>
              </a:r>
              <a:r>
                <a:rPr kumimoji="0" lang="en-IN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97C4EC">
                      <a:lumMod val="50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haroni" panose="02010803020104030203" pitchFamily="2" charset="-79"/>
                  <a:ea typeface="+mn-ea"/>
                  <a:cs typeface="Aharoni" panose="02010803020104030203" pitchFamily="2" charset="-79"/>
                </a:rPr>
                <a:t>axis</a:t>
              </a: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97C4EC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endParaRP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0B4CD603-774B-2AFE-8C01-12A510E30B50}"/>
                </a:ext>
              </a:extLst>
            </p:cNvPr>
            <p:cNvSpPr txBox="1"/>
            <p:nvPr/>
          </p:nvSpPr>
          <p:spPr>
            <a:xfrm>
              <a:off x="9558126" y="5760760"/>
              <a:ext cx="882001" cy="417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Ink Free" panose="03080402000500000000" pitchFamily="66" charset="0"/>
                  <a:ea typeface="+mn-ea"/>
                  <a:cs typeface="+mn-cs"/>
                </a:rPr>
                <a:t>Gen</a:t>
              </a:r>
              <a:r>
                <a:rPr kumimoji="0" lang="en-IN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Ink Free" panose="03080402000500000000" pitchFamily="66" charset="0"/>
                  <a:ea typeface="+mn-ea"/>
                  <a:cs typeface="+mn-cs"/>
                </a:rPr>
                <a:t>ie</a:t>
              </a: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169C11A8-6D3B-1EBD-A3BC-00DEDBC84DCC}"/>
              </a:ext>
            </a:extLst>
          </p:cNvPr>
          <p:cNvGrpSpPr/>
          <p:nvPr/>
        </p:nvGrpSpPr>
        <p:grpSpPr>
          <a:xfrm>
            <a:off x="396174" y="1975372"/>
            <a:ext cx="2162586" cy="457424"/>
            <a:chOff x="4832399" y="1039625"/>
            <a:chExt cx="2162586" cy="457424"/>
          </a:xfrm>
        </p:grpSpPr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5B44B89B-ED17-4533-1F21-C5C6B3034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2399" y="1099224"/>
              <a:ext cx="338227" cy="338227"/>
            </a:xfrm>
            <a:prstGeom prst="rect">
              <a:avLst/>
            </a:prstGeom>
          </p:spPr>
        </p:pic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1CBF1285-2367-B10C-9AEB-F609CBDA21D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5226603" y="1039625"/>
              <a:ext cx="1768382" cy="457424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anking, Financial Services &amp; Insurance</a:t>
              </a:r>
            </a:p>
          </p:txBody>
        </p: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36F52554-D6F4-C999-9727-E41EDFFB5E42}"/>
              </a:ext>
            </a:extLst>
          </p:cNvPr>
          <p:cNvGrpSpPr/>
          <p:nvPr/>
        </p:nvGrpSpPr>
        <p:grpSpPr>
          <a:xfrm>
            <a:off x="3051594" y="1975372"/>
            <a:ext cx="1991738" cy="457424"/>
            <a:chOff x="4832399" y="1039625"/>
            <a:chExt cx="1991738" cy="457424"/>
          </a:xfrm>
        </p:grpSpPr>
        <p:pic>
          <p:nvPicPr>
            <p:cNvPr id="288" name="Picture 287">
              <a:extLst>
                <a:ext uri="{FF2B5EF4-FFF2-40B4-BE49-F238E27FC236}">
                  <a16:creationId xmlns:a16="http://schemas.microsoft.com/office/drawing/2014/main" id="{94D3CFFB-16FD-FC5F-71BC-4F87630E72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2399" y="1099224"/>
              <a:ext cx="338227" cy="338227"/>
            </a:xfrm>
            <a:prstGeom prst="rect">
              <a:avLst/>
            </a:prstGeom>
          </p:spPr>
        </p:pic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85EBF1B7-8F1B-F068-CC49-052367C3AC0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5226603" y="1039625"/>
              <a:ext cx="1597534" cy="457424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echnology, Media &amp; Communications</a:t>
              </a: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72CCD794-5F24-0FBA-A170-66488F0A1FD6}"/>
              </a:ext>
            </a:extLst>
          </p:cNvPr>
          <p:cNvGrpSpPr/>
          <p:nvPr/>
        </p:nvGrpSpPr>
        <p:grpSpPr>
          <a:xfrm>
            <a:off x="5536166" y="1975372"/>
            <a:ext cx="1625912" cy="457424"/>
            <a:chOff x="4832399" y="1039625"/>
            <a:chExt cx="1625912" cy="457424"/>
          </a:xfrm>
        </p:grpSpPr>
        <p:pic>
          <p:nvPicPr>
            <p:cNvPr id="291" name="Picture 290">
              <a:extLst>
                <a:ext uri="{FF2B5EF4-FFF2-40B4-BE49-F238E27FC236}">
                  <a16:creationId xmlns:a16="http://schemas.microsoft.com/office/drawing/2014/main" id="{E31DC91A-91E1-3944-F382-141C8F177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2399" y="1099224"/>
              <a:ext cx="338227" cy="338227"/>
            </a:xfrm>
            <a:prstGeom prst="rect">
              <a:avLst/>
            </a:prstGeom>
          </p:spPr>
        </p:pic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83629FAA-5ED4-77D9-1CC2-37BBFB3093C0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226603" y="1039625"/>
              <a:ext cx="1231708" cy="457424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ufacturing &amp; Resources</a:t>
              </a:r>
            </a:p>
          </p:txBody>
        </p:sp>
      </p:grp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1360BCD4-99CA-1998-D3D6-4D837463856B}"/>
              </a:ext>
            </a:extLst>
          </p:cNvPr>
          <p:cNvGrpSpPr/>
          <p:nvPr/>
        </p:nvGrpSpPr>
        <p:grpSpPr>
          <a:xfrm>
            <a:off x="7654912" y="1975372"/>
            <a:ext cx="1307631" cy="457424"/>
            <a:chOff x="4832399" y="1039625"/>
            <a:chExt cx="1307631" cy="457424"/>
          </a:xfrm>
        </p:grpSpPr>
        <p:pic>
          <p:nvPicPr>
            <p:cNvPr id="294" name="Picture 293">
              <a:extLst>
                <a:ext uri="{FF2B5EF4-FFF2-40B4-BE49-F238E27FC236}">
                  <a16:creationId xmlns:a16="http://schemas.microsoft.com/office/drawing/2014/main" id="{60E4AA62-580C-84DE-4094-086FC29FAA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2399" y="1099224"/>
              <a:ext cx="338227" cy="338227"/>
            </a:xfrm>
            <a:prstGeom prst="rect">
              <a:avLst/>
            </a:prstGeom>
          </p:spPr>
        </p:pic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FE8627A0-39F8-BD32-DC38-5B1A9B4BD34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226603" y="1039625"/>
              <a:ext cx="913427" cy="457424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umer Business</a:t>
              </a: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F4F2BEF8-EB27-9D92-5FE5-0748A8EFB164}"/>
              </a:ext>
            </a:extLst>
          </p:cNvPr>
          <p:cNvGrpSpPr/>
          <p:nvPr/>
        </p:nvGrpSpPr>
        <p:grpSpPr>
          <a:xfrm>
            <a:off x="9455374" y="1975372"/>
            <a:ext cx="2312517" cy="457424"/>
            <a:chOff x="4832399" y="1039625"/>
            <a:chExt cx="2312517" cy="457424"/>
          </a:xfrm>
        </p:grpSpPr>
        <p:pic>
          <p:nvPicPr>
            <p:cNvPr id="297" name="Picture 296">
              <a:extLst>
                <a:ext uri="{FF2B5EF4-FFF2-40B4-BE49-F238E27FC236}">
                  <a16:creationId xmlns:a16="http://schemas.microsoft.com/office/drawing/2014/main" id="{4E7F3F3E-6A7B-C09A-C976-063991D17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2399" y="1099224"/>
              <a:ext cx="338227" cy="338227"/>
            </a:xfrm>
            <a:prstGeom prst="rect">
              <a:avLst/>
            </a:prstGeom>
          </p:spPr>
        </p:pic>
        <p:sp>
          <p:nvSpPr>
            <p:cNvPr id="298" name="Rectangle 297">
              <a:extLst>
                <a:ext uri="{FF2B5EF4-FFF2-40B4-BE49-F238E27FC236}">
                  <a16:creationId xmlns:a16="http://schemas.microsoft.com/office/drawing/2014/main" id="{77659165-7293-92D9-655E-26B010B0F66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226603" y="1039625"/>
              <a:ext cx="1918313" cy="457424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ealthcare, Life Sciences &amp; Public Services</a:t>
              </a:r>
            </a:p>
          </p:txBody>
        </p:sp>
      </p:grp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66075981-67E6-6E93-6BB0-2E4AFD2FCD3B}"/>
              </a:ext>
            </a:extLst>
          </p:cNvPr>
          <p:cNvGrpSpPr/>
          <p:nvPr/>
        </p:nvGrpSpPr>
        <p:grpSpPr>
          <a:xfrm>
            <a:off x="371475" y="2586107"/>
            <a:ext cx="11437019" cy="2269960"/>
            <a:chOff x="371475" y="2586107"/>
            <a:chExt cx="11437019" cy="2269960"/>
          </a:xfrm>
        </p:grpSpPr>
        <p:sp>
          <p:nvSpPr>
            <p:cNvPr id="299" name="Rectangle: Rounded Corners 189">
              <a:extLst>
                <a:ext uri="{FF2B5EF4-FFF2-40B4-BE49-F238E27FC236}">
                  <a16:creationId xmlns:a16="http://schemas.microsoft.com/office/drawing/2014/main" id="{2AC38A46-40BA-53CB-A602-598DB3B42FF6}"/>
                </a:ext>
              </a:extLst>
            </p:cNvPr>
            <p:cNvSpPr/>
            <p:nvPr/>
          </p:nvSpPr>
          <p:spPr>
            <a:xfrm rot="10800000" flipH="1" flipV="1">
              <a:off x="371475" y="2880952"/>
              <a:ext cx="11436381" cy="1943339"/>
            </a:xfrm>
            <a:prstGeom prst="roundRect">
              <a:avLst>
                <a:gd name="adj" fmla="val 3875"/>
              </a:avLst>
            </a:prstGeom>
            <a:solidFill>
              <a:schemeClr val="bg1"/>
            </a:solidFill>
            <a:ln>
              <a:noFill/>
            </a:ln>
            <a:effectLst>
              <a:outerShdw blurRad="152400" dist="38100" dir="5400000" algn="t" rotWithShape="0">
                <a:schemeClr val="accent5">
                  <a:lumMod val="40000"/>
                  <a:lumOff val="60000"/>
                  <a:alpha val="3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63237894-1D7A-35A6-E544-EA45DE689CB2}"/>
                </a:ext>
              </a:extLst>
            </p:cNvPr>
            <p:cNvGrpSpPr/>
            <p:nvPr/>
          </p:nvGrpSpPr>
          <p:grpSpPr>
            <a:xfrm>
              <a:off x="384143" y="2586107"/>
              <a:ext cx="11424351" cy="2269960"/>
              <a:chOff x="1636714" y="2071102"/>
              <a:chExt cx="10459603" cy="2269960"/>
            </a:xfrm>
          </p:grpSpPr>
          <p:sp>
            <p:nvSpPr>
              <p:cNvPr id="245" name="Rectangle: Top Corners Rounded 244">
                <a:extLst>
                  <a:ext uri="{FF2B5EF4-FFF2-40B4-BE49-F238E27FC236}">
                    <a16:creationId xmlns:a16="http://schemas.microsoft.com/office/drawing/2014/main" id="{C761E787-E10F-0887-CAB7-BE9331B5F41C}"/>
                  </a:ext>
                </a:extLst>
              </p:cNvPr>
              <p:cNvSpPr/>
              <p:nvPr/>
            </p:nvSpPr>
            <p:spPr>
              <a:xfrm>
                <a:off x="1636714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ata &amp; Analytics </a:t>
                </a:r>
              </a:p>
            </p:txBody>
          </p:sp>
          <p:sp>
            <p:nvSpPr>
              <p:cNvPr id="246" name="Rectangle: Top Corners Rounded 245">
                <a:extLst>
                  <a:ext uri="{FF2B5EF4-FFF2-40B4-BE49-F238E27FC236}">
                    <a16:creationId xmlns:a16="http://schemas.microsoft.com/office/drawing/2014/main" id="{301CFA62-2FC3-E27C-1D33-59C5C7EA828F}"/>
                  </a:ext>
                </a:extLst>
              </p:cNvPr>
              <p:cNvSpPr/>
              <p:nvPr/>
            </p:nvSpPr>
            <p:spPr>
              <a:xfrm>
                <a:off x="3390235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ustomer Interactive</a:t>
                </a:r>
              </a:p>
            </p:txBody>
          </p:sp>
          <p:sp>
            <p:nvSpPr>
              <p:cNvPr id="247" name="Rectangle: Top Corners Rounded 246">
                <a:extLst>
                  <a:ext uri="{FF2B5EF4-FFF2-40B4-BE49-F238E27FC236}">
                    <a16:creationId xmlns:a16="http://schemas.microsoft.com/office/drawing/2014/main" id="{D14CF21A-C49F-5A96-9464-CC7810678D05}"/>
                  </a:ext>
                </a:extLst>
              </p:cNvPr>
              <p:cNvSpPr/>
              <p:nvPr/>
            </p:nvSpPr>
            <p:spPr>
              <a:xfrm>
                <a:off x="5143756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igital Engineering</a:t>
                </a:r>
              </a:p>
            </p:txBody>
          </p:sp>
          <p:sp>
            <p:nvSpPr>
              <p:cNvPr id="248" name="Rectangle: Top Corners Rounded 247">
                <a:extLst>
                  <a:ext uri="{FF2B5EF4-FFF2-40B4-BE49-F238E27FC236}">
                    <a16:creationId xmlns:a16="http://schemas.microsoft.com/office/drawing/2014/main" id="{F997F7F0-E406-E8EE-9CE6-332E4294ED92}"/>
                  </a:ext>
                </a:extLst>
              </p:cNvPr>
              <p:cNvSpPr/>
              <p:nvPr/>
            </p:nvSpPr>
            <p:spPr>
              <a:xfrm>
                <a:off x="6897277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loud, Infra </a:t>
                </a:r>
                <a:b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&amp; Security</a:t>
                </a:r>
              </a:p>
            </p:txBody>
          </p:sp>
          <p:sp>
            <p:nvSpPr>
              <p:cNvPr id="249" name="Rectangle: Top Corners Rounded 248">
                <a:extLst>
                  <a:ext uri="{FF2B5EF4-FFF2-40B4-BE49-F238E27FC236}">
                    <a16:creationId xmlns:a16="http://schemas.microsoft.com/office/drawing/2014/main" id="{AF5059DF-22BA-C53A-4666-E519264A59C1}"/>
                  </a:ext>
                </a:extLst>
              </p:cNvPr>
              <p:cNvSpPr/>
              <p:nvPr/>
            </p:nvSpPr>
            <p:spPr>
              <a:xfrm>
                <a:off x="8650798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rocess Automation</a:t>
                </a:r>
              </a:p>
            </p:txBody>
          </p:sp>
          <p:sp>
            <p:nvSpPr>
              <p:cNvPr id="250" name="Rectangle: Top Corners Rounded 249">
                <a:extLst>
                  <a:ext uri="{FF2B5EF4-FFF2-40B4-BE49-F238E27FC236}">
                    <a16:creationId xmlns:a16="http://schemas.microsoft.com/office/drawing/2014/main" id="{B8D996F1-D4E4-2978-A45A-57A813491F7C}"/>
                  </a:ext>
                </a:extLst>
              </p:cNvPr>
              <p:cNvSpPr/>
              <p:nvPr/>
            </p:nvSpPr>
            <p:spPr>
              <a:xfrm>
                <a:off x="10404317" y="2071102"/>
                <a:ext cx="1692000" cy="374286"/>
              </a:xfrm>
              <a:prstGeom prst="round2Same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nterprise Svc </a:t>
                </a:r>
                <a:b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97C4EC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&amp; Quality Engg.</a:t>
                </a:r>
              </a:p>
            </p:txBody>
          </p:sp>
          <p:sp>
            <p:nvSpPr>
              <p:cNvPr id="251" name="Rectangle: Rounded Corners 189">
                <a:extLst>
                  <a:ext uri="{FF2B5EF4-FFF2-40B4-BE49-F238E27FC236}">
                    <a16:creationId xmlns:a16="http://schemas.microsoft.com/office/drawing/2014/main" id="{D40427E9-AB9E-82F3-DB55-C570491E4A22}"/>
                  </a:ext>
                </a:extLst>
              </p:cNvPr>
              <p:cNvSpPr/>
              <p:nvPr/>
            </p:nvSpPr>
            <p:spPr>
              <a:xfrm rot="10800000" flipH="1" flipV="1">
                <a:off x="1636715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I Engineer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Data Scienc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Insights as a Servic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Business Intelligenc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Next Gen Data Management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Data Strategy &amp; Architectur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Cloud Moderniza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 Light" panose="020F0302020204030204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 Light" panose="020F0302020204030204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 Light" panose="020F0302020204030204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 Light" panose="020F0302020204030204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2" name="Rectangle: Rounded Corners 189">
                <a:extLst>
                  <a:ext uri="{FF2B5EF4-FFF2-40B4-BE49-F238E27FC236}">
                    <a16:creationId xmlns:a16="http://schemas.microsoft.com/office/drawing/2014/main" id="{69B82A2B-E8BB-DD3D-DA90-38B99F38B620}"/>
                  </a:ext>
                </a:extLst>
              </p:cNvPr>
              <p:cNvSpPr/>
              <p:nvPr/>
            </p:nvSpPr>
            <p:spPr>
              <a:xfrm rot="10800000" flipH="1" flipV="1">
                <a:off x="3390235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Design Thinking &amp; Experience Design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Service design and outcome mapp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Rich Applications Development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/B test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Marketing Services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Customer journey analytics and insights</a:t>
                </a:r>
              </a:p>
            </p:txBody>
          </p:sp>
          <p:sp>
            <p:nvSpPr>
              <p:cNvPr id="253" name="Rectangle: Rounded Corners 189">
                <a:extLst>
                  <a:ext uri="{FF2B5EF4-FFF2-40B4-BE49-F238E27FC236}">
                    <a16:creationId xmlns:a16="http://schemas.microsoft.com/office/drawing/2014/main" id="{F014BFE5-E647-F715-566B-1607C9176C1E}"/>
                  </a:ext>
                </a:extLst>
              </p:cNvPr>
              <p:cNvSpPr/>
              <p:nvPr/>
            </p:nvSpPr>
            <p:spPr>
              <a:xfrm rot="10800000" flipH="1" flipV="1">
                <a:off x="6897275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 Light" panose="020F0302020204030204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4" name="Rectangle: Rounded Corners 189">
                <a:extLst>
                  <a:ext uri="{FF2B5EF4-FFF2-40B4-BE49-F238E27FC236}">
                    <a16:creationId xmlns:a16="http://schemas.microsoft.com/office/drawing/2014/main" id="{EC3971C5-392C-EB76-E83A-4174BF5D0E01}"/>
                  </a:ext>
                </a:extLst>
              </p:cNvPr>
              <p:cNvSpPr/>
              <p:nvPr/>
            </p:nvSpPr>
            <p:spPr>
              <a:xfrm rot="10800000" flipH="1" flipV="1">
                <a:off x="5143755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gile Consulting &amp; Dev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rchitecture As A Servic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Product Engineer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Multi-channel Experience Engineer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Mobile, Browser, API engineering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DevSecOps &amp; SR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GenAI Engg. capabilities</a:t>
                </a:r>
              </a:p>
            </p:txBody>
          </p:sp>
          <p:sp>
            <p:nvSpPr>
              <p:cNvPr id="255" name="Rectangle: Rounded Corners 189">
                <a:extLst>
                  <a:ext uri="{FF2B5EF4-FFF2-40B4-BE49-F238E27FC236}">
                    <a16:creationId xmlns:a16="http://schemas.microsoft.com/office/drawing/2014/main" id="{C5955CAF-AC5F-95B8-637C-CA19DEFF60D8}"/>
                  </a:ext>
                </a:extLst>
              </p:cNvPr>
              <p:cNvSpPr/>
              <p:nvPr/>
            </p:nvSpPr>
            <p:spPr>
              <a:xfrm rot="10800000" flipH="1" flipV="1">
                <a:off x="10404317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pplication Modernization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pp Production Support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ERP Implementation, Modernization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Experience Assurance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Oracle ERP &amp; EPM led Finance Transformation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Testing Advisory, managed service, test lab</a:t>
                </a:r>
              </a:p>
            </p:txBody>
          </p:sp>
          <p:sp>
            <p:nvSpPr>
              <p:cNvPr id="256" name="Rectangle: Rounded Corners 189">
                <a:extLst>
                  <a:ext uri="{FF2B5EF4-FFF2-40B4-BE49-F238E27FC236}">
                    <a16:creationId xmlns:a16="http://schemas.microsoft.com/office/drawing/2014/main" id="{26DB14DC-BE59-7519-34EF-96025DF6687F}"/>
                  </a:ext>
                </a:extLst>
              </p:cNvPr>
              <p:cNvSpPr/>
              <p:nvPr/>
            </p:nvSpPr>
            <p:spPr>
              <a:xfrm rot="10800000" flipH="1" flipV="1">
                <a:off x="8650795" y="2452653"/>
                <a:ext cx="1692000" cy="188840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/>
              <a:lstStyle/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utomation Strategy </a:t>
                </a:r>
                <a:b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&amp; Roadmap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utomation Maturity Assessment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Platform Management</a:t>
                </a:r>
              </a:p>
              <a:p>
                <a:pPr marL="88900" marR="0" lvl="0" indent="-88900" algn="l" defTabSz="914400" rtl="0" eaLnBrk="1" fontAlgn="auto" latinLnBrk="0" hangingPunct="1">
                  <a:lnSpc>
                    <a:spcPts val="13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8558C"/>
                  </a:buClr>
                  <a:buSzPct val="8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ea typeface="Calibri" panose="020F0502020204030204" pitchFamily="34" charset="0"/>
                    <a:cs typeface="Calibri" panose="020F0502020204030204" pitchFamily="34" charset="0"/>
                  </a:rPr>
                  <a:t>Automation, Cloud, Data, Product Engineering., Performance Engineering</a:t>
                </a:r>
              </a:p>
            </p:txBody>
          </p:sp>
        </p:grpSp>
        <p:cxnSp>
          <p:nvCxnSpPr>
            <p:cNvPr id="300" name="Straight Connector 299">
              <a:extLst>
                <a:ext uri="{FF2B5EF4-FFF2-40B4-BE49-F238E27FC236}">
                  <a16:creationId xmlns:a16="http://schemas.microsoft.com/office/drawing/2014/main" id="{987283B9-B01B-B313-3A84-88EBAAB44933}"/>
                </a:ext>
              </a:extLst>
            </p:cNvPr>
            <p:cNvCxnSpPr>
              <a:cxnSpLocks/>
            </p:cNvCxnSpPr>
            <p:nvPr/>
          </p:nvCxnSpPr>
          <p:spPr>
            <a:xfrm>
              <a:off x="2249974" y="2960970"/>
              <a:ext cx="0" cy="167461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>
              <a:extLst>
                <a:ext uri="{FF2B5EF4-FFF2-40B4-BE49-F238E27FC236}">
                  <a16:creationId xmlns:a16="http://schemas.microsoft.com/office/drawing/2014/main" id="{C091EDC8-DC8D-55F9-91C4-91B23129E775}"/>
                </a:ext>
              </a:extLst>
            </p:cNvPr>
            <p:cNvCxnSpPr>
              <a:cxnSpLocks/>
            </p:cNvCxnSpPr>
            <p:nvPr/>
          </p:nvCxnSpPr>
          <p:spPr>
            <a:xfrm>
              <a:off x="4188791" y="2960970"/>
              <a:ext cx="0" cy="167461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301CFE90-3727-C848-8DCF-B67840BA08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960970"/>
              <a:ext cx="0" cy="167461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20AF75E9-A393-B6E8-A56F-AC631B91CFDA}"/>
                </a:ext>
              </a:extLst>
            </p:cNvPr>
            <p:cNvCxnSpPr>
              <a:cxnSpLocks/>
            </p:cNvCxnSpPr>
            <p:nvPr/>
          </p:nvCxnSpPr>
          <p:spPr>
            <a:xfrm>
              <a:off x="8003209" y="2960970"/>
              <a:ext cx="0" cy="167461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>
              <a:extLst>
                <a:ext uri="{FF2B5EF4-FFF2-40B4-BE49-F238E27FC236}">
                  <a16:creationId xmlns:a16="http://schemas.microsoft.com/office/drawing/2014/main" id="{302B4D2A-8534-D065-1C8B-B76C264C7230}"/>
                </a:ext>
              </a:extLst>
            </p:cNvPr>
            <p:cNvCxnSpPr>
              <a:cxnSpLocks/>
            </p:cNvCxnSpPr>
            <p:nvPr/>
          </p:nvCxnSpPr>
          <p:spPr>
            <a:xfrm>
              <a:off x="9920578" y="2960970"/>
              <a:ext cx="0" cy="167461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B0CF6B2C-9681-FDC2-5F1A-DBBB31B35A48}"/>
              </a:ext>
            </a:extLst>
          </p:cNvPr>
          <p:cNvCxnSpPr>
            <a:cxnSpLocks/>
          </p:cNvCxnSpPr>
          <p:nvPr/>
        </p:nvCxnSpPr>
        <p:spPr>
          <a:xfrm>
            <a:off x="2805177" y="1949724"/>
            <a:ext cx="0" cy="48307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A2E9A98F-E35F-099C-F197-15EFF2D3CAFE}"/>
              </a:ext>
            </a:extLst>
          </p:cNvPr>
          <p:cNvCxnSpPr>
            <a:cxnSpLocks/>
          </p:cNvCxnSpPr>
          <p:nvPr/>
        </p:nvCxnSpPr>
        <p:spPr>
          <a:xfrm>
            <a:off x="5289749" y="1949724"/>
            <a:ext cx="0" cy="48307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08478F25-86CF-75DC-DFA9-446160BC9815}"/>
              </a:ext>
            </a:extLst>
          </p:cNvPr>
          <p:cNvCxnSpPr>
            <a:cxnSpLocks/>
          </p:cNvCxnSpPr>
          <p:nvPr/>
        </p:nvCxnSpPr>
        <p:spPr>
          <a:xfrm>
            <a:off x="7408495" y="1949724"/>
            <a:ext cx="0" cy="48307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EB2FF6-1D5A-BC3E-FD45-D1A334D32C91}"/>
              </a:ext>
            </a:extLst>
          </p:cNvPr>
          <p:cNvCxnSpPr>
            <a:cxnSpLocks/>
          </p:cNvCxnSpPr>
          <p:nvPr/>
        </p:nvCxnSpPr>
        <p:spPr>
          <a:xfrm>
            <a:off x="9208960" y="1949724"/>
            <a:ext cx="0" cy="48307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0B84F904-687A-2D3A-6F4E-90FC278DCF07}"/>
              </a:ext>
            </a:extLst>
          </p:cNvPr>
          <p:cNvGrpSpPr/>
          <p:nvPr/>
        </p:nvGrpSpPr>
        <p:grpSpPr>
          <a:xfrm>
            <a:off x="5228852" y="4848983"/>
            <a:ext cx="1819697" cy="1441729"/>
            <a:chOff x="4836916" y="4375246"/>
            <a:chExt cx="2603568" cy="2042355"/>
          </a:xfrm>
        </p:grpSpPr>
        <p:pic>
          <p:nvPicPr>
            <p:cNvPr id="312" name="Picture 311">
              <a:extLst>
                <a:ext uri="{FF2B5EF4-FFF2-40B4-BE49-F238E27FC236}">
                  <a16:creationId xmlns:a16="http://schemas.microsoft.com/office/drawing/2014/main" id="{70C9DB14-C96C-CB61-452C-7CBB3C4A2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71148" y="4375246"/>
              <a:ext cx="1935102" cy="2041429"/>
            </a:xfrm>
            <a:prstGeom prst="rect">
              <a:avLst/>
            </a:prstGeom>
          </p:spPr>
        </p:pic>
        <p:pic>
          <p:nvPicPr>
            <p:cNvPr id="313" name="Picture 312">
              <a:extLst>
                <a:ext uri="{FF2B5EF4-FFF2-40B4-BE49-F238E27FC236}">
                  <a16:creationId xmlns:a16="http://schemas.microsoft.com/office/drawing/2014/main" id="{5D2CF962-26DF-A4E5-3CE6-94FA2C21A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 cstate="email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 flipH="1">
              <a:off x="4836916" y="6371882"/>
              <a:ext cx="2603568" cy="45719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C0187E4-C76C-88D3-9B04-C37E1277E93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154617" y="716466"/>
            <a:ext cx="950872" cy="27788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4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790D96-535D-9C5B-C774-0AED46942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154617" y="921519"/>
            <a:ext cx="950872" cy="26506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3CBDB1-C54A-007C-CD58-C396DEC923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54616" y="1138392"/>
            <a:ext cx="1124999" cy="20613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Grant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25D23E-2E64-9325-9E19-47457C3CE393}"/>
              </a:ext>
            </a:extLst>
          </p:cNvPr>
          <p:cNvCxnSpPr>
            <a:cxnSpLocks/>
          </p:cNvCxnSpPr>
          <p:nvPr/>
        </p:nvCxnSpPr>
        <p:spPr>
          <a:xfrm>
            <a:off x="8668512" y="743998"/>
            <a:ext cx="0" cy="573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 descr="Diploma outline">
            <a:extLst>
              <a:ext uri="{FF2B5EF4-FFF2-40B4-BE49-F238E27FC236}">
                <a16:creationId xmlns:a16="http://schemas.microsoft.com/office/drawing/2014/main" id="{02562993-54C1-32A6-E48A-12725C5BA504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676329" y="899248"/>
            <a:ext cx="478288" cy="478288"/>
          </a:xfrm>
          <a:prstGeom prst="rect">
            <a:avLst/>
          </a:prstGeom>
        </p:spPr>
      </p:pic>
      <p:sp>
        <p:nvSpPr>
          <p:cNvPr id="3" name="Rectangle: Rounded Corners 189">
            <a:extLst>
              <a:ext uri="{FF2B5EF4-FFF2-40B4-BE49-F238E27FC236}">
                <a16:creationId xmlns:a16="http://schemas.microsoft.com/office/drawing/2014/main" id="{515F56AD-10C5-65ED-C8EA-74DB7405FA27}"/>
              </a:ext>
            </a:extLst>
          </p:cNvPr>
          <p:cNvSpPr/>
          <p:nvPr/>
        </p:nvSpPr>
        <p:spPr>
          <a:xfrm rot="10800000" flipH="1" flipV="1">
            <a:off x="6168207" y="2951404"/>
            <a:ext cx="1848063" cy="188840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Cloud Engineering Dev</a:t>
            </a:r>
          </a:p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Multi-cloud management of applications, data, infrastructure</a:t>
            </a:r>
          </a:p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Cybersecurity - Identity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&amp; Access</a:t>
            </a:r>
          </a:p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Cyber Threat Vulnerability</a:t>
            </a:r>
          </a:p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GRC</a:t>
            </a:r>
          </a:p>
          <a:p>
            <a:pPr marL="88900" marR="0" lvl="0" indent="-88900" algn="l" defTabSz="914400" rtl="0" eaLnBrk="1" fontAlgn="auto" latinLnBrk="0" hangingPunct="1">
              <a:lnSpc>
                <a:spcPts val="1300"/>
              </a:lnSpc>
              <a:spcBef>
                <a:spcPts val="300"/>
              </a:spcBef>
              <a:spcAft>
                <a:spcPts val="0"/>
              </a:spcAft>
              <a:buClr>
                <a:srgbClr val="08558C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Cloud Security</a:t>
            </a:r>
          </a:p>
        </p:txBody>
      </p:sp>
    </p:spTree>
    <p:extLst>
      <p:ext uri="{BB962C8B-B14F-4D97-AF65-F5344CB8AC3E}">
        <p14:creationId xmlns:p14="http://schemas.microsoft.com/office/powerpoint/2010/main" val="21976250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D62B0-A79C-2DDD-C6E1-E26993290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IN" sz="2400" b="1"/>
              <a:t>LTIMindtree Global Presenc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BEF14A-023F-1D5A-3ABC-C2A6C34EE1E1}"/>
              </a:ext>
            </a:extLst>
          </p:cNvPr>
          <p:cNvGrpSpPr/>
          <p:nvPr/>
        </p:nvGrpSpPr>
        <p:grpSpPr>
          <a:xfrm>
            <a:off x="426099" y="984524"/>
            <a:ext cx="11339803" cy="5460365"/>
            <a:chOff x="426099" y="984524"/>
            <a:chExt cx="11339803" cy="546036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69BBCCA-B161-0624-F781-D173109C9D02}"/>
                </a:ext>
              </a:extLst>
            </p:cNvPr>
            <p:cNvSpPr txBox="1"/>
            <p:nvPr/>
          </p:nvSpPr>
          <p:spPr>
            <a:xfrm>
              <a:off x="5494624" y="3226297"/>
              <a:ext cx="43509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 </a:t>
              </a: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4" name="TextBox 3">
              <a:extLst>
                <a:ext uri="{FF2B5EF4-FFF2-40B4-BE49-F238E27FC236}">
                  <a16:creationId xmlns:a16="http://schemas.microsoft.com/office/drawing/2014/main" id="{1F6CF5DD-EF21-D986-E9FA-D11A3B2579C1}"/>
                </a:ext>
              </a:extLst>
            </p:cNvPr>
            <p:cNvSpPr txBox="1"/>
            <p:nvPr/>
          </p:nvSpPr>
          <p:spPr>
            <a:xfrm>
              <a:off x="1655263" y="4964633"/>
              <a:ext cx="184727" cy="40011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5" name="Freeform 257">
              <a:extLst>
                <a:ext uri="{FF2B5EF4-FFF2-40B4-BE49-F238E27FC236}">
                  <a16:creationId xmlns:a16="http://schemas.microsoft.com/office/drawing/2014/main" id="{5B4CB955-7BD8-3F91-EF7B-57A6B44FFF2D}"/>
                </a:ext>
              </a:extLst>
            </p:cNvPr>
            <p:cNvSpPr/>
            <p:nvPr/>
          </p:nvSpPr>
          <p:spPr>
            <a:xfrm>
              <a:off x="5423267" y="2737520"/>
              <a:ext cx="112727" cy="16035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4"/>
                <a:gd name="f7" fmla="val 126"/>
                <a:gd name="f8" fmla="val 18"/>
                <a:gd name="f9" fmla="val 114"/>
                <a:gd name="f10" fmla="val 102"/>
                <a:gd name="f11" fmla="val 6"/>
                <a:gd name="f12" fmla="val 96"/>
                <a:gd name="f13" fmla="val 12"/>
                <a:gd name="f14" fmla="val 66"/>
                <a:gd name="f15" fmla="val 60"/>
                <a:gd name="f16" fmla="val 54"/>
                <a:gd name="f17" fmla="val 36"/>
                <a:gd name="f18" fmla="val 30"/>
                <a:gd name="f19" fmla="val 72"/>
                <a:gd name="f20" fmla="val 78"/>
                <a:gd name="f21" fmla="val 42"/>
                <a:gd name="f22" fmla="+- 0 0 -90"/>
                <a:gd name="f23" fmla="*/ f3 1 84"/>
                <a:gd name="f24" fmla="*/ f4 1 126"/>
                <a:gd name="f25" fmla="val f5"/>
                <a:gd name="f26" fmla="val f6"/>
                <a:gd name="f27" fmla="val f7"/>
                <a:gd name="f28" fmla="*/ f22 f0 1"/>
                <a:gd name="f29" fmla="+- f27 0 f25"/>
                <a:gd name="f30" fmla="+- f26 0 f25"/>
                <a:gd name="f31" fmla="*/ f28 1 f2"/>
                <a:gd name="f32" fmla="*/ f30 1 84"/>
                <a:gd name="f33" fmla="*/ f29 1 126"/>
                <a:gd name="f34" fmla="*/ 2147483646 f30 1"/>
                <a:gd name="f35" fmla="*/ 2147483646 f29 1"/>
                <a:gd name="f36" fmla="*/ 0 f30 1"/>
                <a:gd name="f37" fmla="*/ 0 f29 1"/>
                <a:gd name="f38" fmla="+- f31 0 f1"/>
                <a:gd name="f39" fmla="*/ f34 1 84"/>
                <a:gd name="f40" fmla="*/ f35 1 126"/>
                <a:gd name="f41" fmla="*/ f36 1 84"/>
                <a:gd name="f42" fmla="*/ f37 1 126"/>
                <a:gd name="f43" fmla="*/ 0 1 f32"/>
                <a:gd name="f44" fmla="*/ f26 1 f32"/>
                <a:gd name="f45" fmla="*/ 0 1 f33"/>
                <a:gd name="f46" fmla="*/ f27 1 f33"/>
                <a:gd name="f47" fmla="*/ f39 1 f32"/>
                <a:gd name="f48" fmla="*/ f40 1 f33"/>
                <a:gd name="f49" fmla="*/ f41 1 f32"/>
                <a:gd name="f50" fmla="*/ f42 1 f33"/>
                <a:gd name="f51" fmla="*/ f43 f23 1"/>
                <a:gd name="f52" fmla="*/ f44 f23 1"/>
                <a:gd name="f53" fmla="*/ f46 f24 1"/>
                <a:gd name="f54" fmla="*/ f45 f24 1"/>
                <a:gd name="f55" fmla="*/ f47 f23 1"/>
                <a:gd name="f56" fmla="*/ f48 f24 1"/>
                <a:gd name="f57" fmla="*/ f49 f23 1"/>
                <a:gd name="f58" fmla="*/ f50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5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8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</a:cxnLst>
              <a:rect l="f51" t="f54" r="f52" b="f53"/>
              <a:pathLst>
                <a:path w="84" h="126">
                  <a:moveTo>
                    <a:pt x="f8" y="f7"/>
                  </a:moveTo>
                  <a:lnTo>
                    <a:pt x="f5" y="f9"/>
                  </a:lnTo>
                  <a:lnTo>
                    <a:pt x="f5" y="f10"/>
                  </a:lnTo>
                  <a:lnTo>
                    <a:pt x="f11" y="f12"/>
                  </a:lnTo>
                  <a:lnTo>
                    <a:pt x="f13" y="f6"/>
                  </a:lnTo>
                  <a:lnTo>
                    <a:pt x="f13" y="f14"/>
                  </a:lnTo>
                  <a:lnTo>
                    <a:pt x="f11" y="f15"/>
                  </a:lnTo>
                  <a:lnTo>
                    <a:pt x="f13" y="f16"/>
                  </a:lnTo>
                  <a:lnTo>
                    <a:pt x="f11" y="f17"/>
                  </a:lnTo>
                  <a:lnTo>
                    <a:pt x="f18" y="f18"/>
                  </a:lnTo>
                  <a:lnTo>
                    <a:pt x="f18" y="f8"/>
                  </a:lnTo>
                  <a:lnTo>
                    <a:pt x="f16" y="f5"/>
                  </a:lnTo>
                  <a:lnTo>
                    <a:pt x="f15" y="f11"/>
                  </a:lnTo>
                  <a:lnTo>
                    <a:pt x="f19" y="f11"/>
                  </a:lnTo>
                  <a:lnTo>
                    <a:pt x="f20" y="f8"/>
                  </a:lnTo>
                  <a:lnTo>
                    <a:pt x="f6" y="f18"/>
                  </a:lnTo>
                  <a:lnTo>
                    <a:pt x="f19" y="f21"/>
                  </a:lnTo>
                  <a:lnTo>
                    <a:pt x="f20" y="f14"/>
                  </a:lnTo>
                  <a:lnTo>
                    <a:pt x="f19" y="f12"/>
                  </a:lnTo>
                  <a:lnTo>
                    <a:pt x="f16" y="f10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6" name="Freeform 344">
              <a:extLst>
                <a:ext uri="{FF2B5EF4-FFF2-40B4-BE49-F238E27FC236}">
                  <a16:creationId xmlns:a16="http://schemas.microsoft.com/office/drawing/2014/main" id="{71B41BD5-EC21-2F3D-9B41-4237AB950F69}"/>
                </a:ext>
              </a:extLst>
            </p:cNvPr>
            <p:cNvSpPr/>
            <p:nvPr/>
          </p:nvSpPr>
          <p:spPr>
            <a:xfrm>
              <a:off x="5887028" y="2791967"/>
              <a:ext cx="205849" cy="28646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45"/>
                <a:gd name="f7" fmla="val 10019"/>
                <a:gd name="f8" fmla="val 1724"/>
                <a:gd name="f9" fmla="val 2609"/>
                <a:gd name="f10" fmla="val 1379"/>
                <a:gd name="f11" fmla="val 3132"/>
                <a:gd name="f12" fmla="val 3915"/>
                <a:gd name="f13" fmla="val 690"/>
                <a:gd name="f14" fmla="val 4436"/>
                <a:gd name="f15" fmla="val 5219"/>
                <a:gd name="f16" fmla="val 345"/>
                <a:gd name="f17" fmla="val 5741"/>
                <a:gd name="f18" fmla="val 6263"/>
                <a:gd name="f19" fmla="val 6786"/>
                <a:gd name="f20" fmla="val 7306"/>
                <a:gd name="f21" fmla="val 1034"/>
                <a:gd name="f22" fmla="val 7568"/>
                <a:gd name="f23" fmla="val 7829"/>
                <a:gd name="f24" fmla="val 2069"/>
                <a:gd name="f25" fmla="val 7916"/>
                <a:gd name="f26" fmla="val 2675"/>
                <a:gd name="f27" fmla="val 8005"/>
                <a:gd name="f28" fmla="val 2759"/>
                <a:gd name="f29" fmla="val 8090"/>
                <a:gd name="f30" fmla="val 2843"/>
                <a:gd name="f31" fmla="val 8175"/>
                <a:gd name="f32" fmla="val 2382"/>
                <a:gd name="f33" fmla="val 8117"/>
                <a:gd name="f34" fmla="val 2230"/>
                <a:gd name="f35" fmla="val 8339"/>
                <a:gd name="f36" fmla="val 2078"/>
                <a:gd name="f37" fmla="val 8560"/>
                <a:gd name="f38" fmla="val 1874"/>
                <a:gd name="f39" fmla="val 9189"/>
                <a:gd name="f40" fmla="val 1848"/>
                <a:gd name="f41" fmla="val 9422"/>
                <a:gd name="f42" fmla="val 1822"/>
                <a:gd name="f43" fmla="val 9656"/>
                <a:gd name="f44" fmla="val 1806"/>
                <a:gd name="f45" fmla="val 9700"/>
                <a:gd name="f46" fmla="val 2073"/>
                <a:gd name="f47" fmla="val 9738"/>
                <a:gd name="f48" fmla="val 2340"/>
                <a:gd name="f49" fmla="val 9777"/>
                <a:gd name="f50" fmla="val 3104"/>
                <a:gd name="f51" fmla="val 9626"/>
                <a:gd name="f52" fmla="val 3448"/>
                <a:gd name="f53" fmla="val 3792"/>
                <a:gd name="f54" fmla="val 9686"/>
                <a:gd name="f55" fmla="val 3969"/>
                <a:gd name="f56" fmla="val 9858"/>
                <a:gd name="f57" fmla="val 4138"/>
                <a:gd name="f58" fmla="val 9917"/>
                <a:gd name="f59" fmla="val 4307"/>
                <a:gd name="f60" fmla="val 9976"/>
                <a:gd name="f61" fmla="val 4368"/>
                <a:gd name="f62" fmla="val 9999"/>
                <a:gd name="f63" fmla="val 4463"/>
                <a:gd name="f64" fmla="val 10013"/>
                <a:gd name="f65" fmla="val 4558"/>
                <a:gd name="f66" fmla="val 10027"/>
                <a:gd name="f67" fmla="val 4532"/>
                <a:gd name="f68" fmla="val 10015"/>
                <a:gd name="f69" fmla="val 4708"/>
                <a:gd name="f70" fmla="val 4884"/>
                <a:gd name="f71" fmla="val 9983"/>
                <a:gd name="f72" fmla="val 5267"/>
                <a:gd name="f73" fmla="val 9931"/>
                <a:gd name="f74" fmla="val 5517"/>
                <a:gd name="f75" fmla="val 5767"/>
                <a:gd name="f76" fmla="val 9903"/>
                <a:gd name="f77" fmla="val 5977"/>
                <a:gd name="f78" fmla="val 6207"/>
                <a:gd name="f79" fmla="val 6667"/>
                <a:gd name="f80" fmla="val 9830"/>
                <a:gd name="f81" fmla="val 7228"/>
                <a:gd name="f82" fmla="val 9704"/>
                <a:gd name="f83" fmla="val 7586"/>
                <a:gd name="f84" fmla="val 7944"/>
                <a:gd name="f85" fmla="val 9608"/>
                <a:gd name="f86" fmla="val 8185"/>
                <a:gd name="f87" fmla="val 9677"/>
                <a:gd name="f88" fmla="val 8353"/>
                <a:gd name="f89" fmla="val 9629"/>
                <a:gd name="f90" fmla="val 8521"/>
                <a:gd name="f91" fmla="val 9581"/>
                <a:gd name="f92" fmla="val 8604"/>
                <a:gd name="f93" fmla="val 9494"/>
                <a:gd name="f94" fmla="val 8597"/>
                <a:gd name="f95" fmla="val 9368"/>
                <a:gd name="f96" fmla="val 8590"/>
                <a:gd name="f97" fmla="val 9242"/>
                <a:gd name="f98" fmla="val 8278"/>
                <a:gd name="f99" fmla="val 8989"/>
                <a:gd name="f100" fmla="val 8312"/>
                <a:gd name="f101" fmla="val 8872"/>
                <a:gd name="f102" fmla="val 8346"/>
                <a:gd name="f103" fmla="val 8755"/>
                <a:gd name="f104" fmla="val 8653"/>
                <a:gd name="f105" fmla="val 8734"/>
                <a:gd name="f106" fmla="val 8802"/>
                <a:gd name="f107" fmla="val 8668"/>
                <a:gd name="f108" fmla="val 8951"/>
                <a:gd name="f109" fmla="val 8602"/>
                <a:gd name="f110" fmla="val 9106"/>
                <a:gd name="f111" fmla="val 8518"/>
                <a:gd name="f112" fmla="val 9207"/>
                <a:gd name="f113" fmla="val 8474"/>
                <a:gd name="f114" fmla="val 9308"/>
                <a:gd name="f115" fmla="val 8430"/>
                <a:gd name="f116" fmla="val 9462"/>
                <a:gd name="f117" fmla="val 8479"/>
                <a:gd name="f118" fmla="val 9408"/>
                <a:gd name="f119" fmla="val 8406"/>
                <a:gd name="f120" fmla="val 9354"/>
                <a:gd name="f121" fmla="val 8333"/>
                <a:gd name="f122" fmla="val 9101"/>
                <a:gd name="f123" fmla="val 8223"/>
                <a:gd name="f124" fmla="val 8882"/>
                <a:gd name="f125" fmla="val 8035"/>
                <a:gd name="f126" fmla="val 8663"/>
                <a:gd name="f127" fmla="val 7847"/>
                <a:gd name="f128" fmla="val 8352"/>
                <a:gd name="f129" fmla="val 7492"/>
                <a:gd name="f130" fmla="val 8092"/>
                <a:gd name="f131" fmla="val 7279"/>
                <a:gd name="f132" fmla="val 7832"/>
                <a:gd name="f133" fmla="val 7066"/>
                <a:gd name="f134" fmla="val 7487"/>
                <a:gd name="f135" fmla="val 6889"/>
                <a:gd name="f136" fmla="val 7321"/>
                <a:gd name="f137" fmla="val 6759"/>
                <a:gd name="f138" fmla="val 7155"/>
                <a:gd name="f139" fmla="val 6629"/>
                <a:gd name="f140" fmla="val 7054"/>
                <a:gd name="f141" fmla="val 6580"/>
                <a:gd name="f142" fmla="val 7098"/>
                <a:gd name="f143" fmla="val 6497"/>
                <a:gd name="f144" fmla="val 7142"/>
                <a:gd name="f145" fmla="val 6414"/>
                <a:gd name="f146" fmla="val 7390"/>
                <a:gd name="f147" fmla="val 6345"/>
                <a:gd name="f148" fmla="val 7782"/>
                <a:gd name="f149" fmla="val 6181"/>
                <a:gd name="f150" fmla="val 8026"/>
                <a:gd name="f151" fmla="val 6082"/>
                <a:gd name="f152" fmla="val 8276"/>
                <a:gd name="f153" fmla="val 6002"/>
                <a:gd name="f154" fmla="val 8526"/>
                <a:gd name="f155" fmla="val 5922"/>
                <a:gd name="f156" fmla="val 8900"/>
                <a:gd name="f157" fmla="val 5853"/>
                <a:gd name="f158" fmla="val 9086"/>
                <a:gd name="f159" fmla="val 5782"/>
                <a:gd name="f160" fmla="val 9272"/>
                <a:gd name="f161" fmla="val 5711"/>
                <a:gd name="f162" fmla="val 9238"/>
                <a:gd name="f163" fmla="val 5584"/>
                <a:gd name="f164" fmla="val 9390"/>
                <a:gd name="f165" fmla="val 5577"/>
                <a:gd name="f166" fmla="val 9542"/>
                <a:gd name="f167" fmla="val 5570"/>
                <a:gd name="f168" fmla="val 9898"/>
                <a:gd name="f169" fmla="val 5757"/>
                <a:gd name="f170" fmla="val 10000"/>
                <a:gd name="f171" fmla="val 10102"/>
                <a:gd name="f172" fmla="val 5725"/>
                <a:gd name="f173" fmla="val 5568"/>
                <a:gd name="f174" fmla="val 5481"/>
                <a:gd name="f175" fmla="val 4697"/>
                <a:gd name="f176" fmla="val 9655"/>
                <a:gd name="f177" fmla="val 3654"/>
                <a:gd name="f178" fmla="val 2871"/>
                <a:gd name="f179" fmla="val 9310"/>
                <a:gd name="f180" fmla="val 1827"/>
                <a:gd name="f181" fmla="val 1305"/>
                <a:gd name="f182" fmla="val 7931"/>
                <a:gd name="f183" fmla="val 783"/>
                <a:gd name="f184" fmla="val 6552"/>
                <a:gd name="f185" fmla="val 5862"/>
                <a:gd name="f186" fmla="val 1044"/>
                <a:gd name="f187" fmla="val 522"/>
                <a:gd name="f188" fmla="val 4828"/>
                <a:gd name="f189" fmla="val 261"/>
                <a:gd name="f190" fmla="val 3793"/>
                <a:gd name="f191" fmla="val 3103"/>
                <a:gd name="f192" fmla="val 2414"/>
                <a:gd name="f193" fmla="val 2088"/>
                <a:gd name="f194" fmla="+- 0 0 -90"/>
                <a:gd name="f195" fmla="*/ f3 1 10045"/>
                <a:gd name="f196" fmla="*/ f4 1 10019"/>
                <a:gd name="f197" fmla="val f5"/>
                <a:gd name="f198" fmla="val f6"/>
                <a:gd name="f199" fmla="val f7"/>
                <a:gd name="f200" fmla="*/ f194 f0 1"/>
                <a:gd name="f201" fmla="+- f199 0 f197"/>
                <a:gd name="f202" fmla="+- f198 0 f197"/>
                <a:gd name="f203" fmla="*/ f200 1 f2"/>
                <a:gd name="f204" fmla="*/ f202 1 10045"/>
                <a:gd name="f205" fmla="*/ f201 1 10019"/>
                <a:gd name="f206" fmla="*/ 2147483646 f202 1"/>
                <a:gd name="f207" fmla="*/ 2147483646 f201 1"/>
                <a:gd name="f208" fmla="*/ 0 f202 1"/>
                <a:gd name="f209" fmla="*/ 0 f201 1"/>
                <a:gd name="f210" fmla="+- f203 0 f1"/>
                <a:gd name="f211" fmla="*/ f206 1 10045"/>
                <a:gd name="f212" fmla="*/ f207 1 10019"/>
                <a:gd name="f213" fmla="*/ f208 1 10045"/>
                <a:gd name="f214" fmla="*/ f209 1 10019"/>
                <a:gd name="f215" fmla="*/ 0 1 f204"/>
                <a:gd name="f216" fmla="*/ f198 1 f204"/>
                <a:gd name="f217" fmla="*/ 0 1 f205"/>
                <a:gd name="f218" fmla="*/ f199 1 f205"/>
                <a:gd name="f219" fmla="*/ f211 1 f204"/>
                <a:gd name="f220" fmla="*/ f212 1 f205"/>
                <a:gd name="f221" fmla="*/ f213 1 f204"/>
                <a:gd name="f222" fmla="*/ f214 1 f205"/>
                <a:gd name="f223" fmla="*/ f215 f195 1"/>
                <a:gd name="f224" fmla="*/ f216 f195 1"/>
                <a:gd name="f225" fmla="*/ f218 f196 1"/>
                <a:gd name="f226" fmla="*/ f217 f196 1"/>
                <a:gd name="f227" fmla="*/ f219 f195 1"/>
                <a:gd name="f228" fmla="*/ f220 f196 1"/>
                <a:gd name="f229" fmla="*/ f221 f195 1"/>
                <a:gd name="f230" fmla="*/ f222 f19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9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30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  <a:cxn ang="f210">
                  <a:pos x="f227" y="f228"/>
                </a:cxn>
              </a:cxnLst>
              <a:rect l="f223" t="f226" r="f224" b="f225"/>
              <a:pathLst>
                <a:path w="10045" h="10019">
                  <a:moveTo>
                    <a:pt x="f8" y="f9"/>
                  </a:move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3" y="f15"/>
                  </a:lnTo>
                  <a:lnTo>
                    <a:pt x="f16" y="f17"/>
                  </a:lnTo>
                  <a:lnTo>
                    <a:pt x="f13" y="f18"/>
                  </a:lnTo>
                  <a:lnTo>
                    <a:pt x="f16" y="f19"/>
                  </a:lnTo>
                  <a:lnTo>
                    <a:pt x="f5" y="f20"/>
                  </a:lnTo>
                  <a:lnTo>
                    <a:pt x="f21" y="f22"/>
                  </a:lnTo>
                  <a:lnTo>
                    <a:pt x="f8" y="f23"/>
                  </a:lnTo>
                  <a:cubicBezTo>
                    <a:pt x="f24" y="f25"/>
                    <a:pt x="f26" y="f27"/>
                    <a:pt x="f28" y="f29"/>
                  </a:cubicBezTo>
                  <a:cubicBezTo>
                    <a:pt x="f30" y="f31"/>
                    <a:pt x="f32" y="f33"/>
                    <a:pt x="f34" y="f35"/>
                  </a:cubicBezTo>
                  <a:cubicBezTo>
                    <a:pt x="f36" y="f37"/>
                    <a:pt x="f38" y="f39"/>
                    <a:pt x="f40" y="f41"/>
                  </a:cubicBezTo>
                  <a:cubicBezTo>
                    <a:pt x="f42" y="f43"/>
                    <a:pt x="f44" y="f45"/>
                    <a:pt x="f46" y="f47"/>
                  </a:cubicBezTo>
                  <a:cubicBezTo>
                    <a:pt x="f48" y="f49"/>
                    <a:pt x="f50" y="f51"/>
                    <a:pt x="f52" y="f43"/>
                  </a:cubicBez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63" y="f64"/>
                  </a:cubicBezTo>
                  <a:cubicBezTo>
                    <a:pt x="f65" y="f66"/>
                    <a:pt x="f67" y="f68"/>
                    <a:pt x="f69" y="f62"/>
                  </a:cubicBezTo>
                  <a:cubicBezTo>
                    <a:pt x="f70" y="f71"/>
                    <a:pt x="f72" y="f73"/>
                    <a:pt x="f74" y="f58"/>
                  </a:cubicBezTo>
                  <a:cubicBezTo>
                    <a:pt x="f75" y="f76"/>
                    <a:pt x="f77" y="f58"/>
                    <a:pt x="f78" y="f58"/>
                  </a:cubicBezTo>
                  <a:cubicBezTo>
                    <a:pt x="f79" y="f80"/>
                    <a:pt x="f81" y="f82"/>
                    <a:pt x="f83" y="f43"/>
                  </a:cubicBezTo>
                  <a:cubicBezTo>
                    <a:pt x="f84" y="f85"/>
                    <a:pt x="f86" y="f87"/>
                    <a:pt x="f88" y="f89"/>
                  </a:cubicBezTo>
                  <a:cubicBezTo>
                    <a:pt x="f90" y="f91"/>
                    <a:pt x="f92" y="f93"/>
                    <a:pt x="f94" y="f95"/>
                  </a:cubicBezTo>
                  <a:cubicBezTo>
                    <a:pt x="f96" y="f97"/>
                    <a:pt x="f98" y="f99"/>
                    <a:pt x="f100" y="f101"/>
                  </a:cubicBezTo>
                  <a:cubicBezTo>
                    <a:pt x="f102" y="f103"/>
                    <a:pt x="f104" y="f105"/>
                    <a:pt x="f106" y="f107"/>
                  </a:cubicBezTo>
                  <a:cubicBezTo>
                    <a:pt x="f108" y="f109"/>
                    <a:pt x="f110" y="f111"/>
                    <a:pt x="f112" y="f113"/>
                  </a:cubicBezTo>
                  <a:cubicBezTo>
                    <a:pt x="f114" y="f115"/>
                    <a:pt x="f116" y="f117"/>
                    <a:pt x="f118" y="f119"/>
                  </a:cubicBezTo>
                  <a:cubicBezTo>
                    <a:pt x="f120" y="f121"/>
                    <a:pt x="f122" y="f123"/>
                    <a:pt x="f124" y="f125"/>
                  </a:cubicBezTo>
                  <a:cubicBezTo>
                    <a:pt x="f126" y="f127"/>
                    <a:pt x="f128" y="f129"/>
                    <a:pt x="f130" y="f131"/>
                  </a:cubicBezTo>
                  <a:cubicBezTo>
                    <a:pt x="f132" y="f133"/>
                    <a:pt x="f134" y="f135"/>
                    <a:pt x="f136" y="f137"/>
                  </a:cubicBezTo>
                  <a:cubicBezTo>
                    <a:pt x="f138" y="f139"/>
                    <a:pt x="f140" y="f141"/>
                    <a:pt x="f142" y="f143"/>
                  </a:cubicBezTo>
                  <a:cubicBezTo>
                    <a:pt x="f144" y="f145"/>
                    <a:pt x="f146" y="f147"/>
                    <a:pt x="f83" y="f18"/>
                  </a:cubicBezTo>
                  <a:cubicBezTo>
                    <a:pt x="f148" y="f149"/>
                    <a:pt x="f150" y="f151"/>
                    <a:pt x="f152" y="f153"/>
                  </a:cubicBezTo>
                  <a:cubicBezTo>
                    <a:pt x="f154" y="f155"/>
                    <a:pt x="f156" y="f157"/>
                    <a:pt x="f158" y="f159"/>
                  </a:cubicBezTo>
                  <a:cubicBezTo>
                    <a:pt x="f160" y="f161"/>
                    <a:pt x="f162" y="f163"/>
                    <a:pt x="f164" y="f165"/>
                  </a:cubicBezTo>
                  <a:cubicBezTo>
                    <a:pt x="f166" y="f167"/>
                    <a:pt x="f168" y="f169"/>
                    <a:pt x="f170" y="f17"/>
                  </a:cubicBezTo>
                  <a:cubicBezTo>
                    <a:pt x="f171" y="f172"/>
                    <a:pt x="f170" y="f173"/>
                    <a:pt x="f170" y="f174"/>
                  </a:cubicBezTo>
                  <a:lnTo>
                    <a:pt x="f170" y="f175"/>
                  </a:lnTo>
                  <a:cubicBezTo>
                    <a:pt x="f176" y="f175"/>
                    <a:pt x="f176" y="f177"/>
                    <a:pt x="f176" y="f177"/>
                  </a:cubicBezTo>
                  <a:lnTo>
                    <a:pt x="f176" y="f178"/>
                  </a:lnTo>
                  <a:lnTo>
                    <a:pt x="f176" y="f9"/>
                  </a:lnTo>
                  <a:lnTo>
                    <a:pt x="f179" y="f180"/>
                  </a:lnTo>
                  <a:lnTo>
                    <a:pt x="f179" y="f181"/>
                  </a:lnTo>
                  <a:lnTo>
                    <a:pt x="f182" y="f183"/>
                  </a:lnTo>
                  <a:lnTo>
                    <a:pt x="f184" y="f181"/>
                  </a:lnTo>
                  <a:cubicBezTo>
                    <a:pt x="f184" y="f181"/>
                    <a:pt x="f78" y="f181"/>
                    <a:pt x="f185" y="f186"/>
                  </a:cubicBezTo>
                  <a:lnTo>
                    <a:pt x="f185" y="f187"/>
                  </a:lnTo>
                  <a:lnTo>
                    <a:pt x="f188" y="f189"/>
                  </a:lnTo>
                  <a:lnTo>
                    <a:pt x="f57" y="f5"/>
                  </a:lnTo>
                  <a:lnTo>
                    <a:pt x="f190" y="f189"/>
                  </a:lnTo>
                  <a:lnTo>
                    <a:pt x="f52" y="f181"/>
                  </a:lnTo>
                  <a:lnTo>
                    <a:pt x="f191" y="f180"/>
                  </a:lnTo>
                  <a:lnTo>
                    <a:pt x="f192" y="f180"/>
                  </a:lnTo>
                  <a:lnTo>
                    <a:pt x="f8" y="f180"/>
                  </a:lnTo>
                  <a:lnTo>
                    <a:pt x="f8" y="f19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7" name="Freeform 266">
              <a:extLst>
                <a:ext uri="{FF2B5EF4-FFF2-40B4-BE49-F238E27FC236}">
                  <a16:creationId xmlns:a16="http://schemas.microsoft.com/office/drawing/2014/main" id="{F6A44B41-D77D-35B6-1E21-3C5B7B5E3B5B}"/>
                </a:ext>
              </a:extLst>
            </p:cNvPr>
            <p:cNvSpPr/>
            <p:nvPr/>
          </p:nvSpPr>
          <p:spPr>
            <a:xfrm>
              <a:off x="9577278" y="2568594"/>
              <a:ext cx="184608" cy="20083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8"/>
                <a:gd name="f7" fmla="val 157"/>
                <a:gd name="f8" fmla="val 133"/>
                <a:gd name="f9" fmla="val 18"/>
                <a:gd name="f10" fmla="val 97"/>
                <a:gd name="f11" fmla="val 30"/>
                <a:gd name="f12" fmla="val 79"/>
                <a:gd name="f13" fmla="val 66"/>
                <a:gd name="f14" fmla="val 60"/>
                <a:gd name="f15" fmla="val 78"/>
                <a:gd name="f16" fmla="val 54"/>
                <a:gd name="f17" fmla="val 90"/>
                <a:gd name="f18" fmla="val 102"/>
                <a:gd name="f19" fmla="val 114"/>
                <a:gd name="f20" fmla="val 12"/>
                <a:gd name="f21" fmla="val 36"/>
                <a:gd name="f22" fmla="val 67"/>
                <a:gd name="f23" fmla="val 91"/>
                <a:gd name="f24" fmla="val 72"/>
                <a:gd name="f25" fmla="val 115"/>
                <a:gd name="f26" fmla="val 151"/>
                <a:gd name="f27" fmla="+- 0 0 -90"/>
                <a:gd name="f28" fmla="*/ f3 1 138"/>
                <a:gd name="f29" fmla="*/ f4 1 157"/>
                <a:gd name="f30" fmla="val f5"/>
                <a:gd name="f31" fmla="val f6"/>
                <a:gd name="f32" fmla="val f7"/>
                <a:gd name="f33" fmla="*/ f27 f0 1"/>
                <a:gd name="f34" fmla="+- f32 0 f30"/>
                <a:gd name="f35" fmla="+- f31 0 f30"/>
                <a:gd name="f36" fmla="*/ f33 1 f2"/>
                <a:gd name="f37" fmla="*/ f35 1 138"/>
                <a:gd name="f38" fmla="*/ f34 1 157"/>
                <a:gd name="f39" fmla="*/ 0 f35 1"/>
                <a:gd name="f40" fmla="*/ 2147483646 f34 1"/>
                <a:gd name="f41" fmla="*/ 2147483646 f35 1"/>
                <a:gd name="f42" fmla="*/ 0 f34 1"/>
                <a:gd name="f43" fmla="+- f36 0 f1"/>
                <a:gd name="f44" fmla="*/ f39 1 138"/>
                <a:gd name="f45" fmla="*/ f40 1 157"/>
                <a:gd name="f46" fmla="*/ f41 1 138"/>
                <a:gd name="f47" fmla="*/ f42 1 157"/>
                <a:gd name="f48" fmla="*/ 0 1 f37"/>
                <a:gd name="f49" fmla="*/ f31 1 f37"/>
                <a:gd name="f50" fmla="*/ 0 1 f38"/>
                <a:gd name="f51" fmla="*/ f32 1 f38"/>
                <a:gd name="f52" fmla="*/ f44 1 f37"/>
                <a:gd name="f53" fmla="*/ f45 1 f38"/>
                <a:gd name="f54" fmla="*/ f46 1 f37"/>
                <a:gd name="f55" fmla="*/ f47 1 f38"/>
                <a:gd name="f56" fmla="*/ f48 f28 1"/>
                <a:gd name="f57" fmla="*/ f49 f28 1"/>
                <a:gd name="f58" fmla="*/ f51 f29 1"/>
                <a:gd name="f59" fmla="*/ f50 f29 1"/>
                <a:gd name="f60" fmla="*/ f52 f28 1"/>
                <a:gd name="f61" fmla="*/ f53 f29 1"/>
                <a:gd name="f62" fmla="*/ f54 f28 1"/>
                <a:gd name="f63" fmla="*/ f55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0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3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0" y="f61"/>
                </a:cxn>
              </a:cxnLst>
              <a:rect l="f56" t="f59" r="f57" b="f58"/>
              <a:pathLst>
                <a:path w="138" h="157">
                  <a:moveTo>
                    <a:pt x="f5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1"/>
                  </a:lnTo>
                  <a:lnTo>
                    <a:pt x="f18" y="f5"/>
                  </a:lnTo>
                  <a:lnTo>
                    <a:pt x="f19" y="f20"/>
                  </a:lnTo>
                  <a:lnTo>
                    <a:pt x="f6" y="f9"/>
                  </a:lnTo>
                  <a:lnTo>
                    <a:pt x="f6" y="f21"/>
                  </a:lnTo>
                  <a:lnTo>
                    <a:pt x="f19" y="f16"/>
                  </a:lnTo>
                  <a:lnTo>
                    <a:pt x="f18" y="f22"/>
                  </a:lnTo>
                  <a:lnTo>
                    <a:pt x="f15" y="f23"/>
                  </a:lnTo>
                  <a:lnTo>
                    <a:pt x="f24" y="f25"/>
                  </a:lnTo>
                  <a:lnTo>
                    <a:pt x="f13" y="f26"/>
                  </a:lnTo>
                  <a:lnTo>
                    <a:pt x="f21" y="f7"/>
                  </a:lnTo>
                  <a:lnTo>
                    <a:pt x="f9" y="f26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8" name="Freeform 267">
              <a:extLst>
                <a:ext uri="{FF2B5EF4-FFF2-40B4-BE49-F238E27FC236}">
                  <a16:creationId xmlns:a16="http://schemas.microsoft.com/office/drawing/2014/main" id="{B94EE2FA-2DE8-68A6-BE80-CAA4196B9C9A}"/>
                </a:ext>
              </a:extLst>
            </p:cNvPr>
            <p:cNvSpPr/>
            <p:nvPr/>
          </p:nvSpPr>
          <p:spPr>
            <a:xfrm>
              <a:off x="10108717" y="5244092"/>
              <a:ext cx="129058" cy="19772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6"/>
                <a:gd name="f7" fmla="val 156"/>
                <a:gd name="f8" fmla="val 6"/>
                <a:gd name="f9" fmla="val 108"/>
                <a:gd name="f10" fmla="val 24"/>
                <a:gd name="f11" fmla="val 78"/>
                <a:gd name="f12" fmla="val 54"/>
                <a:gd name="f13" fmla="val 30"/>
                <a:gd name="f14" fmla="val 12"/>
                <a:gd name="f15" fmla="val 42"/>
                <a:gd name="f16" fmla="val 60"/>
                <a:gd name="f17" fmla="val 84"/>
                <a:gd name="f18" fmla="val 66"/>
                <a:gd name="f19" fmla="val 90"/>
                <a:gd name="f20" fmla="val 102"/>
                <a:gd name="f21" fmla="val 114"/>
                <a:gd name="f22" fmla="val 132"/>
                <a:gd name="f23" fmla="val 144"/>
                <a:gd name="f24" fmla="val 126"/>
                <a:gd name="f25" fmla="+- 0 0 -90"/>
                <a:gd name="f26" fmla="*/ f3 1 96"/>
                <a:gd name="f27" fmla="*/ f4 1 156"/>
                <a:gd name="f28" fmla="val f5"/>
                <a:gd name="f29" fmla="val f6"/>
                <a:gd name="f30" fmla="val f7"/>
                <a:gd name="f31" fmla="*/ f25 f0 1"/>
                <a:gd name="f32" fmla="+- f30 0 f28"/>
                <a:gd name="f33" fmla="+- f29 0 f28"/>
                <a:gd name="f34" fmla="*/ f31 1 f2"/>
                <a:gd name="f35" fmla="*/ f33 1 96"/>
                <a:gd name="f36" fmla="*/ f32 1 156"/>
                <a:gd name="f37" fmla="*/ 2147483646 f33 1"/>
                <a:gd name="f38" fmla="*/ 2147483646 f32 1"/>
                <a:gd name="f39" fmla="*/ 0 f33 1"/>
                <a:gd name="f40" fmla="*/ 0 f32 1"/>
                <a:gd name="f41" fmla="+- f34 0 f1"/>
                <a:gd name="f42" fmla="*/ f37 1 96"/>
                <a:gd name="f43" fmla="*/ f38 1 156"/>
                <a:gd name="f44" fmla="*/ f39 1 96"/>
                <a:gd name="f45" fmla="*/ f40 1 156"/>
                <a:gd name="f46" fmla="*/ 0 1 f35"/>
                <a:gd name="f47" fmla="*/ f29 1 f35"/>
                <a:gd name="f48" fmla="*/ 0 1 f36"/>
                <a:gd name="f49" fmla="*/ f30 1 f36"/>
                <a:gd name="f50" fmla="*/ f42 1 f35"/>
                <a:gd name="f51" fmla="*/ f43 1 f36"/>
                <a:gd name="f52" fmla="*/ f44 1 f35"/>
                <a:gd name="f53" fmla="*/ f45 1 f36"/>
                <a:gd name="f54" fmla="*/ f46 f26 1"/>
                <a:gd name="f55" fmla="*/ f47 f26 1"/>
                <a:gd name="f56" fmla="*/ f49 f27 1"/>
                <a:gd name="f57" fmla="*/ f48 f27 1"/>
                <a:gd name="f58" fmla="*/ f50 f26 1"/>
                <a:gd name="f59" fmla="*/ f51 f27 1"/>
                <a:gd name="f60" fmla="*/ f52 f26 1"/>
                <a:gd name="f61" fmla="*/ f53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60" y="f61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</a:cxnLst>
              <a:rect l="f54" t="f57" r="f55" b="f56"/>
              <a:pathLst>
                <a:path w="96" h="156">
                  <a:moveTo>
                    <a:pt x="f8" y="f9"/>
                  </a:moveTo>
                  <a:lnTo>
                    <a:pt x="f10" y="f11"/>
                  </a:lnTo>
                  <a:lnTo>
                    <a:pt x="f10" y="f12"/>
                  </a:lnTo>
                  <a:lnTo>
                    <a:pt x="f5" y="f5"/>
                  </a:lnTo>
                  <a:lnTo>
                    <a:pt x="f13" y="f14"/>
                  </a:lnTo>
                  <a:lnTo>
                    <a:pt x="f13" y="f15"/>
                  </a:lnTo>
                  <a:lnTo>
                    <a:pt x="f15" y="f16"/>
                  </a:lnTo>
                  <a:lnTo>
                    <a:pt x="f16" y="f11"/>
                  </a:lnTo>
                  <a:lnTo>
                    <a:pt x="f17" y="f18"/>
                  </a:lnTo>
                  <a:lnTo>
                    <a:pt x="f6" y="f11"/>
                  </a:lnTo>
                  <a:lnTo>
                    <a:pt x="f19" y="f19"/>
                  </a:lnTo>
                  <a:lnTo>
                    <a:pt x="f11" y="f20"/>
                  </a:lnTo>
                  <a:lnTo>
                    <a:pt x="f18" y="f21"/>
                  </a:lnTo>
                  <a:lnTo>
                    <a:pt x="f16" y="f22"/>
                  </a:lnTo>
                  <a:lnTo>
                    <a:pt x="f15" y="f7"/>
                  </a:lnTo>
                  <a:lnTo>
                    <a:pt x="f10" y="f23"/>
                  </a:lnTo>
                  <a:lnTo>
                    <a:pt x="f13" y="f2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9" name="Freeform 268">
              <a:extLst>
                <a:ext uri="{FF2B5EF4-FFF2-40B4-BE49-F238E27FC236}">
                  <a16:creationId xmlns:a16="http://schemas.microsoft.com/office/drawing/2014/main" id="{70826D75-FA59-7C5B-9954-A3CBE9C49332}"/>
                </a:ext>
              </a:extLst>
            </p:cNvPr>
            <p:cNvSpPr/>
            <p:nvPr/>
          </p:nvSpPr>
          <p:spPr>
            <a:xfrm>
              <a:off x="8582839" y="4629121"/>
              <a:ext cx="1017791" cy="736402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757"/>
                <a:gd name="f8" fmla="val 577"/>
                <a:gd name="f9" fmla="val 30"/>
                <a:gd name="f10" fmla="val 463"/>
                <a:gd name="f11" fmla="val 36"/>
                <a:gd name="f12" fmla="val 415"/>
                <a:gd name="f13" fmla="val 385"/>
                <a:gd name="f14" fmla="val 6"/>
                <a:gd name="f15" fmla="val 307"/>
                <a:gd name="f16" fmla="val 283"/>
                <a:gd name="f17" fmla="val 247"/>
                <a:gd name="f18" fmla="val 217"/>
                <a:gd name="f19" fmla="val 193"/>
                <a:gd name="f20" fmla="val 78"/>
                <a:gd name="f21" fmla="val 175"/>
                <a:gd name="f22" fmla="val 114"/>
                <a:gd name="f23" fmla="val 151"/>
                <a:gd name="f24" fmla="val 144"/>
                <a:gd name="f25" fmla="val 145"/>
                <a:gd name="f26" fmla="val 156"/>
                <a:gd name="f27" fmla="val 109"/>
                <a:gd name="f28" fmla="val 97"/>
                <a:gd name="f29" fmla="val 204"/>
                <a:gd name="f30" fmla="val 90"/>
                <a:gd name="f31" fmla="val 240"/>
                <a:gd name="f32" fmla="val 60"/>
                <a:gd name="f33" fmla="val 264"/>
                <a:gd name="f34" fmla="val 48"/>
                <a:gd name="f35" fmla="val 282"/>
                <a:gd name="f36" fmla="val 300"/>
                <a:gd name="f37" fmla="val 66"/>
                <a:gd name="f38" fmla="val 312"/>
                <a:gd name="f39" fmla="val 42"/>
                <a:gd name="f40" fmla="val 330"/>
                <a:gd name="f41" fmla="val 24"/>
                <a:gd name="f42" fmla="val 18"/>
                <a:gd name="f43" fmla="val 372"/>
                <a:gd name="f44" fmla="val 396"/>
                <a:gd name="f45" fmla="val 438"/>
                <a:gd name="f46" fmla="val 12"/>
                <a:gd name="f47" fmla="val 432"/>
                <a:gd name="f48" fmla="val 420"/>
                <a:gd name="f49" fmla="val 468"/>
                <a:gd name="f50" fmla="val 492"/>
                <a:gd name="f51" fmla="val 115"/>
                <a:gd name="f52" fmla="val 510"/>
                <a:gd name="f53" fmla="val 540"/>
                <a:gd name="f54" fmla="val 564"/>
                <a:gd name="f55" fmla="val 576"/>
                <a:gd name="f56" fmla="val 582"/>
                <a:gd name="f57" fmla="val 54"/>
                <a:gd name="f58" fmla="val 594"/>
                <a:gd name="f59" fmla="val 612"/>
                <a:gd name="f60" fmla="val 121"/>
                <a:gd name="f61" fmla="val 642"/>
                <a:gd name="f62" fmla="val 678"/>
                <a:gd name="f63" fmla="val 163"/>
                <a:gd name="f64" fmla="val 690"/>
                <a:gd name="f65" fmla="val 199"/>
                <a:gd name="f66" fmla="val 708"/>
                <a:gd name="f67" fmla="val 211"/>
                <a:gd name="f68" fmla="val 714"/>
                <a:gd name="f69" fmla="val 241"/>
                <a:gd name="f70" fmla="val 751"/>
                <a:gd name="f71" fmla="val 265"/>
                <a:gd name="f72" fmla="val 289"/>
                <a:gd name="f73" fmla="val 325"/>
                <a:gd name="f74" fmla="val 379"/>
                <a:gd name="f75" fmla="val 469"/>
                <a:gd name="f76" fmla="val 696"/>
                <a:gd name="f77" fmla="val 523"/>
                <a:gd name="f78" fmla="val 547"/>
                <a:gd name="f79" fmla="val 684"/>
                <a:gd name="f80" fmla="val 660"/>
                <a:gd name="f81" fmla="val 559"/>
                <a:gd name="f82" fmla="val 636"/>
                <a:gd name="f83" fmla="val 618"/>
                <a:gd name="f84" fmla="val 571"/>
                <a:gd name="f85" fmla="val 534"/>
                <a:gd name="f86" fmla="val 553"/>
                <a:gd name="f87" fmla="val 498"/>
                <a:gd name="f88" fmla="val 535"/>
                <a:gd name="f89" fmla="val 480"/>
                <a:gd name="f90" fmla="val 505"/>
                <a:gd name="f91" fmla="val 481"/>
                <a:gd name="f92" fmla="val 444"/>
                <a:gd name="f93" fmla="val 487"/>
                <a:gd name="f94" fmla="val 378"/>
                <a:gd name="f95" fmla="val 421"/>
                <a:gd name="f96" fmla="val 409"/>
                <a:gd name="f97" fmla="val 433"/>
                <a:gd name="f98" fmla="val 198"/>
                <a:gd name="f99" fmla="val 451"/>
                <a:gd name="f100" fmla="val 162"/>
                <a:gd name="f101" fmla="val 457"/>
                <a:gd name="f102" fmla="val 138"/>
                <a:gd name="f103" fmla="val 120"/>
                <a:gd name="f104" fmla="val 475"/>
                <a:gd name="f105" fmla="val 84"/>
                <a:gd name="f106" fmla="+- 0 0 -90"/>
                <a:gd name="f107" fmla="*/ f4 1 757"/>
                <a:gd name="f108" fmla="*/ f5 1 577"/>
                <a:gd name="f109" fmla="val f6"/>
                <a:gd name="f110" fmla="val f7"/>
                <a:gd name="f111" fmla="val f8"/>
                <a:gd name="f112" fmla="*/ f106 f0 1"/>
                <a:gd name="f113" fmla="+- f111 0 f109"/>
                <a:gd name="f114" fmla="+- f110 0 f109"/>
                <a:gd name="f115" fmla="*/ f112 1 f3"/>
                <a:gd name="f116" fmla="*/ f114 1 757"/>
                <a:gd name="f117" fmla="*/ f113 1 577"/>
                <a:gd name="f118" fmla="*/ 2147483646 f114 1"/>
                <a:gd name="f119" fmla="*/ 2147483646 f113 1"/>
                <a:gd name="f120" fmla="*/ 0 f114 1"/>
                <a:gd name="f121" fmla="*/ 0 f113 1"/>
                <a:gd name="f122" fmla="+- f115 0 f1"/>
                <a:gd name="f123" fmla="*/ f118 1 757"/>
                <a:gd name="f124" fmla="*/ f119 1 577"/>
                <a:gd name="f125" fmla="*/ f120 1 757"/>
                <a:gd name="f126" fmla="*/ f121 1 577"/>
                <a:gd name="f127" fmla="*/ 0 1 f116"/>
                <a:gd name="f128" fmla="*/ f110 1 f116"/>
                <a:gd name="f129" fmla="*/ 0 1 f117"/>
                <a:gd name="f130" fmla="*/ f111 1 f117"/>
                <a:gd name="f131" fmla="*/ f123 1 f116"/>
                <a:gd name="f132" fmla="*/ f124 1 f117"/>
                <a:gd name="f133" fmla="*/ f125 1 f116"/>
                <a:gd name="f134" fmla="*/ f126 1 f117"/>
                <a:gd name="f135" fmla="*/ f127 f107 1"/>
                <a:gd name="f136" fmla="*/ f128 f107 1"/>
                <a:gd name="f137" fmla="*/ f130 f108 1"/>
                <a:gd name="f138" fmla="*/ f129 f108 1"/>
                <a:gd name="f139" fmla="*/ f131 f107 1"/>
                <a:gd name="f140" fmla="*/ f132 f108 1"/>
                <a:gd name="f141" fmla="*/ f133 f107 1"/>
                <a:gd name="f142" fmla="*/ f134 f10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41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2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  <a:cxn ang="f122">
                  <a:pos x="f139" y="f140"/>
                </a:cxn>
              </a:cxnLst>
              <a:rect l="f135" t="f138" r="f136" b="f137"/>
              <a:pathLst>
                <a:path w="757" h="577">
                  <a:moveTo>
                    <a:pt x="f9" y="f10"/>
                  </a:moveTo>
                  <a:lnTo>
                    <a:pt x="f11" y="f12"/>
                  </a:lnTo>
                  <a:lnTo>
                    <a:pt x="f9" y="f13"/>
                  </a:lnTo>
                  <a:lnTo>
                    <a:pt x="f14" y="f15"/>
                  </a:lnTo>
                  <a:lnTo>
                    <a:pt x="f14" y="f16"/>
                  </a:lnTo>
                  <a:lnTo>
                    <a:pt x="f6" y="f17"/>
                  </a:lnTo>
                  <a:lnTo>
                    <a:pt x="f14" y="f18"/>
                  </a:lnTo>
                  <a:lnTo>
                    <a:pt x="f9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3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2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2" y="f42"/>
                  </a:lnTo>
                  <a:lnTo>
                    <a:pt x="f43" y="f6"/>
                  </a:lnTo>
                  <a:lnTo>
                    <a:pt x="f44" y="f14"/>
                  </a:lnTo>
                  <a:lnTo>
                    <a:pt x="f45" y="f46"/>
                  </a:lnTo>
                  <a:lnTo>
                    <a:pt x="f47" y="f11"/>
                  </a:lnTo>
                  <a:lnTo>
                    <a:pt x="f48" y="f37"/>
                  </a:lnTo>
                  <a:lnTo>
                    <a:pt x="f45" y="f20"/>
                  </a:lnTo>
                  <a:lnTo>
                    <a:pt x="f49" y="f20"/>
                  </a:lnTo>
                  <a:lnTo>
                    <a:pt x="f50" y="f51"/>
                  </a:lnTo>
                  <a:lnTo>
                    <a:pt x="f52" y="f27"/>
                  </a:lnTo>
                  <a:lnTo>
                    <a:pt x="f53" y="f30"/>
                  </a:lnTo>
                  <a:lnTo>
                    <a:pt x="f53" y="f9"/>
                  </a:lnTo>
                  <a:lnTo>
                    <a:pt x="f54" y="f6"/>
                  </a:lnTo>
                  <a:lnTo>
                    <a:pt x="f55" y="f39"/>
                  </a:lnTo>
                  <a:lnTo>
                    <a:pt x="f56" y="f57"/>
                  </a:lnTo>
                  <a:lnTo>
                    <a:pt x="f58" y="f32"/>
                  </a:lnTo>
                  <a:lnTo>
                    <a:pt x="f59" y="f60"/>
                  </a:lnTo>
                  <a:lnTo>
                    <a:pt x="f61" y="f23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70" y="f72"/>
                  </a:lnTo>
                  <a:lnTo>
                    <a:pt x="f7" y="f73"/>
                  </a:lnTo>
                  <a:lnTo>
                    <a:pt x="f7" y="f74"/>
                  </a:lnTo>
                  <a:lnTo>
                    <a:pt x="f68" y="f75"/>
                  </a:lnTo>
                  <a:lnTo>
                    <a:pt x="f76" y="f77"/>
                  </a:lnTo>
                  <a:lnTo>
                    <a:pt x="f76" y="f78"/>
                  </a:lnTo>
                  <a:lnTo>
                    <a:pt x="f79" y="f78"/>
                  </a:lnTo>
                  <a:lnTo>
                    <a:pt x="f80" y="f81"/>
                  </a:lnTo>
                  <a:lnTo>
                    <a:pt x="f82" y="f8"/>
                  </a:lnTo>
                  <a:lnTo>
                    <a:pt x="f83" y="f8"/>
                  </a:lnTo>
                  <a:lnTo>
                    <a:pt x="f58" y="f81"/>
                  </a:lnTo>
                  <a:lnTo>
                    <a:pt x="f55" y="f84"/>
                  </a:lnTo>
                  <a:lnTo>
                    <a:pt x="f85" y="f86"/>
                  </a:lnTo>
                  <a:lnTo>
                    <a:pt x="f87" y="f88"/>
                  </a:lnTo>
                  <a:lnTo>
                    <a:pt x="f89" y="f90"/>
                  </a:lnTo>
                  <a:lnTo>
                    <a:pt x="f49" y="f91"/>
                  </a:lnTo>
                  <a:lnTo>
                    <a:pt x="f92" y="f93"/>
                  </a:lnTo>
                  <a:lnTo>
                    <a:pt x="f48" y="f10"/>
                  </a:lnTo>
                  <a:lnTo>
                    <a:pt x="f94" y="f95"/>
                  </a:lnTo>
                  <a:lnTo>
                    <a:pt x="f38" y="f96"/>
                  </a:lnTo>
                  <a:lnTo>
                    <a:pt x="f33" y="f12"/>
                  </a:lnTo>
                  <a:lnTo>
                    <a:pt x="f29" y="f97"/>
                  </a:lnTo>
                  <a:lnTo>
                    <a:pt x="f98" y="f99"/>
                  </a:lnTo>
                  <a:lnTo>
                    <a:pt x="f100" y="f101"/>
                  </a:lnTo>
                  <a:lnTo>
                    <a:pt x="f102" y="f101"/>
                  </a:lnTo>
                  <a:lnTo>
                    <a:pt x="f103" y="f104"/>
                  </a:lnTo>
                  <a:lnTo>
                    <a:pt x="f105" y="f93"/>
                  </a:lnTo>
                  <a:lnTo>
                    <a:pt x="f32" y="f93"/>
                  </a:lnTo>
                  <a:lnTo>
                    <a:pt x="f9" y="f10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0" name="Freeform 269">
              <a:extLst>
                <a:ext uri="{FF2B5EF4-FFF2-40B4-BE49-F238E27FC236}">
                  <a16:creationId xmlns:a16="http://schemas.microsoft.com/office/drawing/2014/main" id="{B58321A1-E550-07EB-5874-FF77C0DD2CEC}"/>
                </a:ext>
              </a:extLst>
            </p:cNvPr>
            <p:cNvSpPr/>
            <p:nvPr/>
          </p:nvSpPr>
          <p:spPr>
            <a:xfrm>
              <a:off x="9381723" y="5409123"/>
              <a:ext cx="89858" cy="11676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6"/>
                <a:gd name="f7" fmla="val 91"/>
                <a:gd name="f8" fmla="val 18"/>
                <a:gd name="f9" fmla="val 12"/>
                <a:gd name="f10" fmla="val 48"/>
                <a:gd name="f11" fmla="val 72"/>
                <a:gd name="f12" fmla="val 36"/>
                <a:gd name="f13" fmla="val 30"/>
                <a:gd name="f14" fmla="val 42"/>
                <a:gd name="f15" fmla="+- 0 0 -90"/>
                <a:gd name="f16" fmla="*/ f3 1 66"/>
                <a:gd name="f17" fmla="*/ f4 1 91"/>
                <a:gd name="f18" fmla="val f5"/>
                <a:gd name="f19" fmla="val f6"/>
                <a:gd name="f20" fmla="val f7"/>
                <a:gd name="f21" fmla="*/ f15 f0 1"/>
                <a:gd name="f22" fmla="+- f20 0 f18"/>
                <a:gd name="f23" fmla="+- f19 0 f18"/>
                <a:gd name="f24" fmla="*/ f21 1 f2"/>
                <a:gd name="f25" fmla="*/ f23 1 66"/>
                <a:gd name="f26" fmla="*/ f22 1 91"/>
                <a:gd name="f27" fmla="*/ 0 f23 1"/>
                <a:gd name="f28" fmla="*/ 2147483646 f22 1"/>
                <a:gd name="f29" fmla="*/ 2147483646 f23 1"/>
                <a:gd name="f30" fmla="*/ 0 f22 1"/>
                <a:gd name="f31" fmla="+- f24 0 f1"/>
                <a:gd name="f32" fmla="*/ f27 1 66"/>
                <a:gd name="f33" fmla="*/ f28 1 91"/>
                <a:gd name="f34" fmla="*/ f29 1 66"/>
                <a:gd name="f35" fmla="*/ f30 1 91"/>
                <a:gd name="f36" fmla="*/ 0 1 f25"/>
                <a:gd name="f37" fmla="*/ f19 1 f25"/>
                <a:gd name="f38" fmla="*/ 0 1 f26"/>
                <a:gd name="f39" fmla="*/ f20 1 f26"/>
                <a:gd name="f40" fmla="*/ f32 1 f25"/>
                <a:gd name="f41" fmla="*/ f33 1 f26"/>
                <a:gd name="f42" fmla="*/ f34 1 f25"/>
                <a:gd name="f43" fmla="*/ f35 1 f26"/>
                <a:gd name="f44" fmla="*/ f36 f16 1"/>
                <a:gd name="f45" fmla="*/ f37 f16 1"/>
                <a:gd name="f46" fmla="*/ f39 f17 1"/>
                <a:gd name="f47" fmla="*/ f38 f17 1"/>
                <a:gd name="f48" fmla="*/ f40 f16 1"/>
                <a:gd name="f49" fmla="*/ f41 f17 1"/>
                <a:gd name="f50" fmla="*/ f42 f16 1"/>
                <a:gd name="f51" fmla="*/ f43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1">
                  <a:pos x="f48" y="f49"/>
                </a:cxn>
                <a:cxn ang="f31">
                  <a:pos x="f50" y="f49"/>
                </a:cxn>
                <a:cxn ang="f31">
                  <a:pos x="f50" y="f49"/>
                </a:cxn>
                <a:cxn ang="f31">
                  <a:pos x="f50" y="f49"/>
                </a:cxn>
                <a:cxn ang="f31">
                  <a:pos x="f50" y="f49"/>
                </a:cxn>
                <a:cxn ang="f31">
                  <a:pos x="f50" y="f49"/>
                </a:cxn>
                <a:cxn ang="f31">
                  <a:pos x="f50" y="f51"/>
                </a:cxn>
                <a:cxn ang="f31">
                  <a:pos x="f50" y="f49"/>
                </a:cxn>
                <a:cxn ang="f31">
                  <a:pos x="f48" y="f49"/>
                </a:cxn>
              </a:cxnLst>
              <a:rect l="f44" t="f47" r="f45" b="f46"/>
              <a:pathLst>
                <a:path w="66" h="91">
                  <a:moveTo>
                    <a:pt x="f5" y="f8"/>
                  </a:moveTo>
                  <a:lnTo>
                    <a:pt x="f9" y="f10"/>
                  </a:lnTo>
                  <a:lnTo>
                    <a:pt x="f8" y="f11"/>
                  </a:lnTo>
                  <a:lnTo>
                    <a:pt x="f12" y="f7"/>
                  </a:lnTo>
                  <a:lnTo>
                    <a:pt x="f10" y="f6"/>
                  </a:lnTo>
                  <a:lnTo>
                    <a:pt x="f6" y="f13"/>
                  </a:lnTo>
                  <a:lnTo>
                    <a:pt x="f6" y="f5"/>
                  </a:lnTo>
                  <a:lnTo>
                    <a:pt x="f14" y="f9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1" name="Freeform 276">
              <a:extLst>
                <a:ext uri="{FF2B5EF4-FFF2-40B4-BE49-F238E27FC236}">
                  <a16:creationId xmlns:a16="http://schemas.microsoft.com/office/drawing/2014/main" id="{BA0F8994-C821-48BE-BB28-8B83CFD7777B}"/>
                </a:ext>
              </a:extLst>
            </p:cNvPr>
            <p:cNvSpPr/>
            <p:nvPr/>
          </p:nvSpPr>
          <p:spPr>
            <a:xfrm>
              <a:off x="4060765" y="2902542"/>
              <a:ext cx="163366" cy="17593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0"/>
                <a:gd name="f7" fmla="val 138"/>
                <a:gd name="f8" fmla="val 114"/>
                <a:gd name="f9" fmla="val 90"/>
                <a:gd name="f10" fmla="val 6"/>
                <a:gd name="f11" fmla="val 72"/>
                <a:gd name="f12" fmla="val 36"/>
                <a:gd name="f13" fmla="val 24"/>
                <a:gd name="f14" fmla="val 66"/>
                <a:gd name="f15" fmla="val 18"/>
                <a:gd name="f16" fmla="val 54"/>
                <a:gd name="f17" fmla="val 42"/>
                <a:gd name="f18" fmla="val 60"/>
                <a:gd name="f19" fmla="val 108"/>
                <a:gd name="f20" fmla="val 78"/>
                <a:gd name="f21" fmla="val 132"/>
                <a:gd name="f22" fmla="val 96"/>
                <a:gd name="f23" fmla="val 84"/>
                <a:gd name="f24" fmla="val 126"/>
                <a:gd name="f25" fmla="val 48"/>
                <a:gd name="f26" fmla="+- 0 0 -90"/>
                <a:gd name="f27" fmla="*/ f3 1 120"/>
                <a:gd name="f28" fmla="*/ f4 1 138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120"/>
                <a:gd name="f37" fmla="*/ f33 1 138"/>
                <a:gd name="f38" fmla="*/ 0 f34 1"/>
                <a:gd name="f39" fmla="*/ 2147483646 f33 1"/>
                <a:gd name="f40" fmla="*/ 2147483646 f34 1"/>
                <a:gd name="f41" fmla="*/ 0 f33 1"/>
                <a:gd name="f42" fmla="+- f35 0 f1"/>
                <a:gd name="f43" fmla="*/ f38 1 120"/>
                <a:gd name="f44" fmla="*/ f39 1 138"/>
                <a:gd name="f45" fmla="*/ f40 1 120"/>
                <a:gd name="f46" fmla="*/ f41 1 138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6"/>
                <a:gd name="f54" fmla="*/ f46 1 f37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7 1"/>
                <a:gd name="f62" fmla="*/ f54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2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59" y="f60"/>
                </a:cxn>
              </a:cxnLst>
              <a:rect l="f55" t="f58" r="f56" b="f57"/>
              <a:pathLst>
                <a:path w="120" h="138">
                  <a:moveTo>
                    <a:pt x="f5" y="f8"/>
                  </a:moveTo>
                  <a:lnTo>
                    <a:pt x="f5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5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6"/>
                  </a:lnTo>
                  <a:lnTo>
                    <a:pt x="f19" y="f20"/>
                  </a:lnTo>
                  <a:lnTo>
                    <a:pt x="f6" y="f19"/>
                  </a:lnTo>
                  <a:lnTo>
                    <a:pt x="f6" y="f21"/>
                  </a:lnTo>
                  <a:lnTo>
                    <a:pt x="f22" y="f7"/>
                  </a:lnTo>
                  <a:lnTo>
                    <a:pt x="f23" y="f6"/>
                  </a:lnTo>
                  <a:lnTo>
                    <a:pt x="f14" y="f24"/>
                  </a:lnTo>
                  <a:lnTo>
                    <a:pt x="f25" y="f8"/>
                  </a:lnTo>
                  <a:lnTo>
                    <a:pt x="f15" y="f19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2" name="Freeform 398">
              <a:extLst>
                <a:ext uri="{FF2B5EF4-FFF2-40B4-BE49-F238E27FC236}">
                  <a16:creationId xmlns:a16="http://schemas.microsoft.com/office/drawing/2014/main" id="{BAAD0102-276D-AED5-39F6-FF9E3D666411}"/>
                </a:ext>
              </a:extLst>
            </p:cNvPr>
            <p:cNvSpPr/>
            <p:nvPr/>
          </p:nvSpPr>
          <p:spPr>
            <a:xfrm>
              <a:off x="1969633" y="1815842"/>
              <a:ext cx="2180981" cy="142454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622"/>
                <a:gd name="f7" fmla="val 1117"/>
                <a:gd name="f8" fmla="val 931"/>
                <a:gd name="f9" fmla="val 943"/>
                <a:gd name="f10" fmla="val 973"/>
                <a:gd name="f11" fmla="val 955"/>
                <a:gd name="f12" fmla="val 1075"/>
                <a:gd name="f13" fmla="val 1003"/>
                <a:gd name="f14" fmla="val 1111"/>
                <a:gd name="f15" fmla="val 1081"/>
                <a:gd name="f16" fmla="val 1190"/>
                <a:gd name="f17" fmla="val 1093"/>
                <a:gd name="f18" fmla="val 1232"/>
                <a:gd name="f19" fmla="val 1057"/>
                <a:gd name="f20" fmla="val 1262"/>
                <a:gd name="f21" fmla="val 1051"/>
                <a:gd name="f22" fmla="val 1322"/>
                <a:gd name="f23" fmla="val 1039"/>
                <a:gd name="f24" fmla="val 1370"/>
                <a:gd name="f25" fmla="val 979"/>
                <a:gd name="f26" fmla="val 1394"/>
                <a:gd name="f27" fmla="val 985"/>
                <a:gd name="f28" fmla="val 1406"/>
                <a:gd name="f29" fmla="val 1045"/>
                <a:gd name="f30" fmla="val 1430"/>
                <a:gd name="f31" fmla="val 1027"/>
                <a:gd name="f32" fmla="val 1448"/>
                <a:gd name="f33" fmla="val 1033"/>
                <a:gd name="f34" fmla="val 1436"/>
                <a:gd name="f35" fmla="val 1502"/>
                <a:gd name="f36" fmla="val 1520"/>
                <a:gd name="f37" fmla="val 1009"/>
                <a:gd name="f38" fmla="val 1466"/>
                <a:gd name="f39" fmla="val 1442"/>
                <a:gd name="f40" fmla="val 967"/>
                <a:gd name="f41" fmla="val 1460"/>
                <a:gd name="f42" fmla="val 949"/>
                <a:gd name="f43" fmla="val 925"/>
                <a:gd name="f44" fmla="val 1382"/>
                <a:gd name="f45" fmla="val 1340"/>
                <a:gd name="f46" fmla="val 1358"/>
                <a:gd name="f47" fmla="val 937"/>
                <a:gd name="f48" fmla="val 1400"/>
                <a:gd name="f49" fmla="val 913"/>
                <a:gd name="f50" fmla="val 1424"/>
                <a:gd name="f51" fmla="val 889"/>
                <a:gd name="f52" fmla="val 1496"/>
                <a:gd name="f53" fmla="val 895"/>
                <a:gd name="f54" fmla="val 1550"/>
                <a:gd name="f55" fmla="val 1592"/>
                <a:gd name="f56" fmla="val 859"/>
                <a:gd name="f57" fmla="val 835"/>
                <a:gd name="f58" fmla="val 1598"/>
                <a:gd name="f59" fmla="val 775"/>
                <a:gd name="f60" fmla="val 745"/>
                <a:gd name="f61" fmla="val 1514"/>
                <a:gd name="f62" fmla="val 703"/>
                <a:gd name="f63" fmla="val 679"/>
                <a:gd name="f64" fmla="val 553"/>
                <a:gd name="f65" fmla="val 607"/>
                <a:gd name="f66" fmla="val 1388"/>
                <a:gd name="f67" fmla="val 619"/>
                <a:gd name="f68" fmla="val 1376"/>
                <a:gd name="f69" fmla="val 522"/>
                <a:gd name="f70" fmla="val 516"/>
                <a:gd name="f71" fmla="val 1292"/>
                <a:gd name="f72" fmla="val 474"/>
                <a:gd name="f73" fmla="val 480"/>
                <a:gd name="f74" fmla="val 1226"/>
                <a:gd name="f75" fmla="val 468"/>
                <a:gd name="f76" fmla="val 1202"/>
                <a:gd name="f77" fmla="val 504"/>
                <a:gd name="f78" fmla="val 535"/>
                <a:gd name="f79" fmla="val 1196"/>
                <a:gd name="f80" fmla="val 601"/>
                <a:gd name="f81" fmla="val 625"/>
                <a:gd name="f82" fmla="val 697"/>
                <a:gd name="f83" fmla="val 1166"/>
                <a:gd name="f84" fmla="val 751"/>
                <a:gd name="f85" fmla="val 1178"/>
                <a:gd name="f86" fmla="val 841"/>
                <a:gd name="f87" fmla="val 1154"/>
                <a:gd name="f88" fmla="val 1130"/>
                <a:gd name="f89" fmla="val 847"/>
                <a:gd name="f90" fmla="val 739"/>
                <a:gd name="f91" fmla="val 733"/>
                <a:gd name="f92" fmla="val 667"/>
                <a:gd name="f93" fmla="val 919"/>
                <a:gd name="f94" fmla="val 901"/>
                <a:gd name="f95" fmla="val 613"/>
                <a:gd name="f96" fmla="val 883"/>
                <a:gd name="f97" fmla="val 595"/>
                <a:gd name="f98" fmla="val 450"/>
                <a:gd name="f99" fmla="val 961"/>
                <a:gd name="f100" fmla="val 420"/>
                <a:gd name="f101" fmla="val 991"/>
                <a:gd name="f102" fmla="val 402"/>
                <a:gd name="f103" fmla="val 342"/>
                <a:gd name="f104" fmla="val 294"/>
                <a:gd name="f105" fmla="val 1099"/>
                <a:gd name="f106" fmla="val 282"/>
                <a:gd name="f107" fmla="val 258"/>
                <a:gd name="f108" fmla="val 204"/>
                <a:gd name="f109" fmla="val 1124"/>
                <a:gd name="f110" fmla="val 168"/>
                <a:gd name="f111" fmla="val 138"/>
                <a:gd name="f112" fmla="val 1063"/>
                <a:gd name="f113" fmla="val 132"/>
                <a:gd name="f114" fmla="val 192"/>
                <a:gd name="f115" fmla="val 1015"/>
                <a:gd name="f116" fmla="val 246"/>
                <a:gd name="f117" fmla="val 156"/>
                <a:gd name="f118" fmla="val 186"/>
                <a:gd name="f119" fmla="val 114"/>
                <a:gd name="f120" fmla="val 60"/>
                <a:gd name="f121" fmla="val 877"/>
                <a:gd name="f122" fmla="val 84"/>
                <a:gd name="f123" fmla="val 150"/>
                <a:gd name="f124" fmla="val 865"/>
                <a:gd name="f125" fmla="val 216"/>
                <a:gd name="f126" fmla="val 823"/>
                <a:gd name="f127" fmla="val 811"/>
                <a:gd name="f128" fmla="val 234"/>
                <a:gd name="f129" fmla="val 769"/>
                <a:gd name="f130" fmla="val 222"/>
                <a:gd name="f131" fmla="val 709"/>
                <a:gd name="f132" fmla="val 673"/>
                <a:gd name="f133" fmla="val 198"/>
                <a:gd name="f134" fmla="val 210"/>
                <a:gd name="f135" fmla="val 228"/>
                <a:gd name="f136" fmla="val 631"/>
                <a:gd name="f137" fmla="val 264"/>
                <a:gd name="f138" fmla="val 583"/>
                <a:gd name="f139" fmla="val 517"/>
                <a:gd name="f140" fmla="val 487"/>
                <a:gd name="f141" fmla="val 499"/>
                <a:gd name="f142" fmla="val 457"/>
                <a:gd name="f143" fmla="val 174"/>
                <a:gd name="f144" fmla="val 409"/>
                <a:gd name="f145" fmla="val 343"/>
                <a:gd name="f146" fmla="val 301"/>
                <a:gd name="f147" fmla="val 144"/>
                <a:gd name="f148" fmla="val 259"/>
                <a:gd name="f149" fmla="val 96"/>
                <a:gd name="f150" fmla="val 145"/>
                <a:gd name="f151" fmla="val 115"/>
                <a:gd name="f152" fmla="val 67"/>
                <a:gd name="f153" fmla="val 37"/>
                <a:gd name="f154" fmla="val 126"/>
                <a:gd name="f155" fmla="val 61"/>
                <a:gd name="f156" fmla="val 109"/>
                <a:gd name="f157" fmla="val 559"/>
                <a:gd name="f158" fmla="val 175"/>
                <a:gd name="f159" fmla="val 217"/>
                <a:gd name="f160" fmla="val 211"/>
                <a:gd name="f161" fmla="val 757"/>
                <a:gd name="f162" fmla="val 229"/>
                <a:gd name="f163" fmla="val 793"/>
                <a:gd name="f164" fmla="val 277"/>
                <a:gd name="f165" fmla="val 349"/>
                <a:gd name="f166" fmla="val 871"/>
                <a:gd name="f167" fmla="+- 0 0 -90"/>
                <a:gd name="f168" fmla="*/ f3 1 1622"/>
                <a:gd name="f169" fmla="*/ f4 1 1117"/>
                <a:gd name="f170" fmla="val f5"/>
                <a:gd name="f171" fmla="val f6"/>
                <a:gd name="f172" fmla="val f7"/>
                <a:gd name="f173" fmla="*/ f167 f0 1"/>
                <a:gd name="f174" fmla="+- f172 0 f170"/>
                <a:gd name="f175" fmla="+- f171 0 f170"/>
                <a:gd name="f176" fmla="*/ f173 1 f2"/>
                <a:gd name="f177" fmla="*/ f175 1 1622"/>
                <a:gd name="f178" fmla="*/ f174 1 1117"/>
                <a:gd name="f179" fmla="*/ 2147483646 f175 1"/>
                <a:gd name="f180" fmla="*/ 2147483646 f174 1"/>
                <a:gd name="f181" fmla="*/ 0 f174 1"/>
                <a:gd name="f182" fmla="*/ 0 f175 1"/>
                <a:gd name="f183" fmla="+- f176 0 f1"/>
                <a:gd name="f184" fmla="*/ f179 1 1622"/>
                <a:gd name="f185" fmla="*/ f180 1 1117"/>
                <a:gd name="f186" fmla="*/ f181 1 1117"/>
                <a:gd name="f187" fmla="*/ f182 1 1622"/>
                <a:gd name="f188" fmla="*/ 0 1 f177"/>
                <a:gd name="f189" fmla="*/ f171 1 f177"/>
                <a:gd name="f190" fmla="*/ 0 1 f178"/>
                <a:gd name="f191" fmla="*/ f172 1 f178"/>
                <a:gd name="f192" fmla="*/ f184 1 f177"/>
                <a:gd name="f193" fmla="*/ f185 1 f178"/>
                <a:gd name="f194" fmla="*/ f186 1 f178"/>
                <a:gd name="f195" fmla="*/ f187 1 f177"/>
                <a:gd name="f196" fmla="*/ f188 f168 1"/>
                <a:gd name="f197" fmla="*/ f189 f168 1"/>
                <a:gd name="f198" fmla="*/ f191 f169 1"/>
                <a:gd name="f199" fmla="*/ f190 f169 1"/>
                <a:gd name="f200" fmla="*/ f192 f168 1"/>
                <a:gd name="f201" fmla="*/ f193 f169 1"/>
                <a:gd name="f202" fmla="*/ f194 f169 1"/>
                <a:gd name="f203" fmla="*/ f195 f16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2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3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</a:cxnLst>
              <a:rect l="f196" t="f199" r="f197" b="f198"/>
              <a:pathLst>
                <a:path w="1622" h="1117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4" y="f7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21"/>
                  </a:lnTo>
                  <a:lnTo>
                    <a:pt x="f32" y="f12"/>
                  </a:lnTo>
                  <a:lnTo>
                    <a:pt x="f35" y="f33"/>
                  </a:lnTo>
                  <a:lnTo>
                    <a:pt x="f36" y="f37"/>
                  </a:lnTo>
                  <a:lnTo>
                    <a:pt x="f38" y="f13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38" y="f43"/>
                  </a:lnTo>
                  <a:lnTo>
                    <a:pt x="f44" y="f9"/>
                  </a:lnTo>
                  <a:lnTo>
                    <a:pt x="f45" y="f25"/>
                  </a:lnTo>
                  <a:lnTo>
                    <a:pt x="f46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1"/>
                  </a:lnTo>
                  <a:lnTo>
                    <a:pt x="f55" y="f56"/>
                  </a:lnTo>
                  <a:lnTo>
                    <a:pt x="f6" y="f57"/>
                  </a:lnTo>
                  <a:lnTo>
                    <a:pt x="f58" y="f59"/>
                  </a:lnTo>
                  <a:lnTo>
                    <a:pt x="f55" y="f60"/>
                  </a:lnTo>
                  <a:lnTo>
                    <a:pt x="f61" y="f62"/>
                  </a:lnTo>
                  <a:lnTo>
                    <a:pt x="f61" y="f63"/>
                  </a:lnTo>
                  <a:lnTo>
                    <a:pt x="f32" y="f64"/>
                  </a:lnTo>
                  <a:lnTo>
                    <a:pt x="f30" y="f65"/>
                  </a:lnTo>
                  <a:lnTo>
                    <a:pt x="f66" y="f67"/>
                  </a:lnTo>
                  <a:lnTo>
                    <a:pt x="f68" y="f65"/>
                  </a:lnTo>
                  <a:lnTo>
                    <a:pt x="f46" y="f65"/>
                  </a:lnTo>
                  <a:lnTo>
                    <a:pt x="f46" y="f69"/>
                  </a:lnTo>
                  <a:lnTo>
                    <a:pt x="f22" y="f70"/>
                  </a:lnTo>
                  <a:lnTo>
                    <a:pt x="f71" y="f72"/>
                  </a:lnTo>
                  <a:lnTo>
                    <a:pt x="f20" y="f73"/>
                  </a:lnTo>
                  <a:lnTo>
                    <a:pt x="f74" y="f75"/>
                  </a:lnTo>
                  <a:lnTo>
                    <a:pt x="f76" y="f72"/>
                  </a:lnTo>
                  <a:lnTo>
                    <a:pt x="f76" y="f77"/>
                  </a:lnTo>
                  <a:lnTo>
                    <a:pt x="f76" y="f78"/>
                  </a:lnTo>
                  <a:lnTo>
                    <a:pt x="f79" y="f80"/>
                  </a:lnTo>
                  <a:lnTo>
                    <a:pt x="f16" y="f81"/>
                  </a:lnTo>
                  <a:lnTo>
                    <a:pt x="f74" y="f82"/>
                  </a:lnTo>
                  <a:lnTo>
                    <a:pt x="f83" y="f84"/>
                  </a:lnTo>
                  <a:lnTo>
                    <a:pt x="f85" y="f86"/>
                  </a:lnTo>
                  <a:lnTo>
                    <a:pt x="f87" y="f56"/>
                  </a:lnTo>
                  <a:lnTo>
                    <a:pt x="f88" y="f89"/>
                  </a:lnTo>
                  <a:lnTo>
                    <a:pt x="f7" y="f90"/>
                  </a:lnTo>
                  <a:lnTo>
                    <a:pt x="f19" y="f91"/>
                  </a:lnTo>
                  <a:lnTo>
                    <a:pt x="f9" y="f92"/>
                  </a:lnTo>
                  <a:lnTo>
                    <a:pt x="f93" y="f92"/>
                  </a:lnTo>
                  <a:lnTo>
                    <a:pt x="f94" y="f95"/>
                  </a:lnTo>
                  <a:lnTo>
                    <a:pt x="f96" y="f97"/>
                  </a:lnTo>
                  <a:lnTo>
                    <a:pt x="f8" y="f98"/>
                  </a:lnTo>
                  <a:lnTo>
                    <a:pt x="f99" y="f100"/>
                  </a:lnTo>
                  <a:lnTo>
                    <a:pt x="f101" y="f102"/>
                  </a:lnTo>
                  <a:lnTo>
                    <a:pt x="f37" y="f102"/>
                  </a:lnTo>
                  <a:lnTo>
                    <a:pt x="f31" y="f103"/>
                  </a:lnTo>
                  <a:lnTo>
                    <a:pt x="f23" y="f104"/>
                  </a:lnTo>
                  <a:lnTo>
                    <a:pt x="f105" y="f106"/>
                  </a:lnTo>
                  <a:lnTo>
                    <a:pt x="f88" y="f107"/>
                  </a:lnTo>
                  <a:lnTo>
                    <a:pt x="f14" y="f108"/>
                  </a:lnTo>
                  <a:lnTo>
                    <a:pt x="f109" y="f110"/>
                  </a:lnTo>
                  <a:lnTo>
                    <a:pt x="f105" y="f111"/>
                  </a:lnTo>
                  <a:lnTo>
                    <a:pt x="f112" y="f113"/>
                  </a:lnTo>
                  <a:lnTo>
                    <a:pt x="f21" y="f114"/>
                  </a:lnTo>
                  <a:lnTo>
                    <a:pt x="f115" y="f116"/>
                  </a:lnTo>
                  <a:lnTo>
                    <a:pt x="f13" y="f2"/>
                  </a:lnTo>
                  <a:lnTo>
                    <a:pt x="f27" y="f117"/>
                  </a:lnTo>
                  <a:lnTo>
                    <a:pt x="f99" y="f118"/>
                  </a:lnTo>
                  <a:lnTo>
                    <a:pt x="f42" y="f117"/>
                  </a:lnTo>
                  <a:lnTo>
                    <a:pt x="f43" y="f119"/>
                  </a:lnTo>
                  <a:lnTo>
                    <a:pt x="f49" y="f120"/>
                  </a:lnTo>
                  <a:lnTo>
                    <a:pt x="f121" y="f5"/>
                  </a:lnTo>
                  <a:lnTo>
                    <a:pt x="f89" y="f122"/>
                  </a:lnTo>
                  <a:lnTo>
                    <a:pt x="f89" y="f119"/>
                  </a:lnTo>
                  <a:lnTo>
                    <a:pt x="f51" y="f123"/>
                  </a:lnTo>
                  <a:lnTo>
                    <a:pt x="f53" y="f118"/>
                  </a:lnTo>
                  <a:lnTo>
                    <a:pt x="f124" y="f125"/>
                  </a:lnTo>
                  <a:lnTo>
                    <a:pt x="f89" y="f108"/>
                  </a:lnTo>
                  <a:lnTo>
                    <a:pt x="f126" y="f108"/>
                  </a:lnTo>
                  <a:lnTo>
                    <a:pt x="f127" y="f128"/>
                  </a:lnTo>
                  <a:lnTo>
                    <a:pt x="f129" y="f130"/>
                  </a:lnTo>
                  <a:lnTo>
                    <a:pt x="f131" y="f130"/>
                  </a:lnTo>
                  <a:lnTo>
                    <a:pt x="f132" y="f133"/>
                  </a:lnTo>
                  <a:lnTo>
                    <a:pt x="f67" y="f134"/>
                  </a:lnTo>
                  <a:lnTo>
                    <a:pt x="f81" y="f135"/>
                  </a:lnTo>
                  <a:lnTo>
                    <a:pt x="f136" y="f137"/>
                  </a:lnTo>
                  <a:lnTo>
                    <a:pt x="f95" y="f107"/>
                  </a:lnTo>
                  <a:lnTo>
                    <a:pt x="f138" y="f130"/>
                  </a:lnTo>
                  <a:lnTo>
                    <a:pt x="f139" y="f128"/>
                  </a:lnTo>
                  <a:lnTo>
                    <a:pt x="f140" y="f134"/>
                  </a:lnTo>
                  <a:lnTo>
                    <a:pt x="f141" y="f118"/>
                  </a:lnTo>
                  <a:lnTo>
                    <a:pt x="f142" y="f143"/>
                  </a:lnTo>
                  <a:lnTo>
                    <a:pt x="f144" y="f123"/>
                  </a:lnTo>
                  <a:lnTo>
                    <a:pt x="f145" y="f113"/>
                  </a:lnTo>
                  <a:lnTo>
                    <a:pt x="f146" y="f147"/>
                  </a:lnTo>
                  <a:lnTo>
                    <a:pt x="f148" y="f149"/>
                  </a:lnTo>
                  <a:lnTo>
                    <a:pt x="f150" y="f123"/>
                  </a:lnTo>
                  <a:lnTo>
                    <a:pt x="f151" y="f2"/>
                  </a:lnTo>
                  <a:lnTo>
                    <a:pt x="f152" y="f110"/>
                  </a:lnTo>
                  <a:lnTo>
                    <a:pt x="f153" y="f111"/>
                  </a:lnTo>
                  <a:lnTo>
                    <a:pt x="f5" y="f154"/>
                  </a:lnTo>
                  <a:lnTo>
                    <a:pt x="f5" y="f64"/>
                  </a:lnTo>
                  <a:lnTo>
                    <a:pt x="f155" y="f138"/>
                  </a:lnTo>
                  <a:lnTo>
                    <a:pt x="f156" y="f157"/>
                  </a:lnTo>
                  <a:lnTo>
                    <a:pt x="f158" y="f63"/>
                  </a:lnTo>
                  <a:lnTo>
                    <a:pt x="f159" y="f131"/>
                  </a:lnTo>
                  <a:lnTo>
                    <a:pt x="f160" y="f161"/>
                  </a:lnTo>
                  <a:lnTo>
                    <a:pt x="f162" y="f163"/>
                  </a:lnTo>
                  <a:lnTo>
                    <a:pt x="f164" y="f56"/>
                  </a:lnTo>
                  <a:lnTo>
                    <a:pt x="f145" y="f94"/>
                  </a:lnTo>
                  <a:lnTo>
                    <a:pt x="f165" y="f8"/>
                  </a:lnTo>
                  <a:lnTo>
                    <a:pt x="f166" y="f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3" name="Freeform 399">
              <a:extLst>
                <a:ext uri="{FF2B5EF4-FFF2-40B4-BE49-F238E27FC236}">
                  <a16:creationId xmlns:a16="http://schemas.microsoft.com/office/drawing/2014/main" id="{B1401199-7BF3-9D12-1BC9-7C2E540A35DC}"/>
                </a:ext>
              </a:extLst>
            </p:cNvPr>
            <p:cNvSpPr/>
            <p:nvPr/>
          </p:nvSpPr>
          <p:spPr>
            <a:xfrm>
              <a:off x="2381324" y="3002184"/>
              <a:ext cx="1476865" cy="72705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99"/>
                <a:gd name="f7" fmla="val 571"/>
                <a:gd name="f8" fmla="val 252"/>
                <a:gd name="f9" fmla="val 439"/>
                <a:gd name="f10" fmla="val 300"/>
                <a:gd name="f11" fmla="val 318"/>
                <a:gd name="f12" fmla="val 427"/>
                <a:gd name="f13" fmla="val 348"/>
                <a:gd name="f14" fmla="val 433"/>
                <a:gd name="f15" fmla="val 396"/>
                <a:gd name="f16" fmla="val 487"/>
                <a:gd name="f17" fmla="val 432"/>
                <a:gd name="f18" fmla="val 475"/>
                <a:gd name="f19" fmla="val 456"/>
                <a:gd name="f20" fmla="val 493"/>
                <a:gd name="f21" fmla="val 474"/>
                <a:gd name="f22" fmla="val 523"/>
                <a:gd name="f23" fmla="val 498"/>
                <a:gd name="f24" fmla="val 547"/>
                <a:gd name="f25" fmla="val 528"/>
                <a:gd name="f26" fmla="val 553"/>
                <a:gd name="f27" fmla="val 511"/>
                <a:gd name="f28" fmla="val 552"/>
                <a:gd name="f29" fmla="val 570"/>
                <a:gd name="f30" fmla="val 469"/>
                <a:gd name="f31" fmla="val 630"/>
                <a:gd name="f32" fmla="val 666"/>
                <a:gd name="f33" fmla="val 714"/>
                <a:gd name="f34" fmla="val 463"/>
                <a:gd name="f35" fmla="val 744"/>
                <a:gd name="f36" fmla="val 774"/>
                <a:gd name="f37" fmla="val 457"/>
                <a:gd name="f38" fmla="val 780"/>
                <a:gd name="f39" fmla="val 792"/>
                <a:gd name="f40" fmla="val 529"/>
                <a:gd name="f41" fmla="val 829"/>
                <a:gd name="f42" fmla="val 565"/>
                <a:gd name="f43" fmla="val 847"/>
                <a:gd name="f44" fmla="val 841"/>
                <a:gd name="f45" fmla="val 817"/>
                <a:gd name="f46" fmla="val 445"/>
                <a:gd name="f47" fmla="val 409"/>
                <a:gd name="f48" fmla="val 877"/>
                <a:gd name="f49" fmla="val 397"/>
                <a:gd name="f50" fmla="val 931"/>
                <a:gd name="f51" fmla="val 343"/>
                <a:gd name="f52" fmla="val 925"/>
                <a:gd name="f53" fmla="val 307"/>
                <a:gd name="f54" fmla="val 919"/>
                <a:gd name="f55" fmla="val 271"/>
                <a:gd name="f56" fmla="val 937"/>
                <a:gd name="f57" fmla="val 283"/>
                <a:gd name="f58" fmla="val 943"/>
                <a:gd name="f59" fmla="val 277"/>
                <a:gd name="f60" fmla="val 253"/>
                <a:gd name="f61" fmla="val 949"/>
                <a:gd name="f62" fmla="val 967"/>
                <a:gd name="f63" fmla="val 247"/>
                <a:gd name="f64" fmla="val 979"/>
                <a:gd name="f65" fmla="val 217"/>
                <a:gd name="f66" fmla="val 1003"/>
                <a:gd name="f67" fmla="val 211"/>
                <a:gd name="f68" fmla="val 1039"/>
                <a:gd name="f69" fmla="val 193"/>
                <a:gd name="f70" fmla="val 144"/>
                <a:gd name="f71" fmla="val 114"/>
                <a:gd name="f72" fmla="val 1087"/>
                <a:gd name="f73" fmla="val 54"/>
                <a:gd name="f74" fmla="val 1063"/>
                <a:gd name="f75" fmla="val 48"/>
                <a:gd name="f76" fmla="val 1015"/>
                <a:gd name="f77" fmla="val 108"/>
                <a:gd name="f78" fmla="val 955"/>
                <a:gd name="f79" fmla="val 120"/>
                <a:gd name="f80" fmla="val 126"/>
                <a:gd name="f81" fmla="val 883"/>
                <a:gd name="f82" fmla="val 162"/>
                <a:gd name="f83" fmla="val 804"/>
                <a:gd name="f84" fmla="val 186"/>
                <a:gd name="f85" fmla="val 150"/>
                <a:gd name="f86" fmla="val 768"/>
                <a:gd name="f87" fmla="val 72"/>
                <a:gd name="f88" fmla="val 24"/>
                <a:gd name="f89" fmla="val 624"/>
                <a:gd name="f90" fmla="val 12"/>
                <a:gd name="f91" fmla="val 564"/>
                <a:gd name="f92" fmla="val 42"/>
                <a:gd name="f93" fmla="val 36"/>
                <a:gd name="f94" fmla="val 30"/>
                <a:gd name="f95" fmla="val 18"/>
                <a:gd name="f96" fmla="val 78"/>
                <a:gd name="f97" fmla="val 174"/>
                <a:gd name="f98" fmla="val 235"/>
                <a:gd name="f99" fmla="val 295"/>
                <a:gd name="f100" fmla="val 66"/>
                <a:gd name="f101" fmla="val 337"/>
                <a:gd name="f102" fmla="val 84"/>
                <a:gd name="f103" fmla="val 367"/>
                <a:gd name="f104" fmla="val 138"/>
                <a:gd name="f105" fmla="val 403"/>
                <a:gd name="f106" fmla="val 415"/>
                <a:gd name="f107" fmla="val 192"/>
                <a:gd name="f108" fmla="+- 0 0 -90"/>
                <a:gd name="f109" fmla="*/ f3 1 1099"/>
                <a:gd name="f110" fmla="*/ f4 1 571"/>
                <a:gd name="f111" fmla="val f5"/>
                <a:gd name="f112" fmla="val f6"/>
                <a:gd name="f113" fmla="val f7"/>
                <a:gd name="f114" fmla="*/ f108 f0 1"/>
                <a:gd name="f115" fmla="+- f113 0 f111"/>
                <a:gd name="f116" fmla="+- f112 0 f111"/>
                <a:gd name="f117" fmla="*/ f114 1 f2"/>
                <a:gd name="f118" fmla="*/ f116 1 1099"/>
                <a:gd name="f119" fmla="*/ f115 1 571"/>
                <a:gd name="f120" fmla="*/ 2147483646 f116 1"/>
                <a:gd name="f121" fmla="*/ 2147483646 f115 1"/>
                <a:gd name="f122" fmla="*/ 0 f115 1"/>
                <a:gd name="f123" fmla="*/ 0 f116 1"/>
                <a:gd name="f124" fmla="+- f117 0 f1"/>
                <a:gd name="f125" fmla="*/ f120 1 1099"/>
                <a:gd name="f126" fmla="*/ f121 1 571"/>
                <a:gd name="f127" fmla="*/ f122 1 571"/>
                <a:gd name="f128" fmla="*/ f123 1 1099"/>
                <a:gd name="f129" fmla="*/ 0 1 f118"/>
                <a:gd name="f130" fmla="*/ f112 1 f118"/>
                <a:gd name="f131" fmla="*/ 0 1 f119"/>
                <a:gd name="f132" fmla="*/ f113 1 f119"/>
                <a:gd name="f133" fmla="*/ f125 1 f118"/>
                <a:gd name="f134" fmla="*/ f126 1 f119"/>
                <a:gd name="f135" fmla="*/ f127 1 f119"/>
                <a:gd name="f136" fmla="*/ f128 1 f118"/>
                <a:gd name="f137" fmla="*/ f129 f109 1"/>
                <a:gd name="f138" fmla="*/ f130 f109 1"/>
                <a:gd name="f139" fmla="*/ f132 f110 1"/>
                <a:gd name="f140" fmla="*/ f131 f110 1"/>
                <a:gd name="f141" fmla="*/ f133 f109 1"/>
                <a:gd name="f142" fmla="*/ f134 f110 1"/>
                <a:gd name="f143" fmla="*/ f135 f110 1"/>
                <a:gd name="f144" fmla="*/ f136 f10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3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4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</a:cxnLst>
              <a:rect l="f137" t="f140" r="f138" b="f139"/>
              <a:pathLst>
                <a:path w="1099" h="571">
                  <a:moveTo>
                    <a:pt x="f8" y="f9"/>
                  </a:moveTo>
                  <a:lnTo>
                    <a:pt x="f10" y="f9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5" y="f27"/>
                  </a:lnTo>
                  <a:lnTo>
                    <a:pt x="f28" y="f16"/>
                  </a:lnTo>
                  <a:lnTo>
                    <a:pt x="f29" y="f30"/>
                  </a:lnTo>
                  <a:lnTo>
                    <a:pt x="f31" y="f18"/>
                  </a:lnTo>
                  <a:lnTo>
                    <a:pt x="f32" y="f18"/>
                  </a:lnTo>
                  <a:lnTo>
                    <a:pt x="f33" y="f34"/>
                  </a:lnTo>
                  <a:lnTo>
                    <a:pt x="f35" y="f34"/>
                  </a:lnTo>
                  <a:lnTo>
                    <a:pt x="f36" y="f37"/>
                  </a:lnTo>
                  <a:lnTo>
                    <a:pt x="f38" y="f16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43" y="f7"/>
                  </a:lnTo>
                  <a:lnTo>
                    <a:pt x="f44" y="f27"/>
                  </a:lnTo>
                  <a:lnTo>
                    <a:pt x="f45" y="f46"/>
                  </a:lnTo>
                  <a:lnTo>
                    <a:pt x="f43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56" y="f60"/>
                  </a:lnTo>
                  <a:lnTo>
                    <a:pt x="f61" y="f60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68" y="f70"/>
                  </a:lnTo>
                  <a:lnTo>
                    <a:pt x="f6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78" y="f79"/>
                  </a:lnTo>
                  <a:lnTo>
                    <a:pt x="f52" y="f80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83" y="f85"/>
                  </a:lnTo>
                  <a:lnTo>
                    <a:pt x="f86" y="f87"/>
                  </a:lnTo>
                  <a:lnTo>
                    <a:pt x="f32" y="f88"/>
                  </a:lnTo>
                  <a:lnTo>
                    <a:pt x="f89" y="f90"/>
                  </a:lnTo>
                  <a:lnTo>
                    <a:pt x="f91" y="f5"/>
                  </a:lnTo>
                  <a:lnTo>
                    <a:pt x="f92" y="f5"/>
                  </a:lnTo>
                  <a:lnTo>
                    <a:pt x="f75" y="f93"/>
                  </a:lnTo>
                  <a:lnTo>
                    <a:pt x="f94" y="f75"/>
                  </a:lnTo>
                  <a:lnTo>
                    <a:pt x="f93" y="f88"/>
                  </a:lnTo>
                  <a:lnTo>
                    <a:pt x="f5" y="f90"/>
                  </a:lnTo>
                  <a:lnTo>
                    <a:pt x="f95" y="f96"/>
                  </a:lnTo>
                  <a:lnTo>
                    <a:pt x="f90" y="f80"/>
                  </a:lnTo>
                  <a:lnTo>
                    <a:pt x="f5" y="f97"/>
                  </a:lnTo>
                  <a:lnTo>
                    <a:pt x="f90" y="f67"/>
                  </a:lnTo>
                  <a:lnTo>
                    <a:pt x="f90" y="f98"/>
                  </a:lnTo>
                  <a:lnTo>
                    <a:pt x="f92" y="f99"/>
                  </a:lnTo>
                  <a:lnTo>
                    <a:pt x="f100" y="f101"/>
                  </a:lnTo>
                  <a:lnTo>
                    <a:pt x="f102" y="f103"/>
                  </a:lnTo>
                  <a:lnTo>
                    <a:pt x="f104" y="f105"/>
                  </a:lnTo>
                  <a:lnTo>
                    <a:pt x="f70" y="f106"/>
                  </a:lnTo>
                  <a:lnTo>
                    <a:pt x="f107" y="f4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84" name="Group 1083">
              <a:extLst>
                <a:ext uri="{FF2B5EF4-FFF2-40B4-BE49-F238E27FC236}">
                  <a16:creationId xmlns:a16="http://schemas.microsoft.com/office/drawing/2014/main" id="{2B3568E0-DD15-6398-2E98-DB50D99059D8}"/>
                </a:ext>
              </a:extLst>
            </p:cNvPr>
            <p:cNvGrpSpPr/>
            <p:nvPr/>
          </p:nvGrpSpPr>
          <p:grpSpPr>
            <a:xfrm>
              <a:off x="5464132" y="2591171"/>
              <a:ext cx="258125" cy="361197"/>
              <a:chOff x="5464125" y="2495050"/>
              <a:chExt cx="258125" cy="361197"/>
            </a:xfrm>
          </p:grpSpPr>
          <p:sp>
            <p:nvSpPr>
              <p:cNvPr id="1415" name="Freeform 454">
                <a:extLst>
                  <a:ext uri="{FF2B5EF4-FFF2-40B4-BE49-F238E27FC236}">
                    <a16:creationId xmlns:a16="http://schemas.microsoft.com/office/drawing/2014/main" id="{D8CC454D-670C-8972-81CA-67B90D7DACFD}"/>
                  </a:ext>
                </a:extLst>
              </p:cNvPr>
              <p:cNvSpPr/>
              <p:nvPr/>
            </p:nvSpPr>
            <p:spPr>
              <a:xfrm>
                <a:off x="5528169" y="2495050"/>
                <a:ext cx="194081" cy="36119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4"/>
                  <a:gd name="f7" fmla="val 47"/>
                  <a:gd name="f8" fmla="val 3"/>
                  <a:gd name="f9" fmla="val 37"/>
                  <a:gd name="f10" fmla="val 6"/>
                  <a:gd name="f11" fmla="val 35"/>
                  <a:gd name="f12" fmla="val 33"/>
                  <a:gd name="f13" fmla="val 4"/>
                  <a:gd name="f14" fmla="val 30"/>
                  <a:gd name="f15" fmla="val 10"/>
                  <a:gd name="f16" fmla="val 29"/>
                  <a:gd name="f17" fmla="val 9"/>
                  <a:gd name="f18" fmla="val 26"/>
                  <a:gd name="f19" fmla="val 25"/>
                  <a:gd name="f20" fmla="val 8"/>
                  <a:gd name="f21" fmla="val 23"/>
                  <a:gd name="f22" fmla="val 22"/>
                  <a:gd name="f23" fmla="val 5"/>
                  <a:gd name="f24" fmla="val 20"/>
                  <a:gd name="f25" fmla="val 16"/>
                  <a:gd name="f26" fmla="val 2"/>
                  <a:gd name="f27" fmla="val 1"/>
                  <a:gd name="f28" fmla="val 18"/>
                  <a:gd name="f29" fmla="val 17"/>
                  <a:gd name="f30" fmla="val 15"/>
                  <a:gd name="f31" fmla="val 13"/>
                  <a:gd name="f32" fmla="val 11"/>
                  <a:gd name="f33" fmla="val 7"/>
                  <a:gd name="f34" fmla="val 12"/>
                  <a:gd name="f35" fmla="val 14"/>
                  <a:gd name="f36" fmla="val 28"/>
                  <a:gd name="f37" fmla="val 19"/>
                  <a:gd name="f38" fmla="val 32"/>
                  <a:gd name="f39" fmla="val 21"/>
                  <a:gd name="f40" fmla="val 36"/>
                  <a:gd name="f41" fmla="val 39"/>
                  <a:gd name="f42" fmla="val 40"/>
                  <a:gd name="f43" fmla="val 41"/>
                  <a:gd name="f44" fmla="val 43"/>
                  <a:gd name="f45" fmla="val 44"/>
                  <a:gd name="f46" fmla="val 45"/>
                  <a:gd name="f47" fmla="val 46"/>
                  <a:gd name="f48" fmla="val 42"/>
                  <a:gd name="f49" fmla="val 38"/>
                  <a:gd name="f50" fmla="+- 0 0 -90"/>
                  <a:gd name="f51" fmla="*/ f3 1 24"/>
                  <a:gd name="f52" fmla="*/ f4 1 47"/>
                  <a:gd name="f53" fmla="val f5"/>
                  <a:gd name="f54" fmla="val f6"/>
                  <a:gd name="f55" fmla="val f7"/>
                  <a:gd name="f56" fmla="*/ f50 f0 1"/>
                  <a:gd name="f57" fmla="+- f55 0 f53"/>
                  <a:gd name="f58" fmla="+- f54 0 f53"/>
                  <a:gd name="f59" fmla="*/ f56 1 f2"/>
                  <a:gd name="f60" fmla="*/ f58 1 24"/>
                  <a:gd name="f61" fmla="*/ f57 1 47"/>
                  <a:gd name="f62" fmla="*/ 2265696 f58 1"/>
                  <a:gd name="f63" fmla="*/ 11636360 f57 1"/>
                  <a:gd name="f64" fmla="*/ 1548613 f58 1"/>
                  <a:gd name="f65" fmla="*/ 10984915 f57 1"/>
                  <a:gd name="f66" fmla="*/ 3815242 f58 1"/>
                  <a:gd name="f67" fmla="*/ 9628014 f57 1"/>
                  <a:gd name="f68" fmla="*/ 3443575 f58 1"/>
                  <a:gd name="f69" fmla="*/ 8328599 f57 1"/>
                  <a:gd name="f70" fmla="*/ 3008975 f58 1"/>
                  <a:gd name="f71" fmla="*/ 7283639 f57 1"/>
                  <a:gd name="f72" fmla="*/ 1177883 f58 1"/>
                  <a:gd name="f73" fmla="*/ 5335900 f57 1"/>
                  <a:gd name="f74" fmla="*/ 371667 f58 1"/>
                  <a:gd name="f75" fmla="*/ 5983953 f57 1"/>
                  <a:gd name="f76" fmla="*/ 0 f58 1"/>
                  <a:gd name="f77" fmla="*/ 4290936 f57 1"/>
                  <a:gd name="f78" fmla="*/ 2675083 f57 1"/>
                  <a:gd name="f79" fmla="*/ 1299416 f57 1"/>
                  <a:gd name="f80" fmla="*/ 1920279 f58 1"/>
                  <a:gd name="f81" fmla="*/ 0 f57 1"/>
                  <a:gd name="f82" fmla="*/ 316438 f57 1"/>
                  <a:gd name="f83" fmla="*/ 2637292 f58 1"/>
                  <a:gd name="f84" fmla="*/ 2028208 f57 1"/>
                  <a:gd name="f85" fmla="*/ 4907846 f58 1"/>
                  <a:gd name="f86" fmla="*/ 4185992 f58 1"/>
                  <a:gd name="f87" fmla="*/ 3644078 f57 1"/>
                  <a:gd name="f88" fmla="*/ 5019458 f57 1"/>
                  <a:gd name="f89" fmla="*/ 5652403 f57 1"/>
                  <a:gd name="f90" fmla="*/ 6452554 f58 1"/>
                  <a:gd name="f91" fmla="*/ 8012161 f57 1"/>
                  <a:gd name="f92" fmla="*/ 7174704 f58 1"/>
                  <a:gd name="f93" fmla="*/ 10591397 f57 1"/>
                  <a:gd name="f94" fmla="*/ 8723388 f58 1"/>
                  <a:gd name="f95" fmla="*/ 8351425 f58 1"/>
                  <a:gd name="f96" fmla="*/ 12936043 f57 1"/>
                  <a:gd name="f97" fmla="*/ 9094983 f58 1"/>
                  <a:gd name="f98" fmla="*/ 13252214 f57 1"/>
                  <a:gd name="f99" fmla="*/ 14312535 f57 1"/>
                  <a:gd name="f100" fmla="*/ 14628977 f57 1"/>
                  <a:gd name="f101" fmla="*/ 14963980 f57 1"/>
                  <a:gd name="f102" fmla="*/ 15280422 f57 1"/>
                  <a:gd name="f103" fmla="*/ 13899088 f57 1"/>
                  <a:gd name="f104" fmla="*/ 12619535 f57 1"/>
                  <a:gd name="f105" fmla="*/ 12284331 f57 1"/>
                  <a:gd name="f106" fmla="+- f59 0 f1"/>
                  <a:gd name="f107" fmla="*/ f62 1 24"/>
                  <a:gd name="f108" fmla="*/ f63 1 47"/>
                  <a:gd name="f109" fmla="*/ f64 1 24"/>
                  <a:gd name="f110" fmla="*/ f65 1 47"/>
                  <a:gd name="f111" fmla="*/ f66 1 24"/>
                  <a:gd name="f112" fmla="*/ f67 1 47"/>
                  <a:gd name="f113" fmla="*/ f68 1 24"/>
                  <a:gd name="f114" fmla="*/ f69 1 47"/>
                  <a:gd name="f115" fmla="*/ f70 1 24"/>
                  <a:gd name="f116" fmla="*/ f71 1 47"/>
                  <a:gd name="f117" fmla="*/ f72 1 24"/>
                  <a:gd name="f118" fmla="*/ f73 1 47"/>
                  <a:gd name="f119" fmla="*/ f74 1 24"/>
                  <a:gd name="f120" fmla="*/ f75 1 47"/>
                  <a:gd name="f121" fmla="*/ f76 1 24"/>
                  <a:gd name="f122" fmla="*/ f77 1 47"/>
                  <a:gd name="f123" fmla="*/ f78 1 47"/>
                  <a:gd name="f124" fmla="*/ f79 1 47"/>
                  <a:gd name="f125" fmla="*/ f80 1 24"/>
                  <a:gd name="f126" fmla="*/ f81 1 47"/>
                  <a:gd name="f127" fmla="*/ f82 1 47"/>
                  <a:gd name="f128" fmla="*/ f83 1 24"/>
                  <a:gd name="f129" fmla="*/ f84 1 47"/>
                  <a:gd name="f130" fmla="*/ f85 1 24"/>
                  <a:gd name="f131" fmla="*/ f86 1 24"/>
                  <a:gd name="f132" fmla="*/ f87 1 47"/>
                  <a:gd name="f133" fmla="*/ f88 1 47"/>
                  <a:gd name="f134" fmla="*/ f89 1 47"/>
                  <a:gd name="f135" fmla="*/ f90 1 24"/>
                  <a:gd name="f136" fmla="*/ f91 1 47"/>
                  <a:gd name="f137" fmla="*/ f92 1 24"/>
                  <a:gd name="f138" fmla="*/ f93 1 47"/>
                  <a:gd name="f139" fmla="*/ f94 1 24"/>
                  <a:gd name="f140" fmla="*/ f95 1 24"/>
                  <a:gd name="f141" fmla="*/ f96 1 47"/>
                  <a:gd name="f142" fmla="*/ f97 1 24"/>
                  <a:gd name="f143" fmla="*/ f98 1 47"/>
                  <a:gd name="f144" fmla="*/ f99 1 47"/>
                  <a:gd name="f145" fmla="*/ f100 1 47"/>
                  <a:gd name="f146" fmla="*/ f101 1 47"/>
                  <a:gd name="f147" fmla="*/ f102 1 47"/>
                  <a:gd name="f148" fmla="*/ f103 1 47"/>
                  <a:gd name="f149" fmla="*/ f104 1 47"/>
                  <a:gd name="f150" fmla="*/ f105 1 47"/>
                  <a:gd name="f151" fmla="*/ 0 1 f60"/>
                  <a:gd name="f152" fmla="*/ f54 1 f60"/>
                  <a:gd name="f153" fmla="*/ 0 1 f61"/>
                  <a:gd name="f154" fmla="*/ f55 1 f61"/>
                  <a:gd name="f155" fmla="*/ f107 1 f60"/>
                  <a:gd name="f156" fmla="*/ f108 1 f61"/>
                  <a:gd name="f157" fmla="*/ f109 1 f60"/>
                  <a:gd name="f158" fmla="*/ f110 1 f61"/>
                  <a:gd name="f159" fmla="*/ f111 1 f60"/>
                  <a:gd name="f160" fmla="*/ f112 1 f61"/>
                  <a:gd name="f161" fmla="*/ f113 1 f60"/>
                  <a:gd name="f162" fmla="*/ f114 1 f61"/>
                  <a:gd name="f163" fmla="*/ f115 1 f60"/>
                  <a:gd name="f164" fmla="*/ f116 1 f61"/>
                  <a:gd name="f165" fmla="*/ f117 1 f60"/>
                  <a:gd name="f166" fmla="*/ f118 1 f61"/>
                  <a:gd name="f167" fmla="*/ f119 1 f60"/>
                  <a:gd name="f168" fmla="*/ f120 1 f61"/>
                  <a:gd name="f169" fmla="*/ f121 1 f60"/>
                  <a:gd name="f170" fmla="*/ f122 1 f61"/>
                  <a:gd name="f171" fmla="*/ f123 1 f61"/>
                  <a:gd name="f172" fmla="*/ f124 1 f61"/>
                  <a:gd name="f173" fmla="*/ f125 1 f60"/>
                  <a:gd name="f174" fmla="*/ f126 1 f61"/>
                  <a:gd name="f175" fmla="*/ f127 1 f61"/>
                  <a:gd name="f176" fmla="*/ f128 1 f60"/>
                  <a:gd name="f177" fmla="*/ f129 1 f61"/>
                  <a:gd name="f178" fmla="*/ f130 1 f60"/>
                  <a:gd name="f179" fmla="*/ f131 1 f60"/>
                  <a:gd name="f180" fmla="*/ f132 1 f61"/>
                  <a:gd name="f181" fmla="*/ f133 1 f61"/>
                  <a:gd name="f182" fmla="*/ f134 1 f61"/>
                  <a:gd name="f183" fmla="*/ f135 1 f60"/>
                  <a:gd name="f184" fmla="*/ f136 1 f61"/>
                  <a:gd name="f185" fmla="*/ f137 1 f60"/>
                  <a:gd name="f186" fmla="*/ f138 1 f61"/>
                  <a:gd name="f187" fmla="*/ f139 1 f60"/>
                  <a:gd name="f188" fmla="*/ f140 1 f60"/>
                  <a:gd name="f189" fmla="*/ f141 1 f61"/>
                  <a:gd name="f190" fmla="*/ f142 1 f60"/>
                  <a:gd name="f191" fmla="*/ f143 1 f61"/>
                  <a:gd name="f192" fmla="*/ f144 1 f61"/>
                  <a:gd name="f193" fmla="*/ f145 1 f61"/>
                  <a:gd name="f194" fmla="*/ f146 1 f61"/>
                  <a:gd name="f195" fmla="*/ f147 1 f61"/>
                  <a:gd name="f196" fmla="*/ f148 1 f61"/>
                  <a:gd name="f197" fmla="*/ f149 1 f61"/>
                  <a:gd name="f198" fmla="*/ f150 1 f61"/>
                  <a:gd name="f199" fmla="*/ f151 f51 1"/>
                  <a:gd name="f200" fmla="*/ f152 f51 1"/>
                  <a:gd name="f201" fmla="*/ f154 f52 1"/>
                  <a:gd name="f202" fmla="*/ f153 f52 1"/>
                  <a:gd name="f203" fmla="*/ f155 f51 1"/>
                  <a:gd name="f204" fmla="*/ f156 f52 1"/>
                  <a:gd name="f205" fmla="*/ f157 f51 1"/>
                  <a:gd name="f206" fmla="*/ f158 f52 1"/>
                  <a:gd name="f207" fmla="*/ f159 f51 1"/>
                  <a:gd name="f208" fmla="*/ f160 f52 1"/>
                  <a:gd name="f209" fmla="*/ f161 f51 1"/>
                  <a:gd name="f210" fmla="*/ f162 f52 1"/>
                  <a:gd name="f211" fmla="*/ f163 f51 1"/>
                  <a:gd name="f212" fmla="*/ f164 f52 1"/>
                  <a:gd name="f213" fmla="*/ f165 f51 1"/>
                  <a:gd name="f214" fmla="*/ f166 f52 1"/>
                  <a:gd name="f215" fmla="*/ f167 f51 1"/>
                  <a:gd name="f216" fmla="*/ f168 f52 1"/>
                  <a:gd name="f217" fmla="*/ f169 f51 1"/>
                  <a:gd name="f218" fmla="*/ f170 f52 1"/>
                  <a:gd name="f219" fmla="*/ f171 f52 1"/>
                  <a:gd name="f220" fmla="*/ f172 f52 1"/>
                  <a:gd name="f221" fmla="*/ f173 f51 1"/>
                  <a:gd name="f222" fmla="*/ f174 f52 1"/>
                  <a:gd name="f223" fmla="*/ f175 f52 1"/>
                  <a:gd name="f224" fmla="*/ f176 f51 1"/>
                  <a:gd name="f225" fmla="*/ f177 f52 1"/>
                  <a:gd name="f226" fmla="*/ f178 f51 1"/>
                  <a:gd name="f227" fmla="*/ f179 f51 1"/>
                  <a:gd name="f228" fmla="*/ f180 f52 1"/>
                  <a:gd name="f229" fmla="*/ f181 f52 1"/>
                  <a:gd name="f230" fmla="*/ f182 f52 1"/>
                  <a:gd name="f231" fmla="*/ f183 f51 1"/>
                  <a:gd name="f232" fmla="*/ f184 f52 1"/>
                  <a:gd name="f233" fmla="*/ f185 f51 1"/>
                  <a:gd name="f234" fmla="*/ f186 f52 1"/>
                  <a:gd name="f235" fmla="*/ f187 f51 1"/>
                  <a:gd name="f236" fmla="*/ f188 f51 1"/>
                  <a:gd name="f237" fmla="*/ f189 f52 1"/>
                  <a:gd name="f238" fmla="*/ f190 f51 1"/>
                  <a:gd name="f239" fmla="*/ f191 f52 1"/>
                  <a:gd name="f240" fmla="*/ f192 f52 1"/>
                  <a:gd name="f241" fmla="*/ f193 f52 1"/>
                  <a:gd name="f242" fmla="*/ f194 f52 1"/>
                  <a:gd name="f243" fmla="*/ f195 f52 1"/>
                  <a:gd name="f244" fmla="*/ f196 f52 1"/>
                  <a:gd name="f245" fmla="*/ f197 f52 1"/>
                  <a:gd name="f246" fmla="*/ f198 f5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06">
                    <a:pos x="f203" y="f204"/>
                  </a:cxn>
                  <a:cxn ang="f106">
                    <a:pos x="f205" y="f206"/>
                  </a:cxn>
                  <a:cxn ang="f106">
                    <a:pos x="f207" y="f208"/>
                  </a:cxn>
                  <a:cxn ang="f106">
                    <a:pos x="f209" y="f210"/>
                  </a:cxn>
                  <a:cxn ang="f106">
                    <a:pos x="f211" y="f212"/>
                  </a:cxn>
                  <a:cxn ang="f106">
                    <a:pos x="f213" y="f212"/>
                  </a:cxn>
                  <a:cxn ang="f106">
                    <a:pos x="f205" y="f214"/>
                  </a:cxn>
                  <a:cxn ang="f106">
                    <a:pos x="f215" y="f216"/>
                  </a:cxn>
                  <a:cxn ang="f106">
                    <a:pos x="f217" y="f218"/>
                  </a:cxn>
                  <a:cxn ang="f106">
                    <a:pos x="f217" y="f219"/>
                  </a:cxn>
                  <a:cxn ang="f106">
                    <a:pos x="f215" y="f220"/>
                  </a:cxn>
                  <a:cxn ang="f106">
                    <a:pos x="f221" y="f222"/>
                  </a:cxn>
                  <a:cxn ang="f106">
                    <a:pos x="f211" y="f223"/>
                  </a:cxn>
                  <a:cxn ang="f106">
                    <a:pos x="f224" y="f225"/>
                  </a:cxn>
                  <a:cxn ang="f106">
                    <a:pos x="f226" y="f225"/>
                  </a:cxn>
                  <a:cxn ang="f106">
                    <a:pos x="f227" y="f228"/>
                  </a:cxn>
                  <a:cxn ang="f106">
                    <a:pos x="f209" y="f229"/>
                  </a:cxn>
                  <a:cxn ang="f106">
                    <a:pos x="f226" y="f230"/>
                  </a:cxn>
                  <a:cxn ang="f106">
                    <a:pos x="f231" y="f232"/>
                  </a:cxn>
                  <a:cxn ang="f106">
                    <a:pos x="f233" y="f208"/>
                  </a:cxn>
                  <a:cxn ang="f106">
                    <a:pos x="f233" y="f234"/>
                  </a:cxn>
                  <a:cxn ang="f106">
                    <a:pos x="f235" y="f234"/>
                  </a:cxn>
                  <a:cxn ang="f106">
                    <a:pos x="f236" y="f237"/>
                  </a:cxn>
                  <a:cxn ang="f106">
                    <a:pos x="f238" y="f239"/>
                  </a:cxn>
                  <a:cxn ang="f106">
                    <a:pos x="f231" y="f240"/>
                  </a:cxn>
                  <a:cxn ang="f106">
                    <a:pos x="f227" y="f241"/>
                  </a:cxn>
                  <a:cxn ang="f106">
                    <a:pos x="f211" y="f242"/>
                  </a:cxn>
                  <a:cxn ang="f106">
                    <a:pos x="f205" y="f242"/>
                  </a:cxn>
                  <a:cxn ang="f106">
                    <a:pos x="f215" y="f243"/>
                  </a:cxn>
                  <a:cxn ang="f106">
                    <a:pos x="f221" y="f244"/>
                  </a:cxn>
                  <a:cxn ang="f106">
                    <a:pos x="f203" y="f245"/>
                  </a:cxn>
                  <a:cxn ang="f106">
                    <a:pos x="f213" y="f246"/>
                  </a:cxn>
                </a:cxnLst>
                <a:rect l="f199" t="f202" r="f200" b="f201"/>
                <a:pathLst>
                  <a:path w="24" h="47">
                    <a:moveTo>
                      <a:pt x="f8" y="f9"/>
                    </a:moveTo>
                    <a:cubicBezTo>
                      <a:pt x="f10" y="f11"/>
                      <a:pt x="f10" y="f11"/>
                      <a:pt x="f10" y="f11"/>
                    </a:cubicBezTo>
                    <a:cubicBezTo>
                      <a:pt x="f10" y="f12"/>
                      <a:pt x="f10" y="f12"/>
                      <a:pt x="f10" y="f12"/>
                    </a:cubicBezTo>
                    <a:cubicBezTo>
                      <a:pt x="f13" y="f12"/>
                      <a:pt x="f13" y="f12"/>
                      <a:pt x="f13" y="f12"/>
                    </a:cubicBezTo>
                    <a:cubicBezTo>
                      <a:pt x="f10" y="f14"/>
                      <a:pt x="f10" y="f14"/>
                      <a:pt x="f10" y="f14"/>
                    </a:cubicBezTo>
                    <a:cubicBezTo>
                      <a:pt x="f15" y="f16"/>
                      <a:pt x="f15" y="f16"/>
                      <a:pt x="f15" y="f16"/>
                    </a:cubicBezTo>
                    <a:cubicBezTo>
                      <a:pt x="f17" y="f18"/>
                      <a:pt x="f17" y="f18"/>
                      <a:pt x="f17" y="f18"/>
                    </a:cubicBezTo>
                    <a:cubicBezTo>
                      <a:pt x="f17" y="f19"/>
                      <a:pt x="f17" y="f19"/>
                      <a:pt x="f17" y="f19"/>
                    </a:cubicBezTo>
                    <a:cubicBezTo>
                      <a:pt x="f20" y="f21"/>
                      <a:pt x="f20" y="f21"/>
                      <a:pt x="f20" y="f21"/>
                    </a:cubicBezTo>
                    <a:cubicBezTo>
                      <a:pt x="f20" y="f22"/>
                      <a:pt x="f20" y="f22"/>
                      <a:pt x="f20" y="f22"/>
                    </a:cubicBezTo>
                    <a:cubicBezTo>
                      <a:pt x="f23" y="f22"/>
                      <a:pt x="f23" y="f22"/>
                      <a:pt x="f23" y="f22"/>
                    </a:cubicBezTo>
                    <a:cubicBezTo>
                      <a:pt x="f8" y="f22"/>
                      <a:pt x="f8" y="f22"/>
                      <a:pt x="f8" y="f22"/>
                    </a:cubicBezTo>
                    <a:cubicBezTo>
                      <a:pt x="f8" y="f24"/>
                      <a:pt x="f8" y="f24"/>
                      <a:pt x="f8" y="f24"/>
                    </a:cubicBezTo>
                    <a:cubicBezTo>
                      <a:pt x="f13" y="f25"/>
                      <a:pt x="f13" y="f25"/>
                      <a:pt x="f13" y="f25"/>
                    </a:cubicBezTo>
                    <a:cubicBezTo>
                      <a:pt x="f26" y="f25"/>
                      <a:pt x="f26" y="f25"/>
                      <a:pt x="f26" y="f25"/>
                    </a:cubicBezTo>
                    <a:cubicBezTo>
                      <a:pt x="f27" y="f28"/>
                      <a:pt x="f27" y="f28"/>
                      <a:pt x="f27" y="f28"/>
                    </a:cubicBezTo>
                    <a:cubicBezTo>
                      <a:pt x="f27" y="f28"/>
                      <a:pt x="f5" y="f29"/>
                      <a:pt x="f5" y="f25"/>
                    </a:cubicBezTo>
                    <a:cubicBezTo>
                      <a:pt x="f5" y="f30"/>
                      <a:pt x="f5" y="f31"/>
                      <a:pt x="f5" y="f31"/>
                    </a:cubicBezTo>
                    <a:cubicBezTo>
                      <a:pt x="f5" y="f32"/>
                      <a:pt x="f5" y="f32"/>
                      <a:pt x="f5" y="f32"/>
                    </a:cubicBezTo>
                    <a:cubicBezTo>
                      <a:pt x="f5" y="f20"/>
                      <a:pt x="f5" y="f20"/>
                      <a:pt x="f5" y="f20"/>
                    </a:cubicBezTo>
                    <a:cubicBezTo>
                      <a:pt x="f5" y="f10"/>
                      <a:pt x="f5" y="f10"/>
                      <a:pt x="f5" y="f10"/>
                    </a:cubicBezTo>
                    <a:cubicBezTo>
                      <a:pt x="f27" y="f13"/>
                      <a:pt x="f27" y="f13"/>
                      <a:pt x="f27" y="f13"/>
                    </a:cubicBezTo>
                    <a:cubicBezTo>
                      <a:pt x="f8" y="f5"/>
                      <a:pt x="f8" y="f5"/>
                      <a:pt x="f8" y="f5"/>
                    </a:cubicBezTo>
                    <a:cubicBezTo>
                      <a:pt x="f23" y="f5"/>
                      <a:pt x="f23" y="f5"/>
                      <a:pt x="f23" y="f5"/>
                    </a:cubicBezTo>
                    <a:cubicBezTo>
                      <a:pt x="f20" y="f5"/>
                      <a:pt x="f20" y="f5"/>
                      <a:pt x="f20" y="f5"/>
                    </a:cubicBezTo>
                    <a:cubicBezTo>
                      <a:pt x="f20" y="f27"/>
                      <a:pt x="f20" y="f27"/>
                      <a:pt x="f20" y="f27"/>
                    </a:cubicBezTo>
                    <a:cubicBezTo>
                      <a:pt x="f10" y="f23"/>
                      <a:pt x="f10" y="f23"/>
                      <a:pt x="f10" y="f23"/>
                    </a:cubicBezTo>
                    <a:cubicBezTo>
                      <a:pt x="f33" y="f10"/>
                      <a:pt x="f33" y="f10"/>
                      <a:pt x="f33" y="f10"/>
                    </a:cubicBezTo>
                    <a:cubicBezTo>
                      <a:pt x="f15" y="f23"/>
                      <a:pt x="f15" y="f23"/>
                      <a:pt x="f15" y="f23"/>
                    </a:cubicBezTo>
                    <a:cubicBezTo>
                      <a:pt x="f31" y="f10"/>
                      <a:pt x="f31" y="f10"/>
                      <a:pt x="f31" y="f10"/>
                    </a:cubicBezTo>
                    <a:cubicBezTo>
                      <a:pt x="f34" y="f20"/>
                      <a:pt x="f34" y="f20"/>
                      <a:pt x="f34" y="f20"/>
                    </a:cubicBezTo>
                    <a:cubicBezTo>
                      <a:pt x="f32" y="f32"/>
                      <a:pt x="f32" y="f32"/>
                      <a:pt x="f32" y="f32"/>
                    </a:cubicBezTo>
                    <a:cubicBezTo>
                      <a:pt x="f17" y="f35"/>
                      <a:pt x="f17" y="f35"/>
                      <a:pt x="f17" y="f35"/>
                    </a:cubicBezTo>
                    <a:cubicBezTo>
                      <a:pt x="f17" y="f30"/>
                      <a:pt x="f17" y="f30"/>
                      <a:pt x="f17" y="f30"/>
                    </a:cubicBezTo>
                    <a:cubicBezTo>
                      <a:pt x="f32" y="f25"/>
                      <a:pt x="f32" y="f25"/>
                      <a:pt x="f32" y="f25"/>
                    </a:cubicBezTo>
                    <a:cubicBezTo>
                      <a:pt x="f31" y="f29"/>
                      <a:pt x="f31" y="f29"/>
                      <a:pt x="f31" y="f29"/>
                    </a:cubicBezTo>
                    <a:cubicBezTo>
                      <a:pt x="f30" y="f22"/>
                      <a:pt x="f30" y="f22"/>
                      <a:pt x="f30" y="f22"/>
                    </a:cubicBezTo>
                    <a:cubicBezTo>
                      <a:pt x="f29" y="f6"/>
                      <a:pt x="f29" y="f6"/>
                      <a:pt x="f29" y="f6"/>
                    </a:cubicBezTo>
                    <a:cubicBezTo>
                      <a:pt x="f24" y="f36"/>
                      <a:pt x="f24" y="f36"/>
                      <a:pt x="f24" y="f36"/>
                    </a:cubicBezTo>
                    <a:cubicBezTo>
                      <a:pt x="f37" y="f16"/>
                      <a:pt x="f37" y="f16"/>
                      <a:pt x="f37" y="f16"/>
                    </a:cubicBezTo>
                    <a:cubicBezTo>
                      <a:pt x="f37" y="f14"/>
                      <a:pt x="f37" y="f14"/>
                      <a:pt x="f37" y="f14"/>
                    </a:cubicBezTo>
                    <a:cubicBezTo>
                      <a:pt x="f37" y="f38"/>
                      <a:pt x="f37" y="f38"/>
                      <a:pt x="f37" y="f38"/>
                    </a:cubicBezTo>
                    <a:cubicBezTo>
                      <a:pt x="f39" y="f38"/>
                      <a:pt x="f39" y="f38"/>
                      <a:pt x="f39" y="f38"/>
                    </a:cubicBezTo>
                    <a:cubicBezTo>
                      <a:pt x="f21" y="f38"/>
                      <a:pt x="f21" y="f38"/>
                      <a:pt x="f21" y="f38"/>
                    </a:cubicBezTo>
                    <a:cubicBezTo>
                      <a:pt x="f6" y="f40"/>
                      <a:pt x="f6" y="f40"/>
                      <a:pt x="f6" y="f40"/>
                    </a:cubicBezTo>
                    <a:cubicBezTo>
                      <a:pt x="f22" y="f41"/>
                      <a:pt x="f22" y="f41"/>
                      <a:pt x="f22" y="f41"/>
                    </a:cubicBezTo>
                    <a:cubicBezTo>
                      <a:pt x="f22" y="f42"/>
                      <a:pt x="f22" y="f42"/>
                      <a:pt x="f22" y="f42"/>
                    </a:cubicBezTo>
                    <a:cubicBezTo>
                      <a:pt x="f6" y="f42"/>
                      <a:pt x="f6" y="f42"/>
                      <a:pt x="f6" y="f42"/>
                    </a:cubicBezTo>
                    <a:cubicBezTo>
                      <a:pt x="f22" y="f43"/>
                      <a:pt x="f22" y="f43"/>
                      <a:pt x="f22" y="f43"/>
                    </a:cubicBezTo>
                    <a:cubicBezTo>
                      <a:pt x="f29" y="f44"/>
                      <a:pt x="f29" y="f44"/>
                      <a:pt x="f29" y="f44"/>
                    </a:cubicBezTo>
                    <a:cubicBezTo>
                      <a:pt x="f35" y="f44"/>
                      <a:pt x="f35" y="f44"/>
                      <a:pt x="f35" y="f44"/>
                    </a:cubicBezTo>
                    <a:cubicBezTo>
                      <a:pt x="f32" y="f45"/>
                      <a:pt x="f32" y="f45"/>
                      <a:pt x="f32" y="f45"/>
                    </a:cubicBezTo>
                    <a:cubicBezTo>
                      <a:pt x="f32" y="f45"/>
                      <a:pt x="f15" y="f44"/>
                      <a:pt x="f17" y="f44"/>
                    </a:cubicBezTo>
                    <a:cubicBezTo>
                      <a:pt x="f17" y="f44"/>
                      <a:pt x="f20" y="f46"/>
                      <a:pt x="f20" y="f46"/>
                    </a:cubicBezTo>
                    <a:cubicBezTo>
                      <a:pt x="f10" y="f46"/>
                      <a:pt x="f10" y="f46"/>
                      <a:pt x="f10" y="f46"/>
                    </a:cubicBezTo>
                    <a:cubicBezTo>
                      <a:pt x="f13" y="f46"/>
                      <a:pt x="f13" y="f46"/>
                      <a:pt x="f13" y="f46"/>
                    </a:cubicBezTo>
                    <a:cubicBezTo>
                      <a:pt x="f8" y="f7"/>
                      <a:pt x="f8" y="f7"/>
                      <a:pt x="f8" y="f7"/>
                    </a:cubicBezTo>
                    <a:cubicBezTo>
                      <a:pt x="f27" y="f47"/>
                      <a:pt x="f27" y="f47"/>
                      <a:pt x="f27" y="f47"/>
                    </a:cubicBezTo>
                    <a:cubicBezTo>
                      <a:pt x="f26" y="f45"/>
                      <a:pt x="f26" y="f45"/>
                      <a:pt x="f26" y="f45"/>
                    </a:cubicBezTo>
                    <a:cubicBezTo>
                      <a:pt x="f23" y="f48"/>
                      <a:pt x="f23" y="f48"/>
                      <a:pt x="f23" y="f48"/>
                    </a:cubicBezTo>
                    <a:cubicBezTo>
                      <a:pt x="f20" y="f41"/>
                      <a:pt x="f20" y="f41"/>
                      <a:pt x="f20" y="f41"/>
                    </a:cubicBezTo>
                    <a:cubicBezTo>
                      <a:pt x="f10" y="f49"/>
                      <a:pt x="f10" y="f49"/>
                      <a:pt x="f10" y="f49"/>
                    </a:cubicBezTo>
                    <a:cubicBezTo>
                      <a:pt x="f13" y="f49"/>
                      <a:pt x="f13" y="f49"/>
                      <a:pt x="f13" y="f49"/>
                    </a:cubicBez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16" name="Freeform 455">
                <a:extLst>
                  <a:ext uri="{FF2B5EF4-FFF2-40B4-BE49-F238E27FC236}">
                    <a16:creationId xmlns:a16="http://schemas.microsoft.com/office/drawing/2014/main" id="{A18AE4C5-0915-0C5A-F113-B2014D87611B}"/>
                  </a:ext>
                </a:extLst>
              </p:cNvPr>
              <p:cNvSpPr/>
              <p:nvPr/>
            </p:nvSpPr>
            <p:spPr>
              <a:xfrm>
                <a:off x="5464125" y="2646639"/>
                <a:ext cx="65983" cy="4117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4"/>
                  <a:gd name="f7" fmla="val 22"/>
                  <a:gd name="f8" fmla="val 24"/>
                  <a:gd name="f9" fmla="val 18"/>
                  <a:gd name="f10" fmla="val 13"/>
                  <a:gd name="f11" fmla="val 27"/>
                  <a:gd name="f12" fmla="val 3"/>
                  <a:gd name="f13" fmla="val 15"/>
                  <a:gd name="f14" fmla="+- 0 0 -90"/>
                  <a:gd name="f15" fmla="*/ f3 1 34"/>
                  <a:gd name="f16" fmla="*/ f4 1 22"/>
                  <a:gd name="f17" fmla="val f5"/>
                  <a:gd name="f18" fmla="val f6"/>
                  <a:gd name="f19" fmla="val f7"/>
                  <a:gd name="f20" fmla="*/ f14 f0 1"/>
                  <a:gd name="f21" fmla="+- f19 0 f17"/>
                  <a:gd name="f22" fmla="+- f18 0 f17"/>
                  <a:gd name="f23" fmla="*/ f20 1 f2"/>
                  <a:gd name="f24" fmla="*/ f22 1 34"/>
                  <a:gd name="f25" fmla="*/ f21 1 22"/>
                  <a:gd name="f26" fmla="*/ 24 f22 1"/>
                  <a:gd name="f27" fmla="*/ 22 f21 1"/>
                  <a:gd name="f28" fmla="*/ 0 f22 1"/>
                  <a:gd name="f29" fmla="*/ 18 f21 1"/>
                  <a:gd name="f30" fmla="*/ 13 f22 1"/>
                  <a:gd name="f31" fmla="*/ 0 f21 1"/>
                  <a:gd name="f32" fmla="*/ 27 f22 1"/>
                  <a:gd name="f33" fmla="*/ 3 f21 1"/>
                  <a:gd name="f34" fmla="*/ 34 f22 1"/>
                  <a:gd name="f35" fmla="*/ 15 f21 1"/>
                  <a:gd name="f36" fmla="+- f23 0 f1"/>
                  <a:gd name="f37" fmla="*/ f26 1 34"/>
                  <a:gd name="f38" fmla="*/ f27 1 22"/>
                  <a:gd name="f39" fmla="*/ f28 1 34"/>
                  <a:gd name="f40" fmla="*/ f29 1 22"/>
                  <a:gd name="f41" fmla="*/ f30 1 34"/>
                  <a:gd name="f42" fmla="*/ f31 1 22"/>
                  <a:gd name="f43" fmla="*/ f32 1 34"/>
                  <a:gd name="f44" fmla="*/ f33 1 22"/>
                  <a:gd name="f45" fmla="*/ f34 1 34"/>
                  <a:gd name="f46" fmla="*/ f35 1 22"/>
                  <a:gd name="f47" fmla="*/ 0 1 f24"/>
                  <a:gd name="f48" fmla="*/ f18 1 f24"/>
                  <a:gd name="f49" fmla="*/ 0 1 f25"/>
                  <a:gd name="f50" fmla="*/ f19 1 f25"/>
                  <a:gd name="f51" fmla="*/ f37 1 f24"/>
                  <a:gd name="f52" fmla="*/ f38 1 f25"/>
                  <a:gd name="f53" fmla="*/ f39 1 f24"/>
                  <a:gd name="f54" fmla="*/ f40 1 f25"/>
                  <a:gd name="f55" fmla="*/ f41 1 f24"/>
                  <a:gd name="f56" fmla="*/ f42 1 f25"/>
                  <a:gd name="f57" fmla="*/ f43 1 f24"/>
                  <a:gd name="f58" fmla="*/ f44 1 f25"/>
                  <a:gd name="f59" fmla="*/ f45 1 f24"/>
                  <a:gd name="f60" fmla="*/ f46 1 f25"/>
                  <a:gd name="f61" fmla="*/ f47 f15 1"/>
                  <a:gd name="f62" fmla="*/ f48 f15 1"/>
                  <a:gd name="f63" fmla="*/ f50 f16 1"/>
                  <a:gd name="f64" fmla="*/ f49 f16 1"/>
                  <a:gd name="f65" fmla="*/ f51 f15 1"/>
                  <a:gd name="f66" fmla="*/ f52 f16 1"/>
                  <a:gd name="f67" fmla="*/ f53 f15 1"/>
                  <a:gd name="f68" fmla="*/ f54 f16 1"/>
                  <a:gd name="f69" fmla="*/ f55 f15 1"/>
                  <a:gd name="f70" fmla="*/ f56 f16 1"/>
                  <a:gd name="f71" fmla="*/ f57 f15 1"/>
                  <a:gd name="f72" fmla="*/ f58 f16 1"/>
                  <a:gd name="f73" fmla="*/ f59 f15 1"/>
                  <a:gd name="f74" fmla="*/ f60 f1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6">
                    <a:pos x="f65" y="f66"/>
                  </a:cxn>
                  <a:cxn ang="f36">
                    <a:pos x="f67" y="f68"/>
                  </a:cxn>
                  <a:cxn ang="f36">
                    <a:pos x="f69" y="f70"/>
                  </a:cxn>
                  <a:cxn ang="f36">
                    <a:pos x="f71" y="f72"/>
                  </a:cxn>
                  <a:cxn ang="f36">
                    <a:pos x="f73" y="f74"/>
                  </a:cxn>
                  <a:cxn ang="f36">
                    <a:pos x="f65" y="f66"/>
                  </a:cxn>
                </a:cxnLst>
                <a:rect l="f61" t="f64" r="f62" b="f63"/>
                <a:pathLst>
                  <a:path w="34" h="22">
                    <a:moveTo>
                      <a:pt x="f8" y="f7"/>
                    </a:moveTo>
                    <a:lnTo>
                      <a:pt x="f5" y="f9"/>
                    </a:lnTo>
                    <a:lnTo>
                      <a:pt x="f10" y="f5"/>
                    </a:lnTo>
                    <a:lnTo>
                      <a:pt x="f11" y="f12"/>
                    </a:lnTo>
                    <a:lnTo>
                      <a:pt x="f6" y="f13"/>
                    </a:lnTo>
                    <a:lnTo>
                      <a:pt x="f8" y="f7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85" name="Freeform 260">
              <a:extLst>
                <a:ext uri="{FF2B5EF4-FFF2-40B4-BE49-F238E27FC236}">
                  <a16:creationId xmlns:a16="http://schemas.microsoft.com/office/drawing/2014/main" id="{B3FF9495-054C-4D38-DB28-1B5FBDFAC332}"/>
                </a:ext>
              </a:extLst>
            </p:cNvPr>
            <p:cNvSpPr/>
            <p:nvPr/>
          </p:nvSpPr>
          <p:spPr>
            <a:xfrm>
              <a:off x="7754411" y="4198009"/>
              <a:ext cx="58814" cy="6694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2"/>
                <a:gd name="f7" fmla="val 54"/>
                <a:gd name="f8" fmla="val 6"/>
                <a:gd name="f9" fmla="val 24"/>
                <a:gd name="f10" fmla="val 30"/>
                <a:gd name="f11" fmla="+- 0 0 -90"/>
                <a:gd name="f12" fmla="*/ f3 1 42"/>
                <a:gd name="f13" fmla="*/ f4 1 54"/>
                <a:gd name="f14" fmla="val f5"/>
                <a:gd name="f15" fmla="val f6"/>
                <a:gd name="f16" fmla="val f7"/>
                <a:gd name="f17" fmla="*/ f11 f0 1"/>
                <a:gd name="f18" fmla="+- f16 0 f14"/>
                <a:gd name="f19" fmla="+- f15 0 f14"/>
                <a:gd name="f20" fmla="*/ f17 1 f2"/>
                <a:gd name="f21" fmla="*/ f19 1 42"/>
                <a:gd name="f22" fmla="*/ f18 1 54"/>
                <a:gd name="f23" fmla="*/ 2147483646 f19 1"/>
                <a:gd name="f24" fmla="*/ 0 f18 1"/>
                <a:gd name="f25" fmla="*/ 0 f19 1"/>
                <a:gd name="f26" fmla="*/ 2147483646 f18 1"/>
                <a:gd name="f27" fmla="+- f20 0 f1"/>
                <a:gd name="f28" fmla="*/ f23 1 42"/>
                <a:gd name="f29" fmla="*/ f24 1 54"/>
                <a:gd name="f30" fmla="*/ f25 1 42"/>
                <a:gd name="f31" fmla="*/ f26 1 54"/>
                <a:gd name="f32" fmla="*/ 0 1 f21"/>
                <a:gd name="f33" fmla="*/ f15 1 f21"/>
                <a:gd name="f34" fmla="*/ 0 1 f22"/>
                <a:gd name="f35" fmla="*/ f16 1 f22"/>
                <a:gd name="f36" fmla="*/ f28 1 f21"/>
                <a:gd name="f37" fmla="*/ f29 1 f22"/>
                <a:gd name="f38" fmla="*/ f30 1 f21"/>
                <a:gd name="f39" fmla="*/ f31 1 f22"/>
                <a:gd name="f40" fmla="*/ f32 f12 1"/>
                <a:gd name="f41" fmla="*/ f33 f12 1"/>
                <a:gd name="f42" fmla="*/ f35 f13 1"/>
                <a:gd name="f43" fmla="*/ f34 f13 1"/>
                <a:gd name="f44" fmla="*/ f36 f12 1"/>
                <a:gd name="f45" fmla="*/ f37 f13 1"/>
                <a:gd name="f46" fmla="*/ f38 f12 1"/>
                <a:gd name="f47" fmla="*/ f39 f1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7">
                  <a:pos x="f44" y="f45"/>
                </a:cxn>
                <a:cxn ang="f27">
                  <a:pos x="f46" y="f47"/>
                </a:cxn>
                <a:cxn ang="f27">
                  <a:pos x="f44" y="f47"/>
                </a:cxn>
                <a:cxn ang="f27">
                  <a:pos x="f44" y="f47"/>
                </a:cxn>
                <a:cxn ang="f27">
                  <a:pos x="f44" y="f47"/>
                </a:cxn>
                <a:cxn ang="f27">
                  <a:pos x="f44" y="f45"/>
                </a:cxn>
              </a:cxnLst>
              <a:rect l="f40" t="f43" r="f41" b="f42"/>
              <a:pathLst>
                <a:path w="42" h="54">
                  <a:moveTo>
                    <a:pt x="f8" y="f5"/>
                  </a:moveTo>
                  <a:lnTo>
                    <a:pt x="f5" y="f9"/>
                  </a:lnTo>
                  <a:lnTo>
                    <a:pt x="f8" y="f7"/>
                  </a:lnTo>
                  <a:lnTo>
                    <a:pt x="f10" y="f7"/>
                  </a:lnTo>
                  <a:lnTo>
                    <a:pt x="f6" y="f10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6" name="Freeform 272">
              <a:extLst>
                <a:ext uri="{FF2B5EF4-FFF2-40B4-BE49-F238E27FC236}">
                  <a16:creationId xmlns:a16="http://schemas.microsoft.com/office/drawing/2014/main" id="{E5996D68-9A78-7234-3BD4-4C958E3329A9}"/>
                </a:ext>
              </a:extLst>
            </p:cNvPr>
            <p:cNvSpPr/>
            <p:nvPr/>
          </p:nvSpPr>
          <p:spPr>
            <a:xfrm>
              <a:off x="8722203" y="3922519"/>
              <a:ext cx="145398" cy="19149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8"/>
                <a:gd name="f7" fmla="val 151"/>
                <a:gd name="f8" fmla="val 12"/>
                <a:gd name="f9" fmla="val 18"/>
                <a:gd name="f10" fmla="val 42"/>
                <a:gd name="f11" fmla="val 6"/>
                <a:gd name="f12" fmla="val 72"/>
                <a:gd name="f13" fmla="val 85"/>
                <a:gd name="f14" fmla="val 36"/>
                <a:gd name="f15" fmla="val 91"/>
                <a:gd name="f16" fmla="val 109"/>
                <a:gd name="f17" fmla="val 78"/>
                <a:gd name="f18" fmla="val 139"/>
                <a:gd name="f19" fmla="val 102"/>
                <a:gd name="f20" fmla="val 127"/>
                <a:gd name="f21" fmla="val 66"/>
                <a:gd name="f22" fmla="val 48"/>
                <a:gd name="f23" fmla="val 54"/>
                <a:gd name="f24" fmla="val 30"/>
                <a:gd name="f25" fmla="+- 0 0 -90"/>
                <a:gd name="f26" fmla="*/ f3 1 108"/>
                <a:gd name="f27" fmla="*/ f4 1 151"/>
                <a:gd name="f28" fmla="val f5"/>
                <a:gd name="f29" fmla="val f6"/>
                <a:gd name="f30" fmla="val f7"/>
                <a:gd name="f31" fmla="*/ f25 f0 1"/>
                <a:gd name="f32" fmla="+- f30 0 f28"/>
                <a:gd name="f33" fmla="+- f29 0 f28"/>
                <a:gd name="f34" fmla="*/ f31 1 f2"/>
                <a:gd name="f35" fmla="*/ f33 1 108"/>
                <a:gd name="f36" fmla="*/ f32 1 151"/>
                <a:gd name="f37" fmla="*/ 2147483646 f33 1"/>
                <a:gd name="f38" fmla="*/ 2147483646 f32 1"/>
                <a:gd name="f39" fmla="*/ 0 f33 1"/>
                <a:gd name="f40" fmla="*/ 0 f32 1"/>
                <a:gd name="f41" fmla="+- f34 0 f1"/>
                <a:gd name="f42" fmla="*/ f37 1 108"/>
                <a:gd name="f43" fmla="*/ f38 1 151"/>
                <a:gd name="f44" fmla="*/ f39 1 108"/>
                <a:gd name="f45" fmla="*/ f40 1 151"/>
                <a:gd name="f46" fmla="*/ 0 1 f35"/>
                <a:gd name="f47" fmla="*/ f29 1 f35"/>
                <a:gd name="f48" fmla="*/ 0 1 f36"/>
                <a:gd name="f49" fmla="*/ f30 1 f36"/>
                <a:gd name="f50" fmla="*/ f42 1 f35"/>
                <a:gd name="f51" fmla="*/ f43 1 f36"/>
                <a:gd name="f52" fmla="*/ f44 1 f35"/>
                <a:gd name="f53" fmla="*/ f45 1 f36"/>
                <a:gd name="f54" fmla="*/ f46 f26 1"/>
                <a:gd name="f55" fmla="*/ f47 f26 1"/>
                <a:gd name="f56" fmla="*/ f49 f27 1"/>
                <a:gd name="f57" fmla="*/ f48 f27 1"/>
                <a:gd name="f58" fmla="*/ f50 f26 1"/>
                <a:gd name="f59" fmla="*/ f51 f27 1"/>
                <a:gd name="f60" fmla="*/ f52 f26 1"/>
                <a:gd name="f61" fmla="*/ f53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8" y="f59"/>
                </a:cxn>
                <a:cxn ang="f41">
                  <a:pos x="f60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61"/>
                </a:cxn>
                <a:cxn ang="f41">
                  <a:pos x="f58" y="f59"/>
                </a:cxn>
              </a:cxnLst>
              <a:rect l="f54" t="f57" r="f55" b="f56"/>
              <a:pathLst>
                <a:path w="108" h="151">
                  <a:moveTo>
                    <a:pt x="f8" y="f9"/>
                  </a:moveTo>
                  <a:lnTo>
                    <a:pt x="f5" y="f10"/>
                  </a:lnTo>
                  <a:lnTo>
                    <a:pt x="f11" y="f12"/>
                  </a:lnTo>
                  <a:lnTo>
                    <a:pt x="f9" y="f13"/>
                  </a:lnTo>
                  <a:lnTo>
                    <a:pt x="f14" y="f15"/>
                  </a:lnTo>
                  <a:lnTo>
                    <a:pt x="f12" y="f16"/>
                  </a:lnTo>
                  <a:lnTo>
                    <a:pt x="f17" y="f18"/>
                  </a:lnTo>
                  <a:lnTo>
                    <a:pt x="f6" y="f7"/>
                  </a:lnTo>
                  <a:lnTo>
                    <a:pt x="f19" y="f20"/>
                  </a:lnTo>
                  <a:lnTo>
                    <a:pt x="f17" y="f15"/>
                  </a:lnTo>
                  <a:lnTo>
                    <a:pt x="f10" y="f21"/>
                  </a:lnTo>
                  <a:lnTo>
                    <a:pt x="f22" y="f22"/>
                  </a:lnTo>
                  <a:lnTo>
                    <a:pt x="f23" y="f8"/>
                  </a:lnTo>
                  <a:lnTo>
                    <a:pt x="f24" y="f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7" name="Freeform 273">
              <a:extLst>
                <a:ext uri="{FF2B5EF4-FFF2-40B4-BE49-F238E27FC236}">
                  <a16:creationId xmlns:a16="http://schemas.microsoft.com/office/drawing/2014/main" id="{57DBC8B0-51BF-4EB1-12C8-9D78D8FDD170}"/>
                </a:ext>
              </a:extLst>
            </p:cNvPr>
            <p:cNvSpPr/>
            <p:nvPr/>
          </p:nvSpPr>
          <p:spPr>
            <a:xfrm>
              <a:off x="8781017" y="4145157"/>
              <a:ext cx="119256" cy="902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72"/>
                <a:gd name="f8" fmla="val 54"/>
                <a:gd name="f9" fmla="val 18"/>
                <a:gd name="f10" fmla="val 24"/>
                <a:gd name="f11" fmla="val 42"/>
                <a:gd name="f12" fmla="val 60"/>
                <a:gd name="f13" fmla="val 48"/>
                <a:gd name="f14" fmla="+- 0 0 -90"/>
                <a:gd name="f15" fmla="*/ f3 1 90"/>
                <a:gd name="f16" fmla="*/ f4 1 72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90"/>
                <a:gd name="f25" fmla="*/ f21 1 72"/>
                <a:gd name="f26" fmla="*/ 0 f22 1"/>
                <a:gd name="f27" fmla="*/ 2147483646 f21 1"/>
                <a:gd name="f28" fmla="*/ 2147483646 f22 1"/>
                <a:gd name="f29" fmla="*/ 0 f21 1"/>
                <a:gd name="f30" fmla="+- f23 0 f1"/>
                <a:gd name="f31" fmla="*/ f26 1 90"/>
                <a:gd name="f32" fmla="*/ f27 1 72"/>
                <a:gd name="f33" fmla="*/ f28 1 90"/>
                <a:gd name="f34" fmla="*/ f29 1 72"/>
                <a:gd name="f35" fmla="*/ 0 1 f24"/>
                <a:gd name="f36" fmla="*/ f18 1 f24"/>
                <a:gd name="f37" fmla="*/ 0 1 f25"/>
                <a:gd name="f38" fmla="*/ f19 1 f25"/>
                <a:gd name="f39" fmla="*/ f31 1 f24"/>
                <a:gd name="f40" fmla="*/ f32 1 f25"/>
                <a:gd name="f41" fmla="*/ f33 1 f24"/>
                <a:gd name="f42" fmla="*/ f34 1 f25"/>
                <a:gd name="f43" fmla="*/ f35 f15 1"/>
                <a:gd name="f44" fmla="*/ f36 f15 1"/>
                <a:gd name="f45" fmla="*/ f38 f16 1"/>
                <a:gd name="f46" fmla="*/ f37 f16 1"/>
                <a:gd name="f47" fmla="*/ f39 f15 1"/>
                <a:gd name="f48" fmla="*/ f40 f16 1"/>
                <a:gd name="f49" fmla="*/ f41 f15 1"/>
                <a:gd name="f50" fmla="*/ f42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47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50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7" y="f48"/>
                </a:cxn>
              </a:cxnLst>
              <a:rect l="f43" t="f46" r="f44" b="f45"/>
              <a:pathLst>
                <a:path w="90" h="72">
                  <a:moveTo>
                    <a:pt x="f5" y="f8"/>
                  </a:moveTo>
                  <a:lnTo>
                    <a:pt x="f9" y="f10"/>
                  </a:lnTo>
                  <a:lnTo>
                    <a:pt x="f11" y="f10"/>
                  </a:lnTo>
                  <a:lnTo>
                    <a:pt x="f12" y="f5"/>
                  </a:lnTo>
                  <a:lnTo>
                    <a:pt x="f6" y="f10"/>
                  </a:lnTo>
                  <a:lnTo>
                    <a:pt x="f6" y="f7"/>
                  </a:lnTo>
                  <a:lnTo>
                    <a:pt x="f12" y="f12"/>
                  </a:lnTo>
                  <a:lnTo>
                    <a:pt x="f11" y="f12"/>
                  </a:lnTo>
                  <a:lnTo>
                    <a:pt x="f10" y="f13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8" name="Freeform 296">
              <a:extLst>
                <a:ext uri="{FF2B5EF4-FFF2-40B4-BE49-F238E27FC236}">
                  <a16:creationId xmlns:a16="http://schemas.microsoft.com/office/drawing/2014/main" id="{2F0CC4AD-EC3C-BCCB-5B6F-10543445035F}"/>
                </a:ext>
              </a:extLst>
            </p:cNvPr>
            <p:cNvSpPr/>
            <p:nvPr/>
          </p:nvSpPr>
          <p:spPr>
            <a:xfrm>
              <a:off x="7487132" y="3371661"/>
              <a:ext cx="751499" cy="8734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736"/>
                <a:gd name="f7" fmla="val 10000"/>
                <a:gd name="f8" fmla="val 8784"/>
                <a:gd name="f9" fmla="val 4472"/>
                <a:gd name="f10" fmla="val 8948"/>
                <a:gd name="f11" fmla="val 4542"/>
                <a:gd name="f12" fmla="val 9262"/>
                <a:gd name="f13" fmla="val 4499"/>
                <a:gd name="f14" fmla="val 9397"/>
                <a:gd name="f15" fmla="val 4647"/>
                <a:gd name="f16" fmla="val 9282"/>
                <a:gd name="f17" fmla="val 4891"/>
                <a:gd name="f18" fmla="val 9246"/>
                <a:gd name="f19" fmla="val 4846"/>
                <a:gd name="f20" fmla="val 9150"/>
                <a:gd name="f21" fmla="val 5059"/>
                <a:gd name="f22" fmla="val 9278"/>
                <a:gd name="f23" fmla="val 5100"/>
                <a:gd name="f24" fmla="val 9553"/>
                <a:gd name="f25" fmla="val 5244"/>
                <a:gd name="f26" fmla="val 9543"/>
                <a:gd name="f27" fmla="val 5202"/>
                <a:gd name="f28" fmla="val 9555"/>
                <a:gd name="f29" fmla="val 5140"/>
                <a:gd name="f30" fmla="val 9941"/>
                <a:gd name="f31" fmla="val 4675"/>
                <a:gd name="f32" fmla="val 9949"/>
                <a:gd name="f33" fmla="val 4570"/>
                <a:gd name="f34" fmla="val 10062"/>
                <a:gd name="f35" fmla="val 4506"/>
                <a:gd name="f36" fmla="val 10576"/>
                <a:gd name="f37" fmla="val 4087"/>
                <a:gd name="f38" fmla="val 4050"/>
                <a:gd name="f39" fmla="val 10429"/>
                <a:gd name="f40" fmla="val 3991"/>
                <a:gd name="f41" fmla="val 10556"/>
                <a:gd name="f42" fmla="val 3858"/>
                <a:gd name="f43" fmla="val 10557"/>
                <a:gd name="f44" fmla="val 3689"/>
                <a:gd name="f45" fmla="val 10593"/>
                <a:gd name="f46" fmla="val 3380"/>
                <a:gd name="f47" fmla="val 10678"/>
                <a:gd name="f48" fmla="val 3109"/>
                <a:gd name="f49" fmla="val 10563"/>
                <a:gd name="f50" fmla="val 3146"/>
                <a:gd name="f51" fmla="val 10508"/>
                <a:gd name="f52" fmla="val 3001"/>
                <a:gd name="f53" fmla="val 10453"/>
                <a:gd name="f54" fmla="val 2856"/>
                <a:gd name="f55" fmla="val 10430"/>
                <a:gd name="f56" fmla="val 2809"/>
                <a:gd name="f57" fmla="val 10055"/>
                <a:gd name="f58" fmla="val 2790"/>
                <a:gd name="f59" fmla="val 9757"/>
                <a:gd name="f60" fmla="val 2713"/>
                <a:gd name="f61" fmla="val 9789"/>
                <a:gd name="f62" fmla="val 2667"/>
                <a:gd name="f63" fmla="val 9600"/>
                <a:gd name="f64" fmla="val 2544"/>
                <a:gd name="f65" fmla="val 9075"/>
                <a:gd name="f66" fmla="val 2540"/>
                <a:gd name="f67" fmla="val 8904"/>
                <a:gd name="f68" fmla="val 2631"/>
                <a:gd name="f69" fmla="val 8281"/>
                <a:gd name="f70" fmla="val 3056"/>
                <a:gd name="f71" fmla="val 8247"/>
                <a:gd name="f72" fmla="val 3163"/>
                <a:gd name="f73" fmla="val 8213"/>
                <a:gd name="f74" fmla="val 3270"/>
                <a:gd name="f75" fmla="val 8677"/>
                <a:gd name="f76" fmla="val 3148"/>
                <a:gd name="f77" fmla="val 8793"/>
                <a:gd name="f78" fmla="val 3233"/>
                <a:gd name="f79" fmla="val 8909"/>
                <a:gd name="f80" fmla="val 3318"/>
                <a:gd name="f81" fmla="val 8879"/>
                <a:gd name="f82" fmla="val 3366"/>
                <a:gd name="f83" fmla="val 8859"/>
                <a:gd name="f84" fmla="val 3438"/>
                <a:gd name="f85" fmla="val 8437"/>
                <a:gd name="f86" fmla="val 3459"/>
                <a:gd name="f87" fmla="val 8303"/>
                <a:gd name="f88" fmla="val 3436"/>
                <a:gd name="f89" fmla="val 8184"/>
                <a:gd name="f90" fmla="val 3409"/>
                <a:gd name="f91" fmla="val 8149"/>
                <a:gd name="f92" fmla="val 3340"/>
                <a:gd name="f93" fmla="val 8262"/>
                <a:gd name="f94" fmla="val 3149"/>
                <a:gd name="f95" fmla="val 7715"/>
                <a:gd name="f96" fmla="val 3110"/>
                <a:gd name="f97" fmla="val 7254"/>
                <a:gd name="f98" fmla="val 3152"/>
                <a:gd name="f99" fmla="val 7031"/>
                <a:gd name="f100" fmla="val 6808"/>
                <a:gd name="f101" fmla="val 3468"/>
                <a:gd name="f102" fmla="val 6584"/>
                <a:gd name="f103" fmla="val 6138"/>
                <a:gd name="f104" fmla="val 3363"/>
                <a:gd name="f105" fmla="val 5357"/>
                <a:gd name="f106" fmla="val 3257"/>
                <a:gd name="f107" fmla="val 4240"/>
                <a:gd name="f108" fmla="val 2732"/>
                <a:gd name="f109" fmla="val 4575"/>
                <a:gd name="f110" fmla="val 2102"/>
                <a:gd name="f111" fmla="val 4017"/>
                <a:gd name="f112" fmla="val 1891"/>
                <a:gd name="f113" fmla="val 3794"/>
                <a:gd name="f114" fmla="val 1471"/>
                <a:gd name="f115" fmla="val 1156"/>
                <a:gd name="f116" fmla="val 3980"/>
                <a:gd name="f117" fmla="val 1051"/>
                <a:gd name="f118" fmla="val 4011"/>
                <a:gd name="f119" fmla="val 999"/>
                <a:gd name="f120" fmla="val 3974"/>
                <a:gd name="f121" fmla="val 894"/>
                <a:gd name="f122" fmla="val 4233"/>
                <a:gd name="f123" fmla="val 601"/>
                <a:gd name="f124" fmla="val 4235"/>
                <a:gd name="f125" fmla="val 401"/>
                <a:gd name="f126" fmla="val 4238"/>
                <a:gd name="f127" fmla="val 200"/>
                <a:gd name="f128" fmla="val 3571"/>
                <a:gd name="f129" fmla="val 3125"/>
                <a:gd name="f130" fmla="val 3236"/>
                <a:gd name="f131" fmla="val 105"/>
                <a:gd name="f132" fmla="val 3348"/>
                <a:gd name="f133" fmla="val 210"/>
                <a:gd name="f134" fmla="val 2120"/>
                <a:gd name="f135" fmla="val 420"/>
                <a:gd name="f136" fmla="val 946"/>
                <a:gd name="f137" fmla="val 2455"/>
                <a:gd name="f138" fmla="val 2381"/>
                <a:gd name="f139" fmla="val 1331"/>
                <a:gd name="f140" fmla="val 2306"/>
                <a:gd name="f141" fmla="val 1506"/>
                <a:gd name="f142" fmla="val 2232"/>
                <a:gd name="f143" fmla="val 1681"/>
                <a:gd name="f144" fmla="val 2009"/>
                <a:gd name="f145" fmla="val 1339"/>
                <a:gd name="f146" fmla="val 3047"/>
                <a:gd name="f147" fmla="val 893"/>
                <a:gd name="f148" fmla="val 557"/>
                <a:gd name="f149" fmla="val 781"/>
                <a:gd name="f150" fmla="val 3783"/>
                <a:gd name="f151" fmla="val 1116"/>
                <a:gd name="f152" fmla="val 4203"/>
                <a:gd name="f153" fmla="val 670"/>
                <a:gd name="f154" fmla="val 4413"/>
                <a:gd name="f155" fmla="val 223"/>
                <a:gd name="f156" fmla="val 4518"/>
                <a:gd name="f157" fmla="val 4623"/>
                <a:gd name="f158" fmla="val 446"/>
                <a:gd name="f159" fmla="val 5149"/>
                <a:gd name="f160" fmla="val 5569"/>
                <a:gd name="f161" fmla="val 1450"/>
                <a:gd name="f162" fmla="val 1524"/>
                <a:gd name="f163" fmla="val 5814"/>
                <a:gd name="f164" fmla="val 1599"/>
                <a:gd name="f165" fmla="val 6480"/>
                <a:gd name="f166" fmla="val 1673"/>
                <a:gd name="f167" fmla="val 7145"/>
                <a:gd name="f168" fmla="val 8004"/>
                <a:gd name="f169" fmla="val 2566"/>
                <a:gd name="f170" fmla="val 8949"/>
                <a:gd name="f171" fmla="val 2901"/>
                <a:gd name="f172" fmla="val 9475"/>
                <a:gd name="f173" fmla="val 9685"/>
                <a:gd name="f174" fmla="val 9159"/>
                <a:gd name="f175" fmla="val 4128"/>
                <a:gd name="f176" fmla="val 8739"/>
                <a:gd name="f177" fmla="val 4165"/>
                <a:gd name="f178" fmla="val 8494"/>
                <a:gd name="f179" fmla="val 8249"/>
                <a:gd name="f180" fmla="val 4277"/>
                <a:gd name="f181" fmla="val 7788"/>
                <a:gd name="f182" fmla="val 4315"/>
                <a:gd name="f183" fmla="val 7572"/>
                <a:gd name="f184" fmla="val 4352"/>
                <a:gd name="f185" fmla="val 7356"/>
                <a:gd name="f186" fmla="val 5133"/>
                <a:gd name="f187" fmla="val 6725"/>
                <a:gd name="f188" fmla="val 5915"/>
                <a:gd name="f189" fmla="val 6200"/>
                <a:gd name="f190" fmla="val 6639"/>
                <a:gd name="f191" fmla="val 5875"/>
                <a:gd name="f192" fmla="val 6658"/>
                <a:gd name="f193" fmla="val 5668"/>
                <a:gd name="f194" fmla="val 7156"/>
                <a:gd name="f195" fmla="val 5557"/>
                <a:gd name="f196" fmla="val 7176"/>
                <a:gd name="f197" fmla="val 5350"/>
                <a:gd name="f198" fmla="val 7217"/>
                <a:gd name="f199" fmla="val 5258"/>
                <a:gd name="f200" fmla="val 8021"/>
                <a:gd name="f201" fmla="val 5398"/>
                <a:gd name="f202" fmla="val 8062"/>
                <a:gd name="f203" fmla="val 5306"/>
                <a:gd name="f204" fmla="val 7988"/>
                <a:gd name="f205" fmla="val 5026"/>
                <a:gd name="f206" fmla="val 7935"/>
                <a:gd name="f207" fmla="val 4864"/>
                <a:gd name="f208" fmla="val 7861"/>
                <a:gd name="f209" fmla="val 4584"/>
                <a:gd name="f210" fmla="val 7833"/>
                <a:gd name="f211" fmla="val 4487"/>
                <a:gd name="f212" fmla="val 7982"/>
                <a:gd name="f213" fmla="val 4490"/>
                <a:gd name="f214" fmla="val 7954"/>
                <a:gd name="f215" fmla="val 4393"/>
                <a:gd name="f216" fmla="val 4385"/>
                <a:gd name="f217" fmla="val 8059"/>
                <a:gd name="f218" fmla="val 4243"/>
                <a:gd name="f219" fmla="val 8087"/>
                <a:gd name="f220" fmla="val 8120"/>
                <a:gd name="f221" fmla="val 4206"/>
                <a:gd name="f222" fmla="val 8344"/>
                <a:gd name="f223" fmla="val 4234"/>
                <a:gd name="f224" fmla="val 8411"/>
                <a:gd name="f225" fmla="val 4228"/>
                <a:gd name="f226" fmla="val 8478"/>
                <a:gd name="f227" fmla="val 4222"/>
                <a:gd name="f228" fmla="val 8620"/>
                <a:gd name="f229" fmla="val 4402"/>
                <a:gd name="f230" fmla="+- 0 0 -90"/>
                <a:gd name="f231" fmla="*/ f3 1 10736"/>
                <a:gd name="f232" fmla="*/ f4 1 10000"/>
                <a:gd name="f233" fmla="val f5"/>
                <a:gd name="f234" fmla="val f6"/>
                <a:gd name="f235" fmla="val f7"/>
                <a:gd name="f236" fmla="*/ f230 f0 1"/>
                <a:gd name="f237" fmla="+- f235 0 f233"/>
                <a:gd name="f238" fmla="+- f234 0 f233"/>
                <a:gd name="f239" fmla="*/ f236 1 f2"/>
                <a:gd name="f240" fmla="*/ f238 1 10736"/>
                <a:gd name="f241" fmla="*/ f237 1 10000"/>
                <a:gd name="f242" fmla="*/ 43475790 f238 1"/>
                <a:gd name="f243" fmla="*/ 36857519 f237 1"/>
                <a:gd name="f244" fmla="*/ 44151285 f238 1"/>
                <a:gd name="f245" fmla="*/ 41259517 f237 1"/>
                <a:gd name="f246" fmla="*/ 49670740 f238 1"/>
                <a:gd name="f247" fmla="*/ 32122440 f237 1"/>
                <a:gd name="f248" fmla="*/ 49009121 f238 1"/>
                <a:gd name="f249" fmla="*/ 26808391 f237 1"/>
                <a:gd name="f250" fmla="*/ 46520040 f238 1"/>
                <a:gd name="f251" fmla="*/ 22128796 f237 1"/>
                <a:gd name="f252" fmla="*/ 41986042 f238 1"/>
                <a:gd name="f253" fmla="*/ 20145902 f237 1"/>
                <a:gd name="f254" fmla="*/ 40681305 f238 1"/>
                <a:gd name="f255" fmla="*/ 25642433 f237 1"/>
                <a:gd name="f256" fmla="*/ 39034298 f238 1"/>
                <a:gd name="f257" fmla="*/ 27434920 f237 1"/>
                <a:gd name="f258" fmla="*/ 38224602 f238 1"/>
                <a:gd name="f259" fmla="*/ 24976184 f237 1"/>
                <a:gd name="f260" fmla="*/ 33561028 f238 1"/>
                <a:gd name="f261" fmla="*/ 24999963 f237 1"/>
                <a:gd name="f262" fmla="*/ 31497609 f238 1"/>
                <a:gd name="f263" fmla="*/ 27506345 f237 1"/>
                <a:gd name="f264" fmla="*/ 28397787 f238 1"/>
                <a:gd name="f265" fmla="*/ 26673556 f237 1"/>
                <a:gd name="f266" fmla="*/ 19616626 f238 1"/>
                <a:gd name="f267" fmla="*/ 21668808 f237 1"/>
                <a:gd name="f268" fmla="*/ 18584917 f238 1"/>
                <a:gd name="f269" fmla="*/ 14998393 f237 1"/>
                <a:gd name="f270" fmla="*/ 9168782 f237 1"/>
                <a:gd name="f271" fmla="*/ 19584249 f238 1"/>
                <a:gd name="f272" fmla="*/ 4766783 f237 1"/>
                <a:gd name="f273" fmla="*/ 16521430 f238 1"/>
                <a:gd name="f274" fmla="*/ 0 f237 1"/>
                <a:gd name="f275" fmla="*/ 14971553 f238 1"/>
                <a:gd name="f276" fmla="*/ 832789 f237 1"/>
                <a:gd name="f277" fmla="*/ 9808313 f238 1"/>
                <a:gd name="f278" fmla="*/ 3331244 f237 1"/>
                <a:gd name="f279" fmla="*/ 11358190 f238 1"/>
                <a:gd name="f280" fmla="*/ 9294771 f238 1"/>
                <a:gd name="f281" fmla="*/ 16671985 f237 1"/>
                <a:gd name="f282" fmla="*/ 4131531 f238 1"/>
                <a:gd name="f283" fmla="*/ 24167174 f237 1"/>
                <a:gd name="f284" fmla="*/ 3613364 f238 1"/>
                <a:gd name="f285" fmla="*/ 30004711 f237 1"/>
                <a:gd name="f286" fmla="*/ 3099821 f238 1"/>
                <a:gd name="f287" fmla="*/ 35001533 f237 1"/>
                <a:gd name="f288" fmla="*/ 0 f238 1"/>
                <a:gd name="f289" fmla="*/ 36667200 f237 1"/>
                <a:gd name="f290" fmla="*/ 44170315 f237 1"/>
                <a:gd name="f291" fmla="*/ 7740201 f238 1"/>
                <a:gd name="f292" fmla="*/ 56670341 f237 1"/>
                <a:gd name="f293" fmla="*/ 11871732 f238 1"/>
                <a:gd name="f294" fmla="*/ 70978706 f237 1"/>
                <a:gd name="f295" fmla="*/ 79314699 f237 1"/>
                <a:gd name="f296" fmla="*/ 72644373 f237 1"/>
                <a:gd name="f297" fmla="*/ 63483517 f237 1"/>
                <a:gd name="f298" fmla="*/ 23748157 f238 1"/>
                <a:gd name="f299" fmla="*/ 53339096 f237 1"/>
                <a:gd name="f300" fmla="*/ 30715733 f238 1"/>
                <a:gd name="f301" fmla="*/ 46597345 f237 1"/>
                <a:gd name="f302" fmla="*/ 37299342 f238 1"/>
                <a:gd name="f303" fmla="*/ 42084380 f237 1"/>
                <a:gd name="f304" fmla="*/ 36799675 f238 1"/>
                <a:gd name="f305" fmla="*/ 34842920 f237 1"/>
                <a:gd name="f306" fmla="*/ 38913972 f238 1"/>
                <a:gd name="f307" fmla="*/ 33534290 f237 1"/>
                <a:gd name="f308" fmla="+- f239 0 f1"/>
                <a:gd name="f309" fmla="*/ f242 1 10736"/>
                <a:gd name="f310" fmla="*/ f243 1 10000"/>
                <a:gd name="f311" fmla="*/ f244 1 10736"/>
                <a:gd name="f312" fmla="*/ f245 1 10000"/>
                <a:gd name="f313" fmla="*/ f246 1 10736"/>
                <a:gd name="f314" fmla="*/ f247 1 10000"/>
                <a:gd name="f315" fmla="*/ f248 1 10736"/>
                <a:gd name="f316" fmla="*/ f249 1 10000"/>
                <a:gd name="f317" fmla="*/ f250 1 10736"/>
                <a:gd name="f318" fmla="*/ f251 1 10000"/>
                <a:gd name="f319" fmla="*/ f252 1 10736"/>
                <a:gd name="f320" fmla="*/ f253 1 10000"/>
                <a:gd name="f321" fmla="*/ f254 1 10736"/>
                <a:gd name="f322" fmla="*/ f255 1 10000"/>
                <a:gd name="f323" fmla="*/ f256 1 10736"/>
                <a:gd name="f324" fmla="*/ f257 1 10000"/>
                <a:gd name="f325" fmla="*/ f258 1 10736"/>
                <a:gd name="f326" fmla="*/ f259 1 10000"/>
                <a:gd name="f327" fmla="*/ f260 1 10736"/>
                <a:gd name="f328" fmla="*/ f261 1 10000"/>
                <a:gd name="f329" fmla="*/ f262 1 10736"/>
                <a:gd name="f330" fmla="*/ f263 1 10000"/>
                <a:gd name="f331" fmla="*/ f264 1 10736"/>
                <a:gd name="f332" fmla="*/ f265 1 10000"/>
                <a:gd name="f333" fmla="*/ f266 1 10736"/>
                <a:gd name="f334" fmla="*/ f267 1 10000"/>
                <a:gd name="f335" fmla="*/ f268 1 10736"/>
                <a:gd name="f336" fmla="*/ f269 1 10000"/>
                <a:gd name="f337" fmla="*/ f270 1 10000"/>
                <a:gd name="f338" fmla="*/ f271 1 10736"/>
                <a:gd name="f339" fmla="*/ f272 1 10000"/>
                <a:gd name="f340" fmla="*/ f273 1 10736"/>
                <a:gd name="f341" fmla="*/ f274 1 10000"/>
                <a:gd name="f342" fmla="*/ f275 1 10736"/>
                <a:gd name="f343" fmla="*/ f276 1 10000"/>
                <a:gd name="f344" fmla="*/ f277 1 10736"/>
                <a:gd name="f345" fmla="*/ f278 1 10000"/>
                <a:gd name="f346" fmla="*/ f279 1 10736"/>
                <a:gd name="f347" fmla="*/ f280 1 10736"/>
                <a:gd name="f348" fmla="*/ f281 1 10000"/>
                <a:gd name="f349" fmla="*/ f282 1 10736"/>
                <a:gd name="f350" fmla="*/ f283 1 10000"/>
                <a:gd name="f351" fmla="*/ f284 1 10736"/>
                <a:gd name="f352" fmla="*/ f285 1 10000"/>
                <a:gd name="f353" fmla="*/ f286 1 10736"/>
                <a:gd name="f354" fmla="*/ f287 1 10000"/>
                <a:gd name="f355" fmla="*/ f288 1 10736"/>
                <a:gd name="f356" fmla="*/ f289 1 10000"/>
                <a:gd name="f357" fmla="*/ f290 1 10000"/>
                <a:gd name="f358" fmla="*/ f291 1 10736"/>
                <a:gd name="f359" fmla="*/ f292 1 10000"/>
                <a:gd name="f360" fmla="*/ f293 1 10736"/>
                <a:gd name="f361" fmla="*/ f294 1 10000"/>
                <a:gd name="f362" fmla="*/ f295 1 10000"/>
                <a:gd name="f363" fmla="*/ f296 1 10000"/>
                <a:gd name="f364" fmla="*/ f297 1 10000"/>
                <a:gd name="f365" fmla="*/ f298 1 10736"/>
                <a:gd name="f366" fmla="*/ f299 1 10000"/>
                <a:gd name="f367" fmla="*/ f300 1 10736"/>
                <a:gd name="f368" fmla="*/ f301 1 10000"/>
                <a:gd name="f369" fmla="*/ f302 1 10736"/>
                <a:gd name="f370" fmla="*/ f303 1 10000"/>
                <a:gd name="f371" fmla="*/ f304 1 10736"/>
                <a:gd name="f372" fmla="*/ f305 1 10000"/>
                <a:gd name="f373" fmla="*/ f306 1 10736"/>
                <a:gd name="f374" fmla="*/ f307 1 10000"/>
                <a:gd name="f375" fmla="*/ 0 1 f240"/>
                <a:gd name="f376" fmla="*/ f234 1 f240"/>
                <a:gd name="f377" fmla="*/ 0 1 f241"/>
                <a:gd name="f378" fmla="*/ f235 1 f241"/>
                <a:gd name="f379" fmla="*/ f309 1 f240"/>
                <a:gd name="f380" fmla="*/ f310 1 f241"/>
                <a:gd name="f381" fmla="*/ f311 1 f240"/>
                <a:gd name="f382" fmla="*/ f312 1 f241"/>
                <a:gd name="f383" fmla="*/ f313 1 f240"/>
                <a:gd name="f384" fmla="*/ f314 1 f241"/>
                <a:gd name="f385" fmla="*/ f315 1 f240"/>
                <a:gd name="f386" fmla="*/ f316 1 f241"/>
                <a:gd name="f387" fmla="*/ f317 1 f240"/>
                <a:gd name="f388" fmla="*/ f318 1 f241"/>
                <a:gd name="f389" fmla="*/ f319 1 f240"/>
                <a:gd name="f390" fmla="*/ f320 1 f241"/>
                <a:gd name="f391" fmla="*/ f321 1 f240"/>
                <a:gd name="f392" fmla="*/ f322 1 f241"/>
                <a:gd name="f393" fmla="*/ f323 1 f240"/>
                <a:gd name="f394" fmla="*/ f324 1 f241"/>
                <a:gd name="f395" fmla="*/ f325 1 f240"/>
                <a:gd name="f396" fmla="*/ f326 1 f241"/>
                <a:gd name="f397" fmla="*/ f327 1 f240"/>
                <a:gd name="f398" fmla="*/ f328 1 f241"/>
                <a:gd name="f399" fmla="*/ f329 1 f240"/>
                <a:gd name="f400" fmla="*/ f330 1 f241"/>
                <a:gd name="f401" fmla="*/ f331 1 f240"/>
                <a:gd name="f402" fmla="*/ f332 1 f241"/>
                <a:gd name="f403" fmla="*/ f333 1 f240"/>
                <a:gd name="f404" fmla="*/ f334 1 f241"/>
                <a:gd name="f405" fmla="*/ f335 1 f240"/>
                <a:gd name="f406" fmla="*/ f336 1 f241"/>
                <a:gd name="f407" fmla="*/ f337 1 f241"/>
                <a:gd name="f408" fmla="*/ f338 1 f240"/>
                <a:gd name="f409" fmla="*/ f339 1 f241"/>
                <a:gd name="f410" fmla="*/ f340 1 f240"/>
                <a:gd name="f411" fmla="*/ f341 1 f241"/>
                <a:gd name="f412" fmla="*/ f342 1 f240"/>
                <a:gd name="f413" fmla="*/ f343 1 f241"/>
                <a:gd name="f414" fmla="*/ f344 1 f240"/>
                <a:gd name="f415" fmla="*/ f345 1 f241"/>
                <a:gd name="f416" fmla="*/ f346 1 f240"/>
                <a:gd name="f417" fmla="*/ f347 1 f240"/>
                <a:gd name="f418" fmla="*/ f348 1 f241"/>
                <a:gd name="f419" fmla="*/ f349 1 f240"/>
                <a:gd name="f420" fmla="*/ f350 1 f241"/>
                <a:gd name="f421" fmla="*/ f351 1 f240"/>
                <a:gd name="f422" fmla="*/ f352 1 f241"/>
                <a:gd name="f423" fmla="*/ f353 1 f240"/>
                <a:gd name="f424" fmla="*/ f354 1 f241"/>
                <a:gd name="f425" fmla="*/ f355 1 f240"/>
                <a:gd name="f426" fmla="*/ f356 1 f241"/>
                <a:gd name="f427" fmla="*/ f357 1 f241"/>
                <a:gd name="f428" fmla="*/ f358 1 f240"/>
                <a:gd name="f429" fmla="*/ f359 1 f241"/>
                <a:gd name="f430" fmla="*/ f360 1 f240"/>
                <a:gd name="f431" fmla="*/ f361 1 f241"/>
                <a:gd name="f432" fmla="*/ f362 1 f241"/>
                <a:gd name="f433" fmla="*/ f363 1 f241"/>
                <a:gd name="f434" fmla="*/ f364 1 f241"/>
                <a:gd name="f435" fmla="*/ f365 1 f240"/>
                <a:gd name="f436" fmla="*/ f366 1 f241"/>
                <a:gd name="f437" fmla="*/ f367 1 f240"/>
                <a:gd name="f438" fmla="*/ f368 1 f241"/>
                <a:gd name="f439" fmla="*/ f369 1 f240"/>
                <a:gd name="f440" fmla="*/ f370 1 f241"/>
                <a:gd name="f441" fmla="*/ f371 1 f240"/>
                <a:gd name="f442" fmla="*/ f372 1 f241"/>
                <a:gd name="f443" fmla="*/ f373 1 f240"/>
                <a:gd name="f444" fmla="*/ f374 1 f241"/>
                <a:gd name="f445" fmla="*/ f375 f231 1"/>
                <a:gd name="f446" fmla="*/ f376 f231 1"/>
                <a:gd name="f447" fmla="*/ f378 f232 1"/>
                <a:gd name="f448" fmla="*/ f377 f232 1"/>
                <a:gd name="f449" fmla="*/ f379 f231 1"/>
                <a:gd name="f450" fmla="*/ f380 f232 1"/>
                <a:gd name="f451" fmla="*/ f381 f231 1"/>
                <a:gd name="f452" fmla="*/ f382 f232 1"/>
                <a:gd name="f453" fmla="*/ f383 f231 1"/>
                <a:gd name="f454" fmla="*/ f384 f232 1"/>
                <a:gd name="f455" fmla="*/ f385 f231 1"/>
                <a:gd name="f456" fmla="*/ f386 f232 1"/>
                <a:gd name="f457" fmla="*/ f387 f231 1"/>
                <a:gd name="f458" fmla="*/ f388 f232 1"/>
                <a:gd name="f459" fmla="*/ f389 f231 1"/>
                <a:gd name="f460" fmla="*/ f390 f232 1"/>
                <a:gd name="f461" fmla="*/ f391 f231 1"/>
                <a:gd name="f462" fmla="*/ f392 f232 1"/>
                <a:gd name="f463" fmla="*/ f393 f231 1"/>
                <a:gd name="f464" fmla="*/ f394 f232 1"/>
                <a:gd name="f465" fmla="*/ f395 f231 1"/>
                <a:gd name="f466" fmla="*/ f396 f232 1"/>
                <a:gd name="f467" fmla="*/ f397 f231 1"/>
                <a:gd name="f468" fmla="*/ f398 f232 1"/>
                <a:gd name="f469" fmla="*/ f399 f231 1"/>
                <a:gd name="f470" fmla="*/ f400 f232 1"/>
                <a:gd name="f471" fmla="*/ f401 f231 1"/>
                <a:gd name="f472" fmla="*/ f402 f232 1"/>
                <a:gd name="f473" fmla="*/ f403 f231 1"/>
                <a:gd name="f474" fmla="*/ f404 f232 1"/>
                <a:gd name="f475" fmla="*/ f405 f231 1"/>
                <a:gd name="f476" fmla="*/ f406 f232 1"/>
                <a:gd name="f477" fmla="*/ f407 f232 1"/>
                <a:gd name="f478" fmla="*/ f408 f231 1"/>
                <a:gd name="f479" fmla="*/ f409 f232 1"/>
                <a:gd name="f480" fmla="*/ f410 f231 1"/>
                <a:gd name="f481" fmla="*/ f411 f232 1"/>
                <a:gd name="f482" fmla="*/ f412 f231 1"/>
                <a:gd name="f483" fmla="*/ f413 f232 1"/>
                <a:gd name="f484" fmla="*/ f414 f231 1"/>
                <a:gd name="f485" fmla="*/ f415 f232 1"/>
                <a:gd name="f486" fmla="*/ f416 f231 1"/>
                <a:gd name="f487" fmla="*/ f417 f231 1"/>
                <a:gd name="f488" fmla="*/ f418 f232 1"/>
                <a:gd name="f489" fmla="*/ f419 f231 1"/>
                <a:gd name="f490" fmla="*/ f420 f232 1"/>
                <a:gd name="f491" fmla="*/ f421 f231 1"/>
                <a:gd name="f492" fmla="*/ f422 f232 1"/>
                <a:gd name="f493" fmla="*/ f423 f231 1"/>
                <a:gd name="f494" fmla="*/ f424 f232 1"/>
                <a:gd name="f495" fmla="*/ f425 f231 1"/>
                <a:gd name="f496" fmla="*/ f426 f232 1"/>
                <a:gd name="f497" fmla="*/ f427 f232 1"/>
                <a:gd name="f498" fmla="*/ f428 f231 1"/>
                <a:gd name="f499" fmla="*/ f429 f232 1"/>
                <a:gd name="f500" fmla="*/ f430 f231 1"/>
                <a:gd name="f501" fmla="*/ f431 f232 1"/>
                <a:gd name="f502" fmla="*/ f432 f232 1"/>
                <a:gd name="f503" fmla="*/ f433 f232 1"/>
                <a:gd name="f504" fmla="*/ f434 f232 1"/>
                <a:gd name="f505" fmla="*/ f435 f231 1"/>
                <a:gd name="f506" fmla="*/ f436 f232 1"/>
                <a:gd name="f507" fmla="*/ f437 f231 1"/>
                <a:gd name="f508" fmla="*/ f438 f232 1"/>
                <a:gd name="f509" fmla="*/ f439 f231 1"/>
                <a:gd name="f510" fmla="*/ f440 f232 1"/>
                <a:gd name="f511" fmla="*/ f441 f231 1"/>
                <a:gd name="f512" fmla="*/ f442 f232 1"/>
                <a:gd name="f513" fmla="*/ f443 f231 1"/>
                <a:gd name="f514" fmla="*/ f444 f2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8">
                  <a:pos x="f449" y="f450"/>
                </a:cxn>
                <a:cxn ang="f308">
                  <a:pos x="f451" y="f452"/>
                </a:cxn>
                <a:cxn ang="f308">
                  <a:pos x="f453" y="f454"/>
                </a:cxn>
                <a:cxn ang="f308">
                  <a:pos x="f455" y="f456"/>
                </a:cxn>
                <a:cxn ang="f308">
                  <a:pos x="f457" y="f458"/>
                </a:cxn>
                <a:cxn ang="f308">
                  <a:pos x="f459" y="f460"/>
                </a:cxn>
                <a:cxn ang="f308">
                  <a:pos x="f461" y="f462"/>
                </a:cxn>
                <a:cxn ang="f308">
                  <a:pos x="f463" y="f464"/>
                </a:cxn>
                <a:cxn ang="f308">
                  <a:pos x="f465" y="f466"/>
                </a:cxn>
                <a:cxn ang="f308">
                  <a:pos x="f467" y="f468"/>
                </a:cxn>
                <a:cxn ang="f308">
                  <a:pos x="f469" y="f470"/>
                </a:cxn>
                <a:cxn ang="f308">
                  <a:pos x="f471" y="f472"/>
                </a:cxn>
                <a:cxn ang="f308">
                  <a:pos x="f473" y="f474"/>
                </a:cxn>
                <a:cxn ang="f308">
                  <a:pos x="f475" y="f476"/>
                </a:cxn>
                <a:cxn ang="f308">
                  <a:pos x="f475" y="f477"/>
                </a:cxn>
                <a:cxn ang="f308">
                  <a:pos x="f478" y="f479"/>
                </a:cxn>
                <a:cxn ang="f308">
                  <a:pos x="f480" y="f481"/>
                </a:cxn>
                <a:cxn ang="f308">
                  <a:pos x="f482" y="f483"/>
                </a:cxn>
                <a:cxn ang="f308">
                  <a:pos x="f484" y="f485"/>
                </a:cxn>
                <a:cxn ang="f308">
                  <a:pos x="f486" y="f477"/>
                </a:cxn>
                <a:cxn ang="f308">
                  <a:pos x="f487" y="f488"/>
                </a:cxn>
                <a:cxn ang="f308">
                  <a:pos x="f489" y="f490"/>
                </a:cxn>
                <a:cxn ang="f308">
                  <a:pos x="f491" y="f492"/>
                </a:cxn>
                <a:cxn ang="f308">
                  <a:pos x="f493" y="f494"/>
                </a:cxn>
                <a:cxn ang="f308">
                  <a:pos x="f495" y="f496"/>
                </a:cxn>
                <a:cxn ang="f308">
                  <a:pos x="f491" y="f497"/>
                </a:cxn>
                <a:cxn ang="f308">
                  <a:pos x="f498" y="f499"/>
                </a:cxn>
                <a:cxn ang="f308">
                  <a:pos x="f500" y="f501"/>
                </a:cxn>
                <a:cxn ang="f308">
                  <a:pos x="f482" y="f502"/>
                </a:cxn>
                <a:cxn ang="f308">
                  <a:pos x="f475" y="f503"/>
                </a:cxn>
                <a:cxn ang="f308">
                  <a:pos x="f473" y="f504"/>
                </a:cxn>
                <a:cxn ang="f308">
                  <a:pos x="f505" y="f506"/>
                </a:cxn>
                <a:cxn ang="f308">
                  <a:pos x="f507" y="f508"/>
                </a:cxn>
                <a:cxn ang="f308">
                  <a:pos x="f509" y="f510"/>
                </a:cxn>
                <a:cxn ang="f308">
                  <a:pos x="f511" y="f512"/>
                </a:cxn>
                <a:cxn ang="f308">
                  <a:pos x="f513" y="f514"/>
                </a:cxn>
              </a:cxnLst>
              <a:rect l="f445" t="f448" r="f446" b="f447"/>
              <a:pathLst>
                <a:path w="10736" h="10000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cubicBezTo>
                    <a:pt x="f34" y="f35"/>
                    <a:pt x="f36" y="f37"/>
                    <a:pt x="f6" y="f38"/>
                  </a:cubicBez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63" y="f64"/>
                  </a:cubicBezTo>
                  <a:lnTo>
                    <a:pt x="f65" y="f66"/>
                  </a:lnTo>
                  <a:cubicBezTo>
                    <a:pt x="f67" y="f68"/>
                    <a:pt x="f69" y="f70"/>
                    <a:pt x="f71" y="f72"/>
                  </a:cubicBezTo>
                  <a:cubicBezTo>
                    <a:pt x="f73" y="f74"/>
                    <a:pt x="f75" y="f76"/>
                    <a:pt x="f77" y="f78"/>
                  </a:cubicBezTo>
                  <a:cubicBezTo>
                    <a:pt x="f79" y="f80"/>
                    <a:pt x="f81" y="f82"/>
                    <a:pt x="f83" y="f84"/>
                  </a:cubicBezTo>
                  <a:lnTo>
                    <a:pt x="f85" y="f86"/>
                  </a:lnTo>
                  <a:cubicBezTo>
                    <a:pt x="f87" y="f88"/>
                    <a:pt x="f89" y="f90"/>
                    <a:pt x="f91" y="f92"/>
                  </a:cubicBezTo>
                  <a:lnTo>
                    <a:pt x="f93" y="f94"/>
                  </a:lnTo>
                  <a:lnTo>
                    <a:pt x="f95" y="f96"/>
                  </a:lnTo>
                  <a:lnTo>
                    <a:pt x="f97" y="f98"/>
                  </a:lnTo>
                  <a:lnTo>
                    <a:pt x="f99" y="f98"/>
                  </a:lnTo>
                  <a:lnTo>
                    <a:pt x="f100" y="f101"/>
                  </a:lnTo>
                  <a:lnTo>
                    <a:pt x="f102" y="f101"/>
                  </a:lnTo>
                  <a:lnTo>
                    <a:pt x="f103" y="f104"/>
                  </a:lnTo>
                  <a:lnTo>
                    <a:pt x="f105" y="f106"/>
                  </a:lnTo>
                  <a:lnTo>
                    <a:pt x="f107" y="f108"/>
                  </a:lnTo>
                  <a:lnTo>
                    <a:pt x="f109" y="f110"/>
                  </a:lnTo>
                  <a:lnTo>
                    <a:pt x="f111" y="f112"/>
                  </a:lnTo>
                  <a:lnTo>
                    <a:pt x="f113" y="f114"/>
                  </a:lnTo>
                  <a:lnTo>
                    <a:pt x="f111" y="f115"/>
                  </a:lnTo>
                  <a:cubicBezTo>
                    <a:pt x="f116" y="f117"/>
                    <a:pt x="f118" y="f119"/>
                    <a:pt x="f120" y="f121"/>
                  </a:cubicBezTo>
                  <a:lnTo>
                    <a:pt x="f122" y="f123"/>
                  </a:lnTo>
                  <a:cubicBezTo>
                    <a:pt x="f124" y="f125"/>
                    <a:pt x="f126" y="f127"/>
                    <a:pt x="f107" y="f5"/>
                  </a:cubicBezTo>
                  <a:lnTo>
                    <a:pt x="f128" y="f5"/>
                  </a:lnTo>
                  <a:lnTo>
                    <a:pt x="f129" y="f5"/>
                  </a:lnTo>
                  <a:lnTo>
                    <a:pt x="f130" y="f131"/>
                  </a:lnTo>
                  <a:lnTo>
                    <a:pt x="f132" y="f133"/>
                  </a:lnTo>
                  <a:lnTo>
                    <a:pt x="f134" y="f135"/>
                  </a:lnTo>
                  <a:lnTo>
                    <a:pt x="f134" y="f136"/>
                  </a:lnTo>
                  <a:lnTo>
                    <a:pt x="f137" y="f115"/>
                  </a:lnTo>
                  <a:cubicBezTo>
                    <a:pt x="f138" y="f139"/>
                    <a:pt x="f140" y="f141"/>
                    <a:pt x="f142" y="f143"/>
                  </a:cubicBezTo>
                  <a:lnTo>
                    <a:pt x="f144" y="f110"/>
                  </a:lnTo>
                  <a:lnTo>
                    <a:pt x="f145" y="f146"/>
                  </a:lnTo>
                  <a:lnTo>
                    <a:pt x="f147" y="f146"/>
                  </a:lnTo>
                  <a:lnTo>
                    <a:pt x="f148" y="f104"/>
                  </a:lnTo>
                  <a:lnTo>
                    <a:pt x="f149" y="f150"/>
                  </a:lnTo>
                  <a:lnTo>
                    <a:pt x="f151" y="f152"/>
                  </a:lnTo>
                  <a:lnTo>
                    <a:pt x="f153" y="f154"/>
                  </a:lnTo>
                  <a:lnTo>
                    <a:pt x="f155" y="f156"/>
                  </a:lnTo>
                  <a:lnTo>
                    <a:pt x="f5" y="f157"/>
                  </a:lnTo>
                  <a:lnTo>
                    <a:pt x="f158" y="f159"/>
                  </a:lnTo>
                  <a:lnTo>
                    <a:pt x="f149" y="f160"/>
                  </a:lnTo>
                  <a:lnTo>
                    <a:pt x="f161" y="f159"/>
                  </a:lnTo>
                  <a:cubicBezTo>
                    <a:pt x="f162" y="f163"/>
                    <a:pt x="f164" y="f165"/>
                    <a:pt x="f166" y="f167"/>
                  </a:cubicBezTo>
                  <a:lnTo>
                    <a:pt x="f144" y="f168"/>
                  </a:lnTo>
                  <a:lnTo>
                    <a:pt x="f169" y="f170"/>
                  </a:lnTo>
                  <a:lnTo>
                    <a:pt x="f171" y="f172"/>
                  </a:lnTo>
                  <a:lnTo>
                    <a:pt x="f130" y="f7"/>
                  </a:lnTo>
                  <a:lnTo>
                    <a:pt x="f128" y="f173"/>
                  </a:lnTo>
                  <a:lnTo>
                    <a:pt x="f111" y="f174"/>
                  </a:lnTo>
                  <a:lnTo>
                    <a:pt x="f175" y="f176"/>
                  </a:lnTo>
                  <a:cubicBezTo>
                    <a:pt x="f177" y="f178"/>
                    <a:pt x="f152" y="f179"/>
                    <a:pt x="f107" y="f168"/>
                  </a:cubicBezTo>
                  <a:cubicBezTo>
                    <a:pt x="f180" y="f181"/>
                    <a:pt x="f182" y="f183"/>
                    <a:pt x="f184" y="f185"/>
                  </a:cubicBezTo>
                  <a:lnTo>
                    <a:pt x="f186" y="f187"/>
                  </a:lnTo>
                  <a:lnTo>
                    <a:pt x="f188" y="f189"/>
                  </a:lnTo>
                  <a:lnTo>
                    <a:pt x="f190" y="f191"/>
                  </a:lnTo>
                  <a:cubicBezTo>
                    <a:pt x="f192" y="f193"/>
                    <a:pt x="f194" y="f195"/>
                    <a:pt x="f196" y="f197"/>
                  </a:cubicBezTo>
                  <a:cubicBezTo>
                    <a:pt x="f198" y="f199"/>
                    <a:pt x="f200" y="f201"/>
                    <a:pt x="f202" y="f203"/>
                  </a:cubicBezTo>
                  <a:cubicBezTo>
                    <a:pt x="f204" y="f205"/>
                    <a:pt x="f206" y="f207"/>
                    <a:pt x="f208" y="f209"/>
                  </a:cubicBezTo>
                  <a:cubicBezTo>
                    <a:pt x="f210" y="f211"/>
                    <a:pt x="f212" y="f213"/>
                    <a:pt x="f214" y="f215"/>
                  </a:cubicBezTo>
                  <a:cubicBezTo>
                    <a:pt x="f212" y="f216"/>
                    <a:pt x="f217" y="f218"/>
                    <a:pt x="f219" y="f124"/>
                  </a:cubicBezTo>
                  <a:cubicBezTo>
                    <a:pt x="f220" y="f221"/>
                    <a:pt x="f222" y="f223"/>
                    <a:pt x="f224" y="f225"/>
                  </a:cubicBezTo>
                  <a:cubicBezTo>
                    <a:pt x="f226" y="f227"/>
                    <a:pt x="f228" y="f229"/>
                    <a:pt x="f8" y="f9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9" name="Freeform 448">
              <a:extLst>
                <a:ext uri="{FF2B5EF4-FFF2-40B4-BE49-F238E27FC236}">
                  <a16:creationId xmlns:a16="http://schemas.microsoft.com/office/drawing/2014/main" id="{02263D68-3F85-E757-5274-D7CA267D1CB0}"/>
                </a:ext>
              </a:extLst>
            </p:cNvPr>
            <p:cNvSpPr/>
            <p:nvPr/>
          </p:nvSpPr>
          <p:spPr>
            <a:xfrm>
              <a:off x="8383527" y="4263261"/>
              <a:ext cx="132322" cy="1447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75"/>
                <a:gd name="f7" fmla="val 773"/>
                <a:gd name="f8" fmla="val 41"/>
                <a:gd name="f9" fmla="val 75"/>
                <a:gd name="f10" fmla="val 339"/>
                <a:gd name="f11" fmla="val 273"/>
                <a:gd name="f12" fmla="val 579"/>
                <a:gd name="f13" fmla="val 605"/>
                <a:gd name="f14" fmla="val 769"/>
                <a:gd name="f15" fmla="val 563"/>
                <a:gd name="f16" fmla="val 583"/>
                <a:gd name="f17" fmla="val 493"/>
                <a:gd name="f18" fmla="val 521"/>
                <a:gd name="f19" fmla="val 269"/>
                <a:gd name="f20" fmla="val 323"/>
                <a:gd name="f21" fmla="val 78"/>
                <a:gd name="f22" fmla="val 286"/>
                <a:gd name="f23" fmla="val 58"/>
                <a:gd name="f24" fmla="val 253"/>
                <a:gd name="f25" fmla="val 111"/>
                <a:gd name="f26" fmla="val 141"/>
                <a:gd name="f27" fmla="val 128"/>
                <a:gd name="f28" fmla="val 145"/>
                <a:gd name="f29" fmla="val 70"/>
                <a:gd name="f30" fmla="val 17"/>
                <a:gd name="f31" fmla="+- 0 0 -90"/>
                <a:gd name="f32" fmla="*/ f3 1 675"/>
                <a:gd name="f33" fmla="*/ f4 1 773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675"/>
                <a:gd name="f42" fmla="*/ f38 1 773"/>
                <a:gd name="f43" fmla="*/ 0 f39 1"/>
                <a:gd name="f44" fmla="*/ 2147483646 f38 1"/>
                <a:gd name="f45" fmla="*/ 2147483646 f39 1"/>
                <a:gd name="f46" fmla="*/ 0 f38 1"/>
                <a:gd name="f47" fmla="+- f40 0 f1"/>
                <a:gd name="f48" fmla="*/ f43 1 675"/>
                <a:gd name="f49" fmla="*/ f44 1 773"/>
                <a:gd name="f50" fmla="*/ f45 1 675"/>
                <a:gd name="f51" fmla="*/ f46 1 773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1"/>
                <a:gd name="f59" fmla="*/ f51 1 f42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2 1"/>
                <a:gd name="f67" fmla="*/ f59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5"/>
                </a:cxn>
                <a:cxn ang="f47">
                  <a:pos x="f66" y="f67"/>
                </a:cxn>
                <a:cxn ang="f47">
                  <a:pos x="f64" y="f65"/>
                </a:cxn>
              </a:cxnLst>
              <a:rect l="f60" t="f63" r="f61" b="f62"/>
              <a:pathLst>
                <a:path w="675" h="773">
                  <a:moveTo>
                    <a:pt x="f5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6" y="f7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7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5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0" name="Freeform 507">
              <a:extLst>
                <a:ext uri="{FF2B5EF4-FFF2-40B4-BE49-F238E27FC236}">
                  <a16:creationId xmlns:a16="http://schemas.microsoft.com/office/drawing/2014/main" id="{11563DCD-633C-F521-2816-49FB3E049668}"/>
                </a:ext>
              </a:extLst>
            </p:cNvPr>
            <p:cNvSpPr/>
            <p:nvPr/>
          </p:nvSpPr>
          <p:spPr>
            <a:xfrm>
              <a:off x="7573223" y="2821590"/>
              <a:ext cx="1552011" cy="1027538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950"/>
                <a:gd name="f8" fmla="val 660"/>
                <a:gd name="f9" fmla="val 890"/>
                <a:gd name="f10" fmla="val 118"/>
                <a:gd name="f11" fmla="val 880"/>
                <a:gd name="f12" fmla="val 98"/>
                <a:gd name="f13" fmla="val 840"/>
                <a:gd name="f14" fmla="val 88"/>
                <a:gd name="f15" fmla="val 792"/>
                <a:gd name="f16" fmla="val 746"/>
                <a:gd name="f17" fmla="val 732"/>
                <a:gd name="f18" fmla="val 24"/>
                <a:gd name="f19" fmla="val 702"/>
                <a:gd name="f20" fmla="val 78"/>
                <a:gd name="f21" fmla="val 672"/>
                <a:gd name="f22" fmla="val 668"/>
                <a:gd name="f23" fmla="val 90"/>
                <a:gd name="f24" fmla="val 670"/>
                <a:gd name="f25" fmla="val 92"/>
                <a:gd name="f26" fmla="val 674"/>
                <a:gd name="f27" fmla="val 676"/>
                <a:gd name="f28" fmla="val 94"/>
                <a:gd name="f29" fmla="val 678"/>
                <a:gd name="f30" fmla="val 658"/>
                <a:gd name="f31" fmla="val 108"/>
                <a:gd name="f32" fmla="val 132"/>
                <a:gd name="f33" fmla="val 138"/>
                <a:gd name="f34" fmla="val 712"/>
                <a:gd name="f35" fmla="val 158"/>
                <a:gd name="f36" fmla="val 172"/>
                <a:gd name="f37" fmla="val 632"/>
                <a:gd name="f38" fmla="val 188"/>
                <a:gd name="f39" fmla="val 598"/>
                <a:gd name="f40" fmla="val 202"/>
                <a:gd name="f41" fmla="val 588"/>
                <a:gd name="f42" fmla="val 236"/>
                <a:gd name="f43" fmla="val 534"/>
                <a:gd name="f44" fmla="val 242"/>
                <a:gd name="f45" fmla="val 480"/>
                <a:gd name="f46" fmla="val 276"/>
                <a:gd name="f47" fmla="val 430"/>
                <a:gd name="f48" fmla="val 252"/>
                <a:gd name="f49" fmla="val 370"/>
                <a:gd name="f50" fmla="val 246"/>
                <a:gd name="f51" fmla="val 326"/>
                <a:gd name="f52" fmla="val 262"/>
                <a:gd name="f53" fmla="val 182"/>
                <a:gd name="f54" fmla="val 256"/>
                <a:gd name="f55" fmla="val 226"/>
                <a:gd name="f56" fmla="val 222"/>
                <a:gd name="f57" fmla="val 114"/>
                <a:gd name="f58" fmla="val 220"/>
                <a:gd name="f59" fmla="val 116"/>
                <a:gd name="f60" fmla="val 218"/>
                <a:gd name="f61" fmla="val 120"/>
                <a:gd name="f62" fmla="val 122"/>
                <a:gd name="f63" fmla="val 124"/>
                <a:gd name="f64" fmla="val 208"/>
                <a:gd name="f65" fmla="val 192"/>
                <a:gd name="f66" fmla="val 148"/>
                <a:gd name="f67" fmla="val 142"/>
                <a:gd name="f68" fmla="val 198"/>
                <a:gd name="f69" fmla="val 68"/>
                <a:gd name="f70" fmla="val 44"/>
                <a:gd name="f71" fmla="val 296"/>
                <a:gd name="f72" fmla="val 4"/>
                <a:gd name="f73" fmla="val 306"/>
                <a:gd name="f74" fmla="val 10"/>
                <a:gd name="f75" fmla="val 334"/>
                <a:gd name="f76" fmla="val 14"/>
                <a:gd name="f77" fmla="val 350"/>
                <a:gd name="f78" fmla="val 354"/>
                <a:gd name="f79" fmla="val 364"/>
                <a:gd name="f80" fmla="val 30"/>
                <a:gd name="f81" fmla="val 390"/>
                <a:gd name="f82" fmla="val 64"/>
                <a:gd name="f83" fmla="val 398"/>
                <a:gd name="f84" fmla="val 428"/>
                <a:gd name="f85" fmla="val 84"/>
                <a:gd name="f86" fmla="val 444"/>
                <a:gd name="f87" fmla="val 74"/>
                <a:gd name="f88" fmla="val 458"/>
                <a:gd name="f89" fmla="val 478"/>
                <a:gd name="f90" fmla="val 488"/>
                <a:gd name="f91" fmla="val 104"/>
                <a:gd name="f92" fmla="val 492"/>
                <a:gd name="f93" fmla="val 508"/>
                <a:gd name="f94" fmla="val 178"/>
                <a:gd name="f95" fmla="val 522"/>
                <a:gd name="f96" fmla="val 528"/>
                <a:gd name="f97" fmla="val 536"/>
                <a:gd name="f98" fmla="val 546"/>
                <a:gd name="f99" fmla="val 282"/>
                <a:gd name="f100" fmla="val 316"/>
                <a:gd name="f101" fmla="val 512"/>
                <a:gd name="f102" fmla="val 340"/>
                <a:gd name="f103" fmla="val 380"/>
                <a:gd name="f104" fmla="val 532"/>
                <a:gd name="f105" fmla="val 386"/>
                <a:gd name="f106" fmla="val 556"/>
                <a:gd name="f107" fmla="val 376"/>
                <a:gd name="f108" fmla="val 586"/>
                <a:gd name="f109" fmla="val 596"/>
                <a:gd name="f110" fmla="val 600"/>
                <a:gd name="f111" fmla="val 400"/>
                <a:gd name="f112" fmla="val 616"/>
                <a:gd name="f113" fmla="val 626"/>
                <a:gd name="f114" fmla="val 424"/>
                <a:gd name="f115" fmla="val 636"/>
                <a:gd name="f116" fmla="val 420"/>
                <a:gd name="f117" fmla="val 640"/>
                <a:gd name="f118" fmla="val 450"/>
                <a:gd name="f119" fmla="val 500"/>
                <a:gd name="f120" fmla="val 518"/>
                <a:gd name="f121" fmla="val 630"/>
                <a:gd name="f122" fmla="val 524"/>
                <a:gd name="f123" fmla="val 646"/>
                <a:gd name="f124" fmla="val 568"/>
                <a:gd name="f125" fmla="val 608"/>
                <a:gd name="f126" fmla="val 612"/>
                <a:gd name="f127" fmla="val 622"/>
                <a:gd name="f128" fmla="val 620"/>
                <a:gd name="f129" fmla="val 652"/>
                <a:gd name="f130" fmla="val 582"/>
                <a:gd name="f131" fmla="val 562"/>
                <a:gd name="f132" fmla="val 726"/>
                <a:gd name="f133" fmla="val 542"/>
                <a:gd name="f134" fmla="val 742"/>
                <a:gd name="f135" fmla="val 498"/>
                <a:gd name="f136" fmla="val 736"/>
                <a:gd name="f137" fmla="val 472"/>
                <a:gd name="f138" fmla="val 454"/>
                <a:gd name="f139" fmla="val 404"/>
                <a:gd name="f140" fmla="val 716"/>
                <a:gd name="f141" fmla="val 374"/>
                <a:gd name="f142" fmla="val 752"/>
                <a:gd name="f143" fmla="val 754"/>
                <a:gd name="f144" fmla="val 368"/>
                <a:gd name="f145" fmla="val 692"/>
                <a:gd name="f146" fmla="val 682"/>
                <a:gd name="f147" fmla="val 330"/>
                <a:gd name="f148" fmla="val 706"/>
                <a:gd name="f149" fmla="val 320"/>
                <a:gd name="f150" fmla="val 722"/>
                <a:gd name="f151" fmla="val 290"/>
                <a:gd name="f152" fmla="val 756"/>
                <a:gd name="f153" fmla="val 310"/>
                <a:gd name="f154" fmla="val 762"/>
                <a:gd name="f155" fmla="val 786"/>
                <a:gd name="f156" fmla="val 284"/>
                <a:gd name="f157" fmla="val 806"/>
                <a:gd name="f158" fmla="val 272"/>
                <a:gd name="f159" fmla="val 820"/>
                <a:gd name="f160" fmla="val 818"/>
                <a:gd name="f161" fmla="val 838"/>
                <a:gd name="f162" fmla="val 250"/>
                <a:gd name="f163" fmla="val 864"/>
                <a:gd name="f164" fmla="val 254"/>
                <a:gd name="f165" fmla="val 876"/>
                <a:gd name="f166" fmla="val 900"/>
                <a:gd name="f167" fmla="val 924"/>
                <a:gd name="f168" fmla="+- 0 0 -90"/>
                <a:gd name="f169" fmla="*/ f4 1 950"/>
                <a:gd name="f170" fmla="*/ f5 1 660"/>
                <a:gd name="f171" fmla="val f6"/>
                <a:gd name="f172" fmla="val f7"/>
                <a:gd name="f173" fmla="val f8"/>
                <a:gd name="f174" fmla="*/ f168 f0 1"/>
                <a:gd name="f175" fmla="+- f173 0 f171"/>
                <a:gd name="f176" fmla="+- f172 0 f171"/>
                <a:gd name="f177" fmla="*/ f174 1 f3"/>
                <a:gd name="f178" fmla="*/ f176 1 950"/>
                <a:gd name="f179" fmla="*/ f175 1 660"/>
                <a:gd name="f180" fmla="*/ 2147483646 f176 1"/>
                <a:gd name="f181" fmla="*/ 2147483646 f175 1"/>
                <a:gd name="f182" fmla="+- f177 0 f1"/>
                <a:gd name="f183" fmla="*/ f180 1 950"/>
                <a:gd name="f184" fmla="*/ f181 1 660"/>
                <a:gd name="f185" fmla="*/ 0 1 f178"/>
                <a:gd name="f186" fmla="*/ f172 1 f178"/>
                <a:gd name="f187" fmla="*/ 0 1 f179"/>
                <a:gd name="f188" fmla="*/ f173 1 f179"/>
                <a:gd name="f189" fmla="*/ f183 1 f178"/>
                <a:gd name="f190" fmla="*/ f184 1 f179"/>
                <a:gd name="f191" fmla="*/ f185 f169 1"/>
                <a:gd name="f192" fmla="*/ f186 f169 1"/>
                <a:gd name="f193" fmla="*/ f188 f170 1"/>
                <a:gd name="f194" fmla="*/ f187 f170 1"/>
                <a:gd name="f195" fmla="*/ f189 f169 1"/>
                <a:gd name="f196" fmla="*/ f190 f17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  <a:cxn ang="f182">
                  <a:pos x="f195" y="f196"/>
                </a:cxn>
              </a:cxnLst>
              <a:rect l="f191" t="f194" r="f192" b="f193"/>
              <a:pathLst>
                <a:path w="950" h="660">
                  <a:moveTo>
                    <a:pt x="f9" y="f10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6"/>
                  </a:lnTo>
                  <a:lnTo>
                    <a:pt x="f16" y="f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0"/>
                  </a:lnTo>
                  <a:lnTo>
                    <a:pt x="f22" y="f14"/>
                  </a:lnTo>
                  <a:lnTo>
                    <a:pt x="f22" y="f23"/>
                  </a:lnTo>
                  <a:lnTo>
                    <a:pt x="f24" y="f23"/>
                  </a:lnTo>
                  <a:lnTo>
                    <a:pt x="f21" y="f23"/>
                  </a:lnTo>
                  <a:lnTo>
                    <a:pt x="f21" y="f25"/>
                  </a:lnTo>
                  <a:lnTo>
                    <a:pt x="f26" y="f25"/>
                  </a:lnTo>
                  <a:lnTo>
                    <a:pt x="f27" y="f25"/>
                  </a:lnTo>
                  <a:lnTo>
                    <a:pt x="f27" y="f28"/>
                  </a:lnTo>
                  <a:lnTo>
                    <a:pt x="f29" y="f28"/>
                  </a:lnTo>
                  <a:lnTo>
                    <a:pt x="f27" y="f28"/>
                  </a:lnTo>
                  <a:lnTo>
                    <a:pt x="f27" y="f25"/>
                  </a:lnTo>
                  <a:lnTo>
                    <a:pt x="f26" y="f25"/>
                  </a:lnTo>
                  <a:lnTo>
                    <a:pt x="f21" y="f25"/>
                  </a:lnTo>
                  <a:lnTo>
                    <a:pt x="f21" y="f23"/>
                  </a:lnTo>
                  <a:lnTo>
                    <a:pt x="f24" y="f23"/>
                  </a:lnTo>
                  <a:lnTo>
                    <a:pt x="f22" y="f23"/>
                  </a:lnTo>
                  <a:lnTo>
                    <a:pt x="f22" y="f14"/>
                  </a:lnTo>
                  <a:lnTo>
                    <a:pt x="f30" y="f31"/>
                  </a:lnTo>
                  <a:lnTo>
                    <a:pt x="f30" y="f32"/>
                  </a:lnTo>
                  <a:lnTo>
                    <a:pt x="f19" y="f33"/>
                  </a:lnTo>
                  <a:lnTo>
                    <a:pt x="f34" y="f35"/>
                  </a:lnTo>
                  <a:lnTo>
                    <a:pt x="f22" y="f36"/>
                  </a:lnTo>
                  <a:lnTo>
                    <a:pt x="f37" y="f38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40"/>
                  </a:lnTo>
                  <a:lnTo>
                    <a:pt x="f52" y="f53"/>
                  </a:lnTo>
                  <a:lnTo>
                    <a:pt x="f54" y="f32"/>
                  </a:lnTo>
                  <a:lnTo>
                    <a:pt x="f55" y="f10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0" y="f62"/>
                  </a:lnTo>
                  <a:lnTo>
                    <a:pt x="f60" y="f63"/>
                  </a:lnTo>
                  <a:lnTo>
                    <a:pt x="f60" y="f62"/>
                  </a:lnTo>
                  <a:lnTo>
                    <a:pt x="f60" y="f61"/>
                  </a:lnTo>
                  <a:lnTo>
                    <a:pt x="f56" y="f57"/>
                  </a:lnTo>
                  <a:lnTo>
                    <a:pt x="f60" y="f31"/>
                  </a:lnTo>
                  <a:lnTo>
                    <a:pt x="f64" y="f57"/>
                  </a:lnTo>
                  <a:lnTo>
                    <a:pt x="f64" y="f63"/>
                  </a:lnTo>
                  <a:lnTo>
                    <a:pt x="f64" y="f57"/>
                  </a:lnTo>
                  <a:lnTo>
                    <a:pt x="f65" y="f10"/>
                  </a:lnTo>
                  <a:lnTo>
                    <a:pt x="f53" y="f66"/>
                  </a:lnTo>
                  <a:lnTo>
                    <a:pt x="f67" y="f67"/>
                  </a:lnTo>
                  <a:lnTo>
                    <a:pt x="f32" y="f65"/>
                  </a:lnTo>
                  <a:lnTo>
                    <a:pt x="f12" y="f68"/>
                  </a:lnTo>
                  <a:lnTo>
                    <a:pt x="f14" y="f54"/>
                  </a:lnTo>
                  <a:lnTo>
                    <a:pt x="f69" y="f46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6" y="f51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72" y="f78"/>
                  </a:lnTo>
                  <a:lnTo>
                    <a:pt x="f76" y="f79"/>
                  </a:lnTo>
                  <a:lnTo>
                    <a:pt x="f80" y="f49"/>
                  </a:lnTo>
                  <a:lnTo>
                    <a:pt x="f70" y="f81"/>
                  </a:lnTo>
                  <a:lnTo>
                    <a:pt x="f82" y="f81"/>
                  </a:lnTo>
                  <a:lnTo>
                    <a:pt x="f28" y="f81"/>
                  </a:lnTo>
                  <a:lnTo>
                    <a:pt x="f12" y="f83"/>
                  </a:lnTo>
                  <a:lnTo>
                    <a:pt x="f20" y="f84"/>
                  </a:lnTo>
                  <a:lnTo>
                    <a:pt x="f85" y="f86"/>
                  </a:lnTo>
                  <a:lnTo>
                    <a:pt x="f87" y="f88"/>
                  </a:lnTo>
                  <a:lnTo>
                    <a:pt x="f85" y="f89"/>
                  </a:lnTo>
                  <a:lnTo>
                    <a:pt x="f31" y="f90"/>
                  </a:lnTo>
                  <a:lnTo>
                    <a:pt x="f91" y="f92"/>
                  </a:lnTo>
                  <a:lnTo>
                    <a:pt x="f57" y="f92"/>
                  </a:lnTo>
                  <a:lnTo>
                    <a:pt x="f66" y="f93"/>
                  </a:lnTo>
                  <a:lnTo>
                    <a:pt x="f94" y="f95"/>
                  </a:lnTo>
                  <a:lnTo>
                    <a:pt x="f64" y="f96"/>
                  </a:lnTo>
                  <a:lnTo>
                    <a:pt x="f60" y="f97"/>
                  </a:lnTo>
                  <a:lnTo>
                    <a:pt x="f55" y="f97"/>
                  </a:lnTo>
                  <a:lnTo>
                    <a:pt x="f44" y="f98"/>
                  </a:lnTo>
                  <a:lnTo>
                    <a:pt x="f52" y="f98"/>
                  </a:lnTo>
                  <a:lnTo>
                    <a:pt x="f99" y="f98"/>
                  </a:lnTo>
                  <a:lnTo>
                    <a:pt x="f71" y="f96"/>
                  </a:lnTo>
                  <a:lnTo>
                    <a:pt x="f100" y="f101"/>
                  </a:lnTo>
                  <a:lnTo>
                    <a:pt x="f102" y="f101"/>
                  </a:lnTo>
                  <a:lnTo>
                    <a:pt x="f2" y="f96"/>
                  </a:lnTo>
                  <a:lnTo>
                    <a:pt x="f49" y="f96"/>
                  </a:lnTo>
                  <a:lnTo>
                    <a:pt x="f103" y="f104"/>
                  </a:lnTo>
                  <a:lnTo>
                    <a:pt x="f105" y="f106"/>
                  </a:lnTo>
                  <a:lnTo>
                    <a:pt x="f107" y="f108"/>
                  </a:lnTo>
                  <a:lnTo>
                    <a:pt x="f107" y="f109"/>
                  </a:lnTo>
                  <a:lnTo>
                    <a:pt x="f81" y="f110"/>
                  </a:lnTo>
                  <a:lnTo>
                    <a:pt x="f111" y="f112"/>
                  </a:lnTo>
                  <a:lnTo>
                    <a:pt x="f111" y="f113"/>
                  </a:lnTo>
                  <a:lnTo>
                    <a:pt x="f114" y="f115"/>
                  </a:lnTo>
                  <a:lnTo>
                    <a:pt x="f116" y="f117"/>
                  </a:lnTo>
                  <a:lnTo>
                    <a:pt x="f86" y="f115"/>
                  </a:lnTo>
                  <a:lnTo>
                    <a:pt x="f118" y="f112"/>
                  </a:lnTo>
                  <a:lnTo>
                    <a:pt x="f119" y="f112"/>
                  </a:lnTo>
                  <a:lnTo>
                    <a:pt x="f120" y="f121"/>
                  </a:lnTo>
                  <a:lnTo>
                    <a:pt x="f122" y="f123"/>
                  </a:lnTo>
                  <a:lnTo>
                    <a:pt x="f43" y="f117"/>
                  </a:lnTo>
                  <a:lnTo>
                    <a:pt x="f124" y="f8"/>
                  </a:lnTo>
                  <a:lnTo>
                    <a:pt x="f124" y="f123"/>
                  </a:lnTo>
                  <a:lnTo>
                    <a:pt x="f125" y="f121"/>
                  </a:lnTo>
                  <a:lnTo>
                    <a:pt x="f126" y="f113"/>
                  </a:lnTo>
                  <a:lnTo>
                    <a:pt x="f127" y="f128"/>
                  </a:lnTo>
                  <a:lnTo>
                    <a:pt x="f37" y="f113"/>
                  </a:lnTo>
                  <a:lnTo>
                    <a:pt x="f129" y="f112"/>
                  </a:lnTo>
                  <a:lnTo>
                    <a:pt x="f29" y="f110"/>
                  </a:lnTo>
                  <a:lnTo>
                    <a:pt x="f19" y="f130"/>
                  </a:lnTo>
                  <a:lnTo>
                    <a:pt x="f34" y="f131"/>
                  </a:lnTo>
                  <a:lnTo>
                    <a:pt x="f132" y="f133"/>
                  </a:lnTo>
                  <a:lnTo>
                    <a:pt x="f134" y="f101"/>
                  </a:lnTo>
                  <a:lnTo>
                    <a:pt x="f134" y="f135"/>
                  </a:lnTo>
                  <a:lnTo>
                    <a:pt x="f136" y="f90"/>
                  </a:lnTo>
                  <a:lnTo>
                    <a:pt x="f134" y="f137"/>
                  </a:lnTo>
                  <a:lnTo>
                    <a:pt x="f136" y="f138"/>
                  </a:lnTo>
                  <a:lnTo>
                    <a:pt x="f34" y="f139"/>
                  </a:lnTo>
                  <a:lnTo>
                    <a:pt x="f140" y="f83"/>
                  </a:lnTo>
                  <a:lnTo>
                    <a:pt x="f136" y="f141"/>
                  </a:lnTo>
                  <a:lnTo>
                    <a:pt x="f142" y="f49"/>
                  </a:lnTo>
                  <a:lnTo>
                    <a:pt x="f143" y="f144"/>
                  </a:lnTo>
                  <a:lnTo>
                    <a:pt x="f143" y="f79"/>
                  </a:lnTo>
                  <a:lnTo>
                    <a:pt x="f142" y="f2"/>
                  </a:lnTo>
                  <a:lnTo>
                    <a:pt x="f132" y="f78"/>
                  </a:lnTo>
                  <a:lnTo>
                    <a:pt x="f34" y="f2"/>
                  </a:lnTo>
                  <a:lnTo>
                    <a:pt x="f19" y="f78"/>
                  </a:lnTo>
                  <a:lnTo>
                    <a:pt x="f145" y="f102"/>
                  </a:lnTo>
                  <a:lnTo>
                    <a:pt x="f146" y="f147"/>
                  </a:lnTo>
                  <a:lnTo>
                    <a:pt x="f148" y="f149"/>
                  </a:lnTo>
                  <a:lnTo>
                    <a:pt x="f150" y="f73"/>
                  </a:lnTo>
                  <a:lnTo>
                    <a:pt x="f16" y="f151"/>
                  </a:lnTo>
                  <a:lnTo>
                    <a:pt x="f152" y="f151"/>
                  </a:lnTo>
                  <a:lnTo>
                    <a:pt x="f134" y="f153"/>
                  </a:lnTo>
                  <a:lnTo>
                    <a:pt x="f142" y="f149"/>
                  </a:lnTo>
                  <a:lnTo>
                    <a:pt x="f154" y="f100"/>
                  </a:lnTo>
                  <a:lnTo>
                    <a:pt x="f155" y="f73"/>
                  </a:lnTo>
                  <a:lnTo>
                    <a:pt x="f15" y="f156"/>
                  </a:lnTo>
                  <a:lnTo>
                    <a:pt x="f157" y="f158"/>
                  </a:lnTo>
                  <a:lnTo>
                    <a:pt x="f159" y="f99"/>
                  </a:lnTo>
                  <a:lnTo>
                    <a:pt x="f160" y="f52"/>
                  </a:lnTo>
                  <a:lnTo>
                    <a:pt x="f161" y="f162"/>
                  </a:lnTo>
                  <a:lnTo>
                    <a:pt x="f163" y="f164"/>
                  </a:lnTo>
                  <a:lnTo>
                    <a:pt x="f165" y="f50"/>
                  </a:lnTo>
                  <a:lnTo>
                    <a:pt x="f9" y="f48"/>
                  </a:lnTo>
                  <a:lnTo>
                    <a:pt x="f166" y="f68"/>
                  </a:lnTo>
                  <a:lnTo>
                    <a:pt x="f167" y="f65"/>
                  </a:lnTo>
                  <a:lnTo>
                    <a:pt x="f7" y="f10"/>
                  </a:lnTo>
                  <a:lnTo>
                    <a:pt x="f9" y="f10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1" name="Freeform 372">
              <a:extLst>
                <a:ext uri="{FF2B5EF4-FFF2-40B4-BE49-F238E27FC236}">
                  <a16:creationId xmlns:a16="http://schemas.microsoft.com/office/drawing/2014/main" id="{8E9BB93D-83D7-4793-E30C-CFAB4F982BFD}"/>
                </a:ext>
              </a:extLst>
            </p:cNvPr>
            <p:cNvSpPr/>
            <p:nvPr/>
          </p:nvSpPr>
          <p:spPr>
            <a:xfrm>
              <a:off x="6102886" y="4896903"/>
              <a:ext cx="410062" cy="34717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1"/>
                <a:gd name="f7" fmla="val 45"/>
                <a:gd name="f8" fmla="val 48"/>
                <a:gd name="f9" fmla="val 1"/>
                <a:gd name="f10" fmla="val 47"/>
                <a:gd name="f11" fmla="val 46"/>
                <a:gd name="f12" fmla="val 2"/>
                <a:gd name="f13" fmla="val 41"/>
                <a:gd name="f14" fmla="val 34"/>
                <a:gd name="f15" fmla="val 5"/>
                <a:gd name="f16" fmla="val 26"/>
                <a:gd name="f17" fmla="val 12"/>
                <a:gd name="f18" fmla="val 22"/>
                <a:gd name="f19" fmla="val 17"/>
                <a:gd name="f20" fmla="val 15"/>
                <a:gd name="f21" fmla="val 14"/>
                <a:gd name="f22" fmla="val 13"/>
                <a:gd name="f23" fmla="val 11"/>
                <a:gd name="f24" fmla="val 9"/>
                <a:gd name="f25" fmla="val 23"/>
                <a:gd name="f26" fmla="val 6"/>
                <a:gd name="f27" fmla="val 24"/>
                <a:gd name="f28" fmla="val 27"/>
                <a:gd name="f29" fmla="val 35"/>
                <a:gd name="f30" fmla="val 39"/>
                <a:gd name="f31" fmla="val 43"/>
                <a:gd name="f32" fmla="val 25"/>
                <a:gd name="f33" fmla="val 42"/>
                <a:gd name="f34" fmla="val 32"/>
                <a:gd name="f35" fmla="val 50"/>
                <a:gd name="f36" fmla="val 19"/>
                <a:gd name="f37" fmla="val 16"/>
                <a:gd name="f38" fmla="val 49"/>
                <a:gd name="f39" fmla="+- 0 0 -90"/>
                <a:gd name="f40" fmla="*/ f3 1 51"/>
                <a:gd name="f41" fmla="*/ f4 1 45"/>
                <a:gd name="f42" fmla="val f5"/>
                <a:gd name="f43" fmla="val f6"/>
                <a:gd name="f44" fmla="val f7"/>
                <a:gd name="f45" fmla="*/ f39 f0 1"/>
                <a:gd name="f46" fmla="+- f44 0 f42"/>
                <a:gd name="f47" fmla="+- f43 0 f42"/>
                <a:gd name="f48" fmla="*/ f45 1 f2"/>
                <a:gd name="f49" fmla="*/ f47 1 51"/>
                <a:gd name="f50" fmla="*/ f46 1 45"/>
                <a:gd name="f51" fmla="*/ 2147483646 f47 1"/>
                <a:gd name="f52" fmla="*/ 2147483646 f46 1"/>
                <a:gd name="f53" fmla="*/ 0 f46 1"/>
                <a:gd name="f54" fmla="*/ 0 f47 1"/>
                <a:gd name="f55" fmla="+- f48 0 f1"/>
                <a:gd name="f56" fmla="*/ f51 1 51"/>
                <a:gd name="f57" fmla="*/ f52 1 45"/>
                <a:gd name="f58" fmla="*/ f53 1 45"/>
                <a:gd name="f59" fmla="*/ f54 1 51"/>
                <a:gd name="f60" fmla="*/ 0 1 f49"/>
                <a:gd name="f61" fmla="*/ f43 1 f49"/>
                <a:gd name="f62" fmla="*/ 0 1 f50"/>
                <a:gd name="f63" fmla="*/ f44 1 f50"/>
                <a:gd name="f64" fmla="*/ f56 1 f49"/>
                <a:gd name="f65" fmla="*/ f57 1 f50"/>
                <a:gd name="f66" fmla="*/ f58 1 f50"/>
                <a:gd name="f67" fmla="*/ f59 1 f49"/>
                <a:gd name="f68" fmla="*/ f60 f40 1"/>
                <a:gd name="f69" fmla="*/ f61 f40 1"/>
                <a:gd name="f70" fmla="*/ f63 f41 1"/>
                <a:gd name="f71" fmla="*/ f62 f41 1"/>
                <a:gd name="f72" fmla="*/ f64 f40 1"/>
                <a:gd name="f73" fmla="*/ f65 f41 1"/>
                <a:gd name="f74" fmla="*/ f66 f41 1"/>
                <a:gd name="f75" fmla="*/ f67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4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5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</a:cxnLst>
              <a:rect l="f68" t="f71" r="f69" b="f70"/>
              <a:pathLst>
                <a:path w="51" h="45">
                  <a:moveTo>
                    <a:pt x="f8" y="f9"/>
                  </a:moveTo>
                  <a:cubicBezTo>
                    <a:pt x="f10" y="f9"/>
                    <a:pt x="f10" y="f9"/>
                    <a:pt x="f10" y="f9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0" y="f9"/>
                    <a:pt x="f10" y="f9"/>
                    <a:pt x="f10" y="f9"/>
                  </a:cubicBezTo>
                  <a:cubicBezTo>
                    <a:pt x="f13" y="f5"/>
                    <a:pt x="f13" y="f5"/>
                    <a:pt x="f13" y="f5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7"/>
                    <a:pt x="f18" y="f17"/>
                    <a:pt x="f18" y="f17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21" y="f20"/>
                    <a:pt x="f21" y="f20"/>
                    <a:pt x="f21" y="f20"/>
                  </a:cubicBezTo>
                  <a:cubicBezTo>
                    <a:pt x="f22" y="f22"/>
                    <a:pt x="f22" y="f22"/>
                    <a:pt x="f22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3" y="f23"/>
                    <a:pt x="f23" y="f23"/>
                    <a:pt x="f23" y="f23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9" y="f18"/>
                    <a:pt x="f9" y="f18"/>
                    <a:pt x="f9" y="f18"/>
                  </a:cubicBezTo>
                  <a:cubicBezTo>
                    <a:pt x="f5" y="f27"/>
                    <a:pt x="f5" y="f27"/>
                    <a:pt x="f5" y="f27"/>
                  </a:cubicBezTo>
                  <a:cubicBezTo>
                    <a:pt x="f12" y="f28"/>
                    <a:pt x="f12" y="f28"/>
                    <a:pt x="f12" y="f28"/>
                  </a:cubicBezTo>
                  <a:cubicBezTo>
                    <a:pt x="f15" y="f29"/>
                    <a:pt x="f15" y="f29"/>
                    <a:pt x="f15" y="f29"/>
                  </a:cubicBezTo>
                  <a:cubicBezTo>
                    <a:pt x="f15" y="f30"/>
                    <a:pt x="f15" y="f30"/>
                    <a:pt x="f15" y="f30"/>
                  </a:cubicBezTo>
                  <a:cubicBezTo>
                    <a:pt x="f24" y="f7"/>
                    <a:pt x="f24" y="f7"/>
                    <a:pt x="f24" y="f7"/>
                  </a:cubicBezTo>
                  <a:cubicBezTo>
                    <a:pt x="f19" y="f31"/>
                    <a:pt x="f19" y="f31"/>
                    <a:pt x="f19" y="f31"/>
                  </a:cubicBezTo>
                  <a:cubicBezTo>
                    <a:pt x="f32" y="f33"/>
                    <a:pt x="f32" y="f33"/>
                    <a:pt x="f32" y="f33"/>
                  </a:cubicBezTo>
                  <a:cubicBezTo>
                    <a:pt x="f34" y="f13"/>
                    <a:pt x="f34" y="f13"/>
                    <a:pt x="f34" y="f13"/>
                  </a:cubicBezTo>
                  <a:cubicBezTo>
                    <a:pt x="f10" y="f32"/>
                    <a:pt x="f10" y="f32"/>
                    <a:pt x="f10" y="f32"/>
                  </a:cubicBezTo>
                  <a:cubicBezTo>
                    <a:pt x="f10" y="f32"/>
                    <a:pt x="f35" y="f36"/>
                    <a:pt x="f6" y="f37"/>
                  </a:cubicBezTo>
                  <a:cubicBezTo>
                    <a:pt x="f6" y="f37"/>
                    <a:pt x="f6" y="f37"/>
                    <a:pt x="f6" y="f37"/>
                  </a:cubicBezTo>
                  <a:cubicBezTo>
                    <a:pt x="f38" y="f37"/>
                    <a:pt x="f38" y="f37"/>
                    <a:pt x="f38" y="f37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92" name="Group 1091">
              <a:extLst>
                <a:ext uri="{FF2B5EF4-FFF2-40B4-BE49-F238E27FC236}">
                  <a16:creationId xmlns:a16="http://schemas.microsoft.com/office/drawing/2014/main" id="{EF493191-2C67-8500-E843-6235B072A41A}"/>
                </a:ext>
              </a:extLst>
            </p:cNvPr>
            <p:cNvGrpSpPr/>
            <p:nvPr/>
          </p:nvGrpSpPr>
          <p:grpSpPr>
            <a:xfrm>
              <a:off x="2574061" y="3522204"/>
              <a:ext cx="6219391" cy="2375802"/>
              <a:chOff x="2574054" y="3426083"/>
              <a:chExt cx="6219391" cy="2375802"/>
            </a:xfrm>
          </p:grpSpPr>
          <p:sp>
            <p:nvSpPr>
              <p:cNvPr id="1403" name="Freeform 423">
                <a:extLst>
                  <a:ext uri="{FF2B5EF4-FFF2-40B4-BE49-F238E27FC236}">
                    <a16:creationId xmlns:a16="http://schemas.microsoft.com/office/drawing/2014/main" id="{21F0CAAD-9225-174D-FEAF-1315DFE6B7F7}"/>
                  </a:ext>
                </a:extLst>
              </p:cNvPr>
              <p:cNvSpPr/>
              <p:nvPr/>
            </p:nvSpPr>
            <p:spPr>
              <a:xfrm>
                <a:off x="3201387" y="3830869"/>
                <a:ext cx="122520" cy="9652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5"/>
                  <a:gd name="f7" fmla="val 12"/>
                  <a:gd name="f8" fmla="val 5"/>
                  <a:gd name="f9" fmla="val 13"/>
                  <a:gd name="f10" fmla="val 11"/>
                  <a:gd name="f11" fmla="val 4"/>
                  <a:gd name="f12" fmla="val 6"/>
                  <a:gd name="f13" fmla="val 1"/>
                  <a:gd name="f14" fmla="val 3"/>
                  <a:gd name="f15" fmla="val 8"/>
                  <a:gd name="f16" fmla="val 10"/>
                  <a:gd name="f17" fmla="val 7"/>
                  <a:gd name="f18" fmla="+- 0 0 -90"/>
                  <a:gd name="f19" fmla="*/ f3 1 15"/>
                  <a:gd name="f20" fmla="*/ f4 1 12"/>
                  <a:gd name="f21" fmla="val f5"/>
                  <a:gd name="f22" fmla="val f6"/>
                  <a:gd name="f23" fmla="val f7"/>
                  <a:gd name="f24" fmla="*/ f18 f0 1"/>
                  <a:gd name="f25" fmla="+- f23 0 f21"/>
                  <a:gd name="f26" fmla="+- f22 0 f21"/>
                  <a:gd name="f27" fmla="*/ f24 1 f2"/>
                  <a:gd name="f28" fmla="*/ f26 1 15"/>
                  <a:gd name="f29" fmla="*/ f25 1 12"/>
                  <a:gd name="f30" fmla="*/ 2147483646 f26 1"/>
                  <a:gd name="f31" fmla="*/ 2147483646 f25 1"/>
                  <a:gd name="f32" fmla="*/ 0 f25 1"/>
                  <a:gd name="f33" fmla="*/ 0 f26 1"/>
                  <a:gd name="f34" fmla="+- f27 0 f1"/>
                  <a:gd name="f35" fmla="*/ f30 1 15"/>
                  <a:gd name="f36" fmla="*/ f31 1 12"/>
                  <a:gd name="f37" fmla="*/ f32 1 12"/>
                  <a:gd name="f38" fmla="*/ f33 1 15"/>
                  <a:gd name="f39" fmla="*/ 0 1 f28"/>
                  <a:gd name="f40" fmla="*/ f22 1 f28"/>
                  <a:gd name="f41" fmla="*/ 0 1 f29"/>
                  <a:gd name="f42" fmla="*/ f23 1 f29"/>
                  <a:gd name="f43" fmla="*/ f35 1 f28"/>
                  <a:gd name="f44" fmla="*/ f36 1 f29"/>
                  <a:gd name="f45" fmla="*/ f37 1 f29"/>
                  <a:gd name="f46" fmla="*/ f38 1 f28"/>
                  <a:gd name="f47" fmla="*/ f39 f19 1"/>
                  <a:gd name="f48" fmla="*/ f40 f19 1"/>
                  <a:gd name="f49" fmla="*/ f42 f20 1"/>
                  <a:gd name="f50" fmla="*/ f41 f20 1"/>
                  <a:gd name="f51" fmla="*/ f43 f19 1"/>
                  <a:gd name="f52" fmla="*/ f44 f20 1"/>
                  <a:gd name="f53" fmla="*/ f45 f20 1"/>
                  <a:gd name="f54" fmla="*/ f46 f1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3"/>
                  </a:cxn>
                  <a:cxn ang="f34">
                    <a:pos x="f51" y="f53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4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</a:cxnLst>
                <a:rect l="f47" t="f50" r="f48" b="f49"/>
                <a:pathLst>
                  <a:path w="15" h="12">
                    <a:moveTo>
                      <a:pt x="f6" y="f8"/>
                    </a:moveTo>
                    <a:cubicBezTo>
                      <a:pt x="f9" y="f8"/>
                      <a:pt x="f10" y="f11"/>
                      <a:pt x="f10" y="f11"/>
                    </a:cubicBezTo>
                    <a:cubicBezTo>
                      <a:pt x="f10" y="f5"/>
                      <a:pt x="f10" y="f5"/>
                      <a:pt x="f10" y="f5"/>
                    </a:cubicBezTo>
                    <a:cubicBezTo>
                      <a:pt x="f12" y="f5"/>
                      <a:pt x="f12" y="f5"/>
                      <a:pt x="f12" y="f5"/>
                    </a:cubicBezTo>
                    <a:cubicBezTo>
                      <a:pt x="f11" y="f13"/>
                      <a:pt x="f11" y="f13"/>
                      <a:pt x="f11" y="f13"/>
                    </a:cubicBezTo>
                    <a:cubicBezTo>
                      <a:pt x="f12" y="f8"/>
                      <a:pt x="f12" y="f8"/>
                      <a:pt x="f12" y="f8"/>
                    </a:cubicBezTo>
                    <a:cubicBezTo>
                      <a:pt x="f14" y="f8"/>
                      <a:pt x="f14" y="f8"/>
                      <a:pt x="f14" y="f8"/>
                    </a:cubicBezTo>
                    <a:cubicBezTo>
                      <a:pt x="f13" y="f15"/>
                      <a:pt x="f13" y="f15"/>
                      <a:pt x="f13" y="f15"/>
                    </a:cubicBezTo>
                    <a:cubicBezTo>
                      <a:pt x="f5" y="f16"/>
                      <a:pt x="f5" y="f16"/>
                      <a:pt x="f5" y="f16"/>
                    </a:cubicBezTo>
                    <a:cubicBezTo>
                      <a:pt x="f13" y="f10"/>
                      <a:pt x="f13" y="f10"/>
                      <a:pt x="f13" y="f10"/>
                    </a:cubicBezTo>
                    <a:cubicBezTo>
                      <a:pt x="f17" y="f7"/>
                      <a:pt x="f17" y="f7"/>
                      <a:pt x="f17" y="f7"/>
                    </a:cubicBezTo>
                    <a:cubicBezTo>
                      <a:pt x="f16" y="f10"/>
                      <a:pt x="f16" y="f10"/>
                      <a:pt x="f16" y="f10"/>
                    </a:cubicBezTo>
                    <a:cubicBezTo>
                      <a:pt x="f10" y="f15"/>
                      <a:pt x="f10" y="f15"/>
                      <a:pt x="f10" y="f15"/>
                    </a:cubicBezTo>
                    <a:lnTo>
                      <a:pt x="f6" y="f8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404" name="Group 1403">
                <a:extLst>
                  <a:ext uri="{FF2B5EF4-FFF2-40B4-BE49-F238E27FC236}">
                    <a16:creationId xmlns:a16="http://schemas.microsoft.com/office/drawing/2014/main" id="{DBDF8DF7-629B-CE66-5F39-BBEF95B1DB9B}"/>
                  </a:ext>
                </a:extLst>
              </p:cNvPr>
              <p:cNvGrpSpPr/>
              <p:nvPr/>
            </p:nvGrpSpPr>
            <p:grpSpPr>
              <a:xfrm>
                <a:off x="2574054" y="3426083"/>
                <a:ext cx="6219391" cy="2375802"/>
                <a:chOff x="2574054" y="3426083"/>
                <a:chExt cx="6219391" cy="2375802"/>
              </a:xfrm>
            </p:grpSpPr>
            <p:sp>
              <p:nvSpPr>
                <p:cNvPr id="1405" name="Freeform 411">
                  <a:extLst>
                    <a:ext uri="{FF2B5EF4-FFF2-40B4-BE49-F238E27FC236}">
                      <a16:creationId xmlns:a16="http://schemas.microsoft.com/office/drawing/2014/main" id="{0F7D2DCE-793C-CB0E-C86A-AF8B95BFDE4C}"/>
                    </a:ext>
                  </a:extLst>
                </p:cNvPr>
                <p:cNvSpPr/>
                <p:nvPr/>
              </p:nvSpPr>
              <p:spPr>
                <a:xfrm>
                  <a:off x="4050892" y="4951823"/>
                  <a:ext cx="130695" cy="163476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02"/>
                    <a:gd name="f7" fmla="val 114"/>
                    <a:gd name="f8" fmla="val 66"/>
                    <a:gd name="f9" fmla="val 24"/>
                    <a:gd name="f10" fmla="val 36"/>
                    <a:gd name="f11" fmla="val 6"/>
                    <a:gd name="f12" fmla="val 18"/>
                    <a:gd name="f13" fmla="val 48"/>
                    <a:gd name="f14" fmla="val 78"/>
                    <a:gd name="f15" fmla="val 96"/>
                    <a:gd name="f16" fmla="val 108"/>
                    <a:gd name="f17" fmla="val 90"/>
                    <a:gd name="f18" fmla="val 84"/>
                    <a:gd name="f19" fmla="val 42"/>
                    <a:gd name="f20" fmla="+- 0 0 -90"/>
                    <a:gd name="f21" fmla="*/ f3 1 102"/>
                    <a:gd name="f22" fmla="*/ f4 1 114"/>
                    <a:gd name="f23" fmla="val f5"/>
                    <a:gd name="f24" fmla="val f6"/>
                    <a:gd name="f25" fmla="val f7"/>
                    <a:gd name="f26" fmla="*/ f20 f0 1"/>
                    <a:gd name="f27" fmla="+- f25 0 f23"/>
                    <a:gd name="f28" fmla="+- f24 0 f23"/>
                    <a:gd name="f29" fmla="*/ f26 1 f2"/>
                    <a:gd name="f30" fmla="*/ f28 1 102"/>
                    <a:gd name="f31" fmla="*/ f27 1 114"/>
                    <a:gd name="f32" fmla="*/ 2147483646 f28 1"/>
                    <a:gd name="f33" fmla="*/ 2147483646 f27 1"/>
                    <a:gd name="f34" fmla="*/ 0 f27 1"/>
                    <a:gd name="f35" fmla="*/ 0 f28 1"/>
                    <a:gd name="f36" fmla="+- f29 0 f1"/>
                    <a:gd name="f37" fmla="*/ f32 1 102"/>
                    <a:gd name="f38" fmla="*/ f33 1 114"/>
                    <a:gd name="f39" fmla="*/ f34 1 114"/>
                    <a:gd name="f40" fmla="*/ f35 1 102"/>
                    <a:gd name="f41" fmla="*/ 0 1 f30"/>
                    <a:gd name="f42" fmla="*/ f24 1 f30"/>
                    <a:gd name="f43" fmla="*/ 0 1 f31"/>
                    <a:gd name="f44" fmla="*/ f25 1 f31"/>
                    <a:gd name="f45" fmla="*/ f37 1 f30"/>
                    <a:gd name="f46" fmla="*/ f38 1 f31"/>
                    <a:gd name="f47" fmla="*/ f39 1 f31"/>
                    <a:gd name="f48" fmla="*/ f40 1 f30"/>
                    <a:gd name="f49" fmla="*/ f41 f21 1"/>
                    <a:gd name="f50" fmla="*/ f42 f21 1"/>
                    <a:gd name="f51" fmla="*/ f44 f22 1"/>
                    <a:gd name="f52" fmla="*/ f43 f22 1"/>
                    <a:gd name="f53" fmla="*/ f45 f21 1"/>
                    <a:gd name="f54" fmla="*/ f46 f22 1"/>
                    <a:gd name="f55" fmla="*/ f47 f22 1"/>
                    <a:gd name="f56" fmla="*/ f4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5"/>
                    </a:cxn>
                    <a:cxn ang="f36">
                      <a:pos x="f53" y="f54"/>
                    </a:cxn>
                    <a:cxn ang="f36">
                      <a:pos x="f56" y="f54"/>
                    </a:cxn>
                    <a:cxn ang="f36">
                      <a:pos x="f56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  <a:cxn ang="f36">
                      <a:pos x="f53" y="f54"/>
                    </a:cxn>
                  </a:cxnLst>
                  <a:rect l="f49" t="f52" r="f50" b="f51"/>
                  <a:pathLst>
                    <a:path w="102" h="114">
                      <a:moveTo>
                        <a:pt x="f8" y="f9"/>
                      </a:moveTo>
                      <a:lnTo>
                        <a:pt x="f10" y="f11"/>
                      </a:lnTo>
                      <a:lnTo>
                        <a:pt x="f12" y="f5"/>
                      </a:lnTo>
                      <a:lnTo>
                        <a:pt x="f11" y="f12"/>
                      </a:lnTo>
                      <a:lnTo>
                        <a:pt x="f5" y="f13"/>
                      </a:lnTo>
                      <a:lnTo>
                        <a:pt x="f5" y="f14"/>
                      </a:lnTo>
                      <a:lnTo>
                        <a:pt x="f9" y="f15"/>
                      </a:lnTo>
                      <a:lnTo>
                        <a:pt x="f10" y="f16"/>
                      </a:lnTo>
                      <a:lnTo>
                        <a:pt x="f8" y="f7"/>
                      </a:lnTo>
                      <a:lnTo>
                        <a:pt x="f15" y="f17"/>
                      </a:lnTo>
                      <a:lnTo>
                        <a:pt x="f6" y="f14"/>
                      </a:lnTo>
                      <a:lnTo>
                        <a:pt x="f18" y="f19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06" name="Freeform 402">
                  <a:extLst>
                    <a:ext uri="{FF2B5EF4-FFF2-40B4-BE49-F238E27FC236}">
                      <a16:creationId xmlns:a16="http://schemas.microsoft.com/office/drawing/2014/main" id="{4453456C-54E8-CCFD-961E-5378099E5DBD}"/>
                    </a:ext>
                  </a:extLst>
                </p:cNvPr>
                <p:cNvSpPr/>
                <p:nvPr/>
              </p:nvSpPr>
              <p:spPr>
                <a:xfrm>
                  <a:off x="3454603" y="4033262"/>
                  <a:ext cx="145398" cy="5916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8"/>
                    <a:gd name="f7" fmla="val 8"/>
                    <a:gd name="f8" fmla="val 14"/>
                    <a:gd name="f9" fmla="val 1"/>
                    <a:gd name="f10" fmla="val 9"/>
                    <a:gd name="f11" fmla="val 3"/>
                    <a:gd name="f12" fmla="val 2"/>
                    <a:gd name="f13" fmla="val 4"/>
                    <a:gd name="f14" fmla="val 7"/>
                    <a:gd name="f15" fmla="val 5"/>
                    <a:gd name="f16" fmla="val 6"/>
                    <a:gd name="f17" fmla="val 10"/>
                    <a:gd name="f18" fmla="val 15"/>
                    <a:gd name="f19" fmla="+- 0 0 -90"/>
                    <a:gd name="f20" fmla="*/ f3 1 18"/>
                    <a:gd name="f21" fmla="*/ f4 1 8"/>
                    <a:gd name="f22" fmla="val f5"/>
                    <a:gd name="f23" fmla="val f6"/>
                    <a:gd name="f24" fmla="val f7"/>
                    <a:gd name="f25" fmla="*/ f19 f0 1"/>
                    <a:gd name="f26" fmla="+- f24 0 f22"/>
                    <a:gd name="f27" fmla="+- f23 0 f22"/>
                    <a:gd name="f28" fmla="*/ f25 1 f2"/>
                    <a:gd name="f29" fmla="*/ f26 1 8"/>
                    <a:gd name="f30" fmla="*/ f27 1 18"/>
                    <a:gd name="f31" fmla="*/ 2147483646 f27 1"/>
                    <a:gd name="f32" fmla="*/ 2147483646 f26 1"/>
                    <a:gd name="f33" fmla="*/ 0 f26 1"/>
                    <a:gd name="f34" fmla="*/ 0 f27 1"/>
                    <a:gd name="f35" fmla="+- f28 0 f1"/>
                    <a:gd name="f36" fmla="*/ f31 1 18"/>
                    <a:gd name="f37" fmla="*/ f32 1 8"/>
                    <a:gd name="f38" fmla="*/ f33 1 8"/>
                    <a:gd name="f39" fmla="*/ f34 1 18"/>
                    <a:gd name="f40" fmla="*/ 0 1 f30"/>
                    <a:gd name="f41" fmla="*/ f23 1 f30"/>
                    <a:gd name="f42" fmla="*/ 0 1 f29"/>
                    <a:gd name="f43" fmla="*/ f24 1 f29"/>
                    <a:gd name="f44" fmla="*/ f36 1 f30"/>
                    <a:gd name="f45" fmla="*/ f37 1 f29"/>
                    <a:gd name="f46" fmla="*/ f38 1 f29"/>
                    <a:gd name="f47" fmla="*/ f39 1 f30"/>
                    <a:gd name="f48" fmla="*/ f40 f20 1"/>
                    <a:gd name="f49" fmla="*/ f41 f20 1"/>
                    <a:gd name="f50" fmla="*/ f43 f21 1"/>
                    <a:gd name="f51" fmla="*/ f42 f21 1"/>
                    <a:gd name="f52" fmla="*/ f44 f20 1"/>
                    <a:gd name="f53" fmla="*/ f45 f21 1"/>
                    <a:gd name="f54" fmla="*/ f46 f21 1"/>
                    <a:gd name="f55" fmla="*/ f47 f2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4"/>
                    </a:cxn>
                    <a:cxn ang="f35">
                      <a:pos x="f55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  <a:cxn ang="f35">
                      <a:pos x="f52" y="f53"/>
                    </a:cxn>
                  </a:cxnLst>
                  <a:rect l="f48" t="f51" r="f49" b="f50"/>
                  <a:pathLst>
                    <a:path w="18" h="8">
                      <a:moveTo>
                        <a:pt x="f8" y="f9"/>
                      </a:moveTo>
                      <a:cubicBezTo>
                        <a:pt x="f10" y="f9"/>
                        <a:pt x="f10" y="f9"/>
                        <a:pt x="f10" y="f9"/>
                      </a:cubicBezTo>
                      <a:cubicBezTo>
                        <a:pt x="f10" y="f9"/>
                        <a:pt x="f11" y="f12"/>
                        <a:pt x="f12" y="f9"/>
                      </a:cubicBezTo>
                      <a:cubicBezTo>
                        <a:pt x="f9" y="f9"/>
                        <a:pt x="f9" y="f9"/>
                        <a:pt x="f9" y="f5"/>
                      </a:cubicBezTo>
                      <a:cubicBezTo>
                        <a:pt x="f5" y="f13"/>
                        <a:pt x="f5" y="f13"/>
                        <a:pt x="f5" y="f13"/>
                      </a:cubicBezTo>
                      <a:cubicBezTo>
                        <a:pt x="f5" y="f13"/>
                        <a:pt x="f11" y="f14"/>
                        <a:pt x="f13" y="f7"/>
                      </a:cubicBezTo>
                      <a:cubicBezTo>
                        <a:pt x="f15" y="f7"/>
                        <a:pt x="f16" y="f7"/>
                        <a:pt x="f16" y="f7"/>
                      </a:cubicBezTo>
                      <a:cubicBezTo>
                        <a:pt x="f14" y="f16"/>
                        <a:pt x="f14" y="f16"/>
                        <a:pt x="f14" y="f16"/>
                      </a:cubicBezTo>
                      <a:cubicBezTo>
                        <a:pt x="f17" y="f11"/>
                        <a:pt x="f17" y="f11"/>
                        <a:pt x="f17" y="f11"/>
                      </a:cubicBezTo>
                      <a:cubicBezTo>
                        <a:pt x="f8" y="f13"/>
                        <a:pt x="f8" y="f13"/>
                        <a:pt x="f8" y="f13"/>
                      </a:cubicBezTo>
                      <a:cubicBezTo>
                        <a:pt x="f18" y="f14"/>
                        <a:pt x="f18" y="f14"/>
                        <a:pt x="f18" y="f14"/>
                      </a:cubicBezTo>
                      <a:cubicBezTo>
                        <a:pt x="f6" y="f13"/>
                        <a:pt x="f6" y="f13"/>
                        <a:pt x="f6" y="f13"/>
                      </a:cubicBez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07" name="Freeform 403">
                  <a:extLst>
                    <a:ext uri="{FF2B5EF4-FFF2-40B4-BE49-F238E27FC236}">
                      <a16:creationId xmlns:a16="http://schemas.microsoft.com/office/drawing/2014/main" id="{28D63F70-1460-FEA6-756C-F558E2CBFD93}"/>
                    </a:ext>
                  </a:extLst>
                </p:cNvPr>
                <p:cNvSpPr/>
                <p:nvPr/>
              </p:nvSpPr>
              <p:spPr>
                <a:xfrm>
                  <a:off x="3550990" y="3964765"/>
                  <a:ext cx="298963" cy="312935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37"/>
                    <a:gd name="f7" fmla="val 41"/>
                    <a:gd name="f8" fmla="val 34"/>
                    <a:gd name="f9" fmla="val 27"/>
                    <a:gd name="f10" fmla="val 35"/>
                    <a:gd name="f11" fmla="val 23"/>
                    <a:gd name="f12" fmla="val 36"/>
                    <a:gd name="f13" fmla="val 21"/>
                    <a:gd name="f14" fmla="val 31"/>
                    <a:gd name="f15" fmla="val 20"/>
                    <a:gd name="f16" fmla="val 16"/>
                    <a:gd name="f17" fmla="val 19"/>
                    <a:gd name="f18" fmla="val 11"/>
                    <a:gd name="f19" fmla="val 3"/>
                    <a:gd name="f20" fmla="val 24"/>
                    <a:gd name="f21" fmla="val 1"/>
                    <a:gd name="f22" fmla="val 17"/>
                    <a:gd name="f23" fmla="val 2"/>
                    <a:gd name="f24" fmla="val 13"/>
                    <a:gd name="f25" fmla="val 4"/>
                    <a:gd name="f26" fmla="val 9"/>
                    <a:gd name="f27" fmla="val 10"/>
                    <a:gd name="f28" fmla="val 6"/>
                    <a:gd name="f29" fmla="val 18"/>
                    <a:gd name="f30" fmla="val 5"/>
                    <a:gd name="f31" fmla="val 26"/>
                    <a:gd name="f32" fmla="val 30"/>
                    <a:gd name="f33" fmla="val 33"/>
                    <a:gd name="f34" fmla="val 8"/>
                    <a:gd name="f35" fmla="val 38"/>
                    <a:gd name="f36" fmla="val 12"/>
                    <a:gd name="f37" fmla="+- 0 0 -90"/>
                    <a:gd name="f38" fmla="*/ f3 1 37"/>
                    <a:gd name="f39" fmla="*/ f4 1 41"/>
                    <a:gd name="f40" fmla="val f5"/>
                    <a:gd name="f41" fmla="val f6"/>
                    <a:gd name="f42" fmla="val f7"/>
                    <a:gd name="f43" fmla="*/ f37 f0 1"/>
                    <a:gd name="f44" fmla="+- f42 0 f40"/>
                    <a:gd name="f45" fmla="+- f41 0 f40"/>
                    <a:gd name="f46" fmla="*/ f43 1 f2"/>
                    <a:gd name="f47" fmla="*/ f45 1 37"/>
                    <a:gd name="f48" fmla="*/ f44 1 41"/>
                    <a:gd name="f49" fmla="*/ 2147483646 f45 1"/>
                    <a:gd name="f50" fmla="*/ 2147483646 f44 1"/>
                    <a:gd name="f51" fmla="*/ 0 f44 1"/>
                    <a:gd name="f52" fmla="*/ 0 f45 1"/>
                    <a:gd name="f53" fmla="+- f46 0 f1"/>
                    <a:gd name="f54" fmla="*/ f49 1 37"/>
                    <a:gd name="f55" fmla="*/ f50 1 41"/>
                    <a:gd name="f56" fmla="*/ f51 1 41"/>
                    <a:gd name="f57" fmla="*/ f52 1 37"/>
                    <a:gd name="f58" fmla="*/ 0 1 f47"/>
                    <a:gd name="f59" fmla="*/ f41 1 f47"/>
                    <a:gd name="f60" fmla="*/ 0 1 f48"/>
                    <a:gd name="f61" fmla="*/ f42 1 f48"/>
                    <a:gd name="f62" fmla="*/ f54 1 f47"/>
                    <a:gd name="f63" fmla="*/ f55 1 f48"/>
                    <a:gd name="f64" fmla="*/ f56 1 f48"/>
                    <a:gd name="f65" fmla="*/ f57 1 f47"/>
                    <a:gd name="f66" fmla="*/ f58 f38 1"/>
                    <a:gd name="f67" fmla="*/ f59 f38 1"/>
                    <a:gd name="f68" fmla="*/ f61 f39 1"/>
                    <a:gd name="f69" fmla="*/ f60 f39 1"/>
                    <a:gd name="f70" fmla="*/ f62 f38 1"/>
                    <a:gd name="f71" fmla="*/ f63 f39 1"/>
                    <a:gd name="f72" fmla="*/ f64 f39 1"/>
                    <a:gd name="f73" fmla="*/ f65 f38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2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  <a:cxn ang="f53">
                      <a:pos x="f73" y="f71"/>
                    </a:cxn>
                    <a:cxn ang="f53">
                      <a:pos x="f70" y="f71"/>
                    </a:cxn>
                    <a:cxn ang="f53">
                      <a:pos x="f70" y="f71"/>
                    </a:cxn>
                  </a:cxnLst>
                  <a:rect l="f66" t="f69" r="f67" b="f68"/>
                  <a:pathLst>
                    <a:path w="37" h="41">
                      <a:moveTo>
                        <a:pt x="f6" y="f8"/>
                      </a:moveTo>
                      <a:cubicBezTo>
                        <a:pt x="f6" y="f8"/>
                        <a:pt x="f6" y="f8"/>
                        <a:pt x="f6" y="f8"/>
                      </a:cubicBezTo>
                      <a:cubicBezTo>
                        <a:pt x="f6" y="f9"/>
                        <a:pt x="f6" y="f9"/>
                        <a:pt x="f6" y="f9"/>
                      </a:cubicBezTo>
                      <a:cubicBezTo>
                        <a:pt x="f10" y="f11"/>
                        <a:pt x="f10" y="f11"/>
                        <a:pt x="f10" y="f11"/>
                      </a:cubicBezTo>
                      <a:cubicBezTo>
                        <a:pt x="f12" y="f13"/>
                        <a:pt x="f12" y="f13"/>
                        <a:pt x="f12" y="f13"/>
                      </a:cubicBezTo>
                      <a:cubicBezTo>
                        <a:pt x="f14" y="f15"/>
                        <a:pt x="f14" y="f15"/>
                        <a:pt x="f14" y="f15"/>
                      </a:cubicBezTo>
                      <a:cubicBezTo>
                        <a:pt x="f13" y="f16"/>
                        <a:pt x="f13" y="f16"/>
                        <a:pt x="f13" y="f16"/>
                      </a:cubicBezTo>
                      <a:cubicBezTo>
                        <a:pt x="f17" y="f18"/>
                        <a:pt x="f17" y="f18"/>
                        <a:pt x="f17" y="f18"/>
                      </a:cubicBezTo>
                      <a:cubicBezTo>
                        <a:pt x="f15" y="f19"/>
                        <a:pt x="f15" y="f19"/>
                        <a:pt x="f15" y="f19"/>
                      </a:cubicBezTo>
                      <a:cubicBezTo>
                        <a:pt x="f20" y="f21"/>
                        <a:pt x="f20" y="f21"/>
                        <a:pt x="f20" y="f21"/>
                      </a:cubicBezTo>
                      <a:cubicBezTo>
                        <a:pt x="f20" y="f5"/>
                        <a:pt x="f20" y="f5"/>
                        <a:pt x="f20" y="f5"/>
                      </a:cubicBezTo>
                      <a:cubicBezTo>
                        <a:pt x="f22" y="f23"/>
                        <a:pt x="f22" y="f23"/>
                        <a:pt x="f22" y="f23"/>
                      </a:cubicBezTo>
                      <a:cubicBezTo>
                        <a:pt x="f24" y="f25"/>
                        <a:pt x="f24" y="f25"/>
                        <a:pt x="f24" y="f25"/>
                      </a:cubicBezTo>
                      <a:cubicBezTo>
                        <a:pt x="f18" y="f26"/>
                        <a:pt x="f18" y="f26"/>
                        <a:pt x="f18" y="f26"/>
                      </a:cubicBezTo>
                      <a:cubicBezTo>
                        <a:pt x="f26" y="f27"/>
                        <a:pt x="f26" y="f27"/>
                        <a:pt x="f26" y="f27"/>
                      </a:cubicBezTo>
                      <a:cubicBezTo>
                        <a:pt x="f28" y="f24"/>
                        <a:pt x="f28" y="f24"/>
                        <a:pt x="f28" y="f24"/>
                      </a:cubicBezTo>
                      <a:cubicBezTo>
                        <a:pt x="f19" y="f16"/>
                        <a:pt x="f19" y="f16"/>
                        <a:pt x="f19" y="f16"/>
                      </a:cubicBezTo>
                      <a:cubicBezTo>
                        <a:pt x="f25" y="f29"/>
                        <a:pt x="f25" y="f29"/>
                        <a:pt x="f25" y="f29"/>
                      </a:cubicBezTo>
                      <a:cubicBezTo>
                        <a:pt x="f30" y="f11"/>
                        <a:pt x="f30" y="f11"/>
                        <a:pt x="f30" y="f11"/>
                      </a:cubicBezTo>
                      <a:cubicBezTo>
                        <a:pt x="f30" y="f31"/>
                        <a:pt x="f30" y="f31"/>
                        <a:pt x="f30" y="f31"/>
                      </a:cubicBezTo>
                      <a:cubicBezTo>
                        <a:pt x="f28" y="f32"/>
                        <a:pt x="f28" y="f32"/>
                        <a:pt x="f28" y="f32"/>
                      </a:cubicBezTo>
                      <a:cubicBezTo>
                        <a:pt x="f23" y="f33"/>
                        <a:pt x="f23" y="f33"/>
                        <a:pt x="f23" y="f33"/>
                      </a:cubicBezTo>
                      <a:cubicBezTo>
                        <a:pt x="f5" y="f10"/>
                        <a:pt x="f5" y="f10"/>
                        <a:pt x="f5" y="f10"/>
                      </a:cubicBezTo>
                      <a:cubicBezTo>
                        <a:pt x="f34" y="f35"/>
                        <a:pt x="f34" y="f35"/>
                        <a:pt x="f34" y="f35"/>
                      </a:cubicBezTo>
                      <a:cubicBezTo>
                        <a:pt x="f36" y="f7"/>
                        <a:pt x="f36" y="f7"/>
                        <a:pt x="f36" y="f7"/>
                      </a:cubicBezTo>
                    </a:path>
                  </a:pathLst>
                </a:custGeom>
                <a:noFill/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08" name="Freeform 424">
                  <a:extLst>
                    <a:ext uri="{FF2B5EF4-FFF2-40B4-BE49-F238E27FC236}">
                      <a16:creationId xmlns:a16="http://schemas.microsoft.com/office/drawing/2014/main" id="{11719919-0680-EFEA-2946-2C0AA785A06A}"/>
                    </a:ext>
                  </a:extLst>
                </p:cNvPr>
                <p:cNvSpPr/>
                <p:nvPr/>
              </p:nvSpPr>
              <p:spPr>
                <a:xfrm>
                  <a:off x="2574054" y="3426083"/>
                  <a:ext cx="775996" cy="484193"/>
                </a:xfrm>
                <a:custGeom>
                  <a:avLst/>
                  <a:gdLst>
                    <a:gd name="f0" fmla="val 10800000"/>
                    <a:gd name="f1" fmla="val 5400000"/>
                    <a:gd name="f2" fmla="val 360"/>
                    <a:gd name="f3" fmla="val 180"/>
                    <a:gd name="f4" fmla="val w"/>
                    <a:gd name="f5" fmla="val h"/>
                    <a:gd name="f6" fmla="val 0"/>
                    <a:gd name="f7" fmla="val 576"/>
                    <a:gd name="f8" fmla="val 379"/>
                    <a:gd name="f9" fmla="val 486"/>
                    <a:gd name="f10" fmla="val 348"/>
                    <a:gd name="f11" fmla="val 504"/>
                    <a:gd name="f12" fmla="val 492"/>
                    <a:gd name="f13" fmla="val 324"/>
                    <a:gd name="f14" fmla="val 318"/>
                    <a:gd name="f15" fmla="val 534"/>
                    <a:gd name="f16" fmla="val 528"/>
                    <a:gd name="f17" fmla="val 312"/>
                    <a:gd name="f18" fmla="val 546"/>
                    <a:gd name="f19" fmla="val 300"/>
                    <a:gd name="f20" fmla="val 564"/>
                    <a:gd name="f21" fmla="val 288"/>
                    <a:gd name="f22" fmla="val 240"/>
                    <a:gd name="f23" fmla="val 252"/>
                    <a:gd name="f24" fmla="val 474"/>
                    <a:gd name="f25" fmla="val 294"/>
                    <a:gd name="f26" fmla="val 426"/>
                    <a:gd name="f27" fmla="val 378"/>
                    <a:gd name="f28" fmla="val 372"/>
                    <a:gd name="f29" fmla="val 162"/>
                    <a:gd name="f30" fmla="val 384"/>
                    <a:gd name="f31" fmla="val 144"/>
                    <a:gd name="f32" fmla="val 354"/>
                    <a:gd name="f33" fmla="val 138"/>
                    <a:gd name="f34" fmla="val 330"/>
                    <a:gd name="f35" fmla="val 114"/>
                    <a:gd name="f36" fmla="val 84"/>
                    <a:gd name="f37" fmla="val 66"/>
                    <a:gd name="f38" fmla="val 78"/>
                    <a:gd name="f39" fmla="val 204"/>
                    <a:gd name="f40" fmla="val 24"/>
                    <a:gd name="f41" fmla="val 174"/>
                    <a:gd name="f42" fmla="val 18"/>
                    <a:gd name="f43" fmla="val 156"/>
                    <a:gd name="f44" fmla="val 30"/>
                    <a:gd name="f45" fmla="val 108"/>
                    <a:gd name="f46" fmla="val 48"/>
                    <a:gd name="f47" fmla="val 6"/>
                    <a:gd name="f48" fmla="val 36"/>
                    <a:gd name="f49" fmla="val 72"/>
                    <a:gd name="f50" fmla="val 60"/>
                    <a:gd name="f51" fmla="val 54"/>
                    <a:gd name="f52" fmla="val 120"/>
                    <a:gd name="f53" fmla="val 96"/>
                    <a:gd name="f54" fmla="val 150"/>
                    <a:gd name="f55" fmla="val 102"/>
                    <a:gd name="f56" fmla="val 192"/>
                    <a:gd name="f57" fmla="val 216"/>
                    <a:gd name="f58" fmla="val 198"/>
                    <a:gd name="f59" fmla="val 126"/>
                    <a:gd name="f60" fmla="val 42"/>
                    <a:gd name="f61" fmla="val 168"/>
                    <a:gd name="f62" fmla="val 186"/>
                    <a:gd name="f63" fmla="val 222"/>
                    <a:gd name="f64" fmla="val 258"/>
                    <a:gd name="f65" fmla="val 276"/>
                    <a:gd name="f66" fmla="val 336"/>
                    <a:gd name="f67" fmla="val 342"/>
                    <a:gd name="f68" fmla="val 402"/>
                    <a:gd name="f69" fmla="val 420"/>
                    <a:gd name="f70" fmla="val 438"/>
                    <a:gd name="f71" fmla="val 468"/>
                    <a:gd name="f72" fmla="val 366"/>
                    <a:gd name="f73" fmla="+- 0 0 -90"/>
                    <a:gd name="f74" fmla="*/ f4 1 576"/>
                    <a:gd name="f75" fmla="*/ f5 1 379"/>
                    <a:gd name="f76" fmla="val f6"/>
                    <a:gd name="f77" fmla="val f7"/>
                    <a:gd name="f78" fmla="val f8"/>
                    <a:gd name="f79" fmla="*/ f73 f0 1"/>
                    <a:gd name="f80" fmla="+- f78 0 f76"/>
                    <a:gd name="f81" fmla="+- f77 0 f76"/>
                    <a:gd name="f82" fmla="*/ f79 1 f3"/>
                    <a:gd name="f83" fmla="*/ f81 1 576"/>
                    <a:gd name="f84" fmla="*/ f80 1 379"/>
                    <a:gd name="f85" fmla="*/ 2147483646 f81 1"/>
                    <a:gd name="f86" fmla="*/ 2147483646 f80 1"/>
                    <a:gd name="f87" fmla="*/ 0 f80 1"/>
                    <a:gd name="f88" fmla="*/ 0 f81 1"/>
                    <a:gd name="f89" fmla="+- f82 0 f1"/>
                    <a:gd name="f90" fmla="*/ f85 1 576"/>
                    <a:gd name="f91" fmla="*/ f86 1 379"/>
                    <a:gd name="f92" fmla="*/ f87 1 379"/>
                    <a:gd name="f93" fmla="*/ f88 1 576"/>
                    <a:gd name="f94" fmla="*/ 0 1 f83"/>
                    <a:gd name="f95" fmla="*/ f77 1 f83"/>
                    <a:gd name="f96" fmla="*/ 0 1 f84"/>
                    <a:gd name="f97" fmla="*/ f78 1 f84"/>
                    <a:gd name="f98" fmla="*/ f90 1 f83"/>
                    <a:gd name="f99" fmla="*/ f91 1 f84"/>
                    <a:gd name="f100" fmla="*/ f92 1 f84"/>
                    <a:gd name="f101" fmla="*/ f93 1 f83"/>
                    <a:gd name="f102" fmla="*/ f94 f74 1"/>
                    <a:gd name="f103" fmla="*/ f95 f74 1"/>
                    <a:gd name="f104" fmla="*/ f97 f75 1"/>
                    <a:gd name="f105" fmla="*/ f96 f75 1"/>
                    <a:gd name="f106" fmla="*/ f98 f74 1"/>
                    <a:gd name="f107" fmla="*/ f99 f75 1"/>
                    <a:gd name="f108" fmla="*/ f100 f75 1"/>
                    <a:gd name="f109" fmla="*/ f101 f74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8"/>
                    </a:cxn>
                    <a:cxn ang="f89">
                      <a:pos x="f109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  <a:cxn ang="f89">
                      <a:pos x="f106" y="f107"/>
                    </a:cxn>
                  </a:cxnLst>
                  <a:rect l="f102" t="f105" r="f103" b="f104"/>
                  <a:pathLst>
                    <a:path w="576" h="379">
                      <a:moveTo>
                        <a:pt x="f9" y="f10"/>
                      </a:moveTo>
                      <a:lnTo>
                        <a:pt x="f11" y="f10"/>
                      </a:lnTo>
                      <a:lnTo>
                        <a:pt x="f12" y="f13"/>
                      </a:lnTo>
                      <a:lnTo>
                        <a:pt x="f11" y="f14"/>
                      </a:lnTo>
                      <a:lnTo>
                        <a:pt x="f15" y="f14"/>
                      </a:lnTo>
                      <a:lnTo>
                        <a:pt x="f16" y="f17"/>
                      </a:lnTo>
                      <a:lnTo>
                        <a:pt x="f18" y="f19"/>
                      </a:lnTo>
                      <a:lnTo>
                        <a:pt x="f20" y="f21"/>
                      </a:lnTo>
                      <a:lnTo>
                        <a:pt x="f7" y="f22"/>
                      </a:lnTo>
                      <a:lnTo>
                        <a:pt x="f11" y="f23"/>
                      </a:lnTo>
                      <a:lnTo>
                        <a:pt x="f24" y="f25"/>
                      </a:lnTo>
                      <a:lnTo>
                        <a:pt x="f26" y="f19"/>
                      </a:lnTo>
                      <a:lnTo>
                        <a:pt x="f27" y="f22"/>
                      </a:lnTo>
                      <a:lnTo>
                        <a:pt x="f28" y="f29"/>
                      </a:lnTo>
                      <a:lnTo>
                        <a:pt x="f30" y="f31"/>
                      </a:lnTo>
                      <a:lnTo>
                        <a:pt x="f32" y="f33"/>
                      </a:lnTo>
                      <a:lnTo>
                        <a:pt x="f34" y="f35"/>
                      </a:lnTo>
                      <a:lnTo>
                        <a:pt x="f17" y="f36"/>
                      </a:lnTo>
                      <a:lnTo>
                        <a:pt x="f21" y="f37"/>
                      </a:lnTo>
                      <a:lnTo>
                        <a:pt x="f23" y="f38"/>
                      </a:lnTo>
                      <a:lnTo>
                        <a:pt x="f39" y="f40"/>
                      </a:lnTo>
                      <a:lnTo>
                        <a:pt x="f41" y="f42"/>
                      </a:lnTo>
                      <a:lnTo>
                        <a:pt x="f43" y="f44"/>
                      </a:lnTo>
                      <a:lnTo>
                        <a:pt x="f45" y="f44"/>
                      </a:lnTo>
                      <a:lnTo>
                        <a:pt x="f46" y="f6"/>
                      </a:lnTo>
                      <a:lnTo>
                        <a:pt x="f6" y="f47"/>
                      </a:lnTo>
                      <a:lnTo>
                        <a:pt x="f48" y="f49"/>
                      </a:lnTo>
                      <a:lnTo>
                        <a:pt x="f50" y="f45"/>
                      </a:lnTo>
                      <a:lnTo>
                        <a:pt x="f51" y="f52"/>
                      </a:lnTo>
                      <a:lnTo>
                        <a:pt x="f53" y="f54"/>
                      </a:lnTo>
                      <a:lnTo>
                        <a:pt x="f55" y="f3"/>
                      </a:lnTo>
                      <a:lnTo>
                        <a:pt x="f52" y="f56"/>
                      </a:lnTo>
                      <a:lnTo>
                        <a:pt x="f31" y="f57"/>
                      </a:lnTo>
                      <a:lnTo>
                        <a:pt x="f54" y="f58"/>
                      </a:lnTo>
                      <a:lnTo>
                        <a:pt x="f59" y="f3"/>
                      </a:lnTo>
                      <a:lnTo>
                        <a:pt x="f55" y="f59"/>
                      </a:lnTo>
                      <a:lnTo>
                        <a:pt x="f50" y="f37"/>
                      </a:lnTo>
                      <a:lnTo>
                        <a:pt x="f46" y="f44"/>
                      </a:lnTo>
                      <a:lnTo>
                        <a:pt x="f38" y="f60"/>
                      </a:lnTo>
                      <a:lnTo>
                        <a:pt x="f45" y="f55"/>
                      </a:lnTo>
                      <a:lnTo>
                        <a:pt x="f52" y="f52"/>
                      </a:lnTo>
                      <a:lnTo>
                        <a:pt x="f54" y="f33"/>
                      </a:lnTo>
                      <a:lnTo>
                        <a:pt x="f54" y="f43"/>
                      </a:lnTo>
                      <a:lnTo>
                        <a:pt x="f41" y="f61"/>
                      </a:lnTo>
                      <a:lnTo>
                        <a:pt x="f62" y="f62"/>
                      </a:lnTo>
                      <a:lnTo>
                        <a:pt x="f57" y="f57"/>
                      </a:lnTo>
                      <a:lnTo>
                        <a:pt x="f63" y="f64"/>
                      </a:lnTo>
                      <a:lnTo>
                        <a:pt x="f63" y="f65"/>
                      </a:lnTo>
                      <a:lnTo>
                        <a:pt x="f19" y="f13"/>
                      </a:lnTo>
                      <a:lnTo>
                        <a:pt x="f66" y="f67"/>
                      </a:lnTo>
                      <a:lnTo>
                        <a:pt x="f68" y="f2"/>
                      </a:lnTo>
                      <a:lnTo>
                        <a:pt x="f69" y="f32"/>
                      </a:lnTo>
                      <a:lnTo>
                        <a:pt x="f70" y="f32"/>
                      </a:lnTo>
                      <a:lnTo>
                        <a:pt x="f71" y="f8"/>
                      </a:lnTo>
                      <a:lnTo>
                        <a:pt x="f24" y="f72"/>
                      </a:lnTo>
                      <a:lnTo>
                        <a:pt x="f9" y="f10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09" name="Freeform 262">
                  <a:extLst>
                    <a:ext uri="{FF2B5EF4-FFF2-40B4-BE49-F238E27FC236}">
                      <a16:creationId xmlns:a16="http://schemas.microsoft.com/office/drawing/2014/main" id="{C10F8C7C-E414-9AEB-C8EA-BC159B99870B}"/>
                    </a:ext>
                  </a:extLst>
                </p:cNvPr>
                <p:cNvSpPr/>
                <p:nvPr/>
              </p:nvSpPr>
              <p:spPr>
                <a:xfrm>
                  <a:off x="8760774" y="3622249"/>
                  <a:ext cx="32671" cy="9185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24"/>
                    <a:gd name="f7" fmla="val 72"/>
                    <a:gd name="f8" fmla="val 42"/>
                    <a:gd name="f9" fmla="val 18"/>
                    <a:gd name="f10" fmla="val 6"/>
                    <a:gd name="f11" fmla="+- 0 0 -90"/>
                    <a:gd name="f12" fmla="*/ f3 1 24"/>
                    <a:gd name="f13" fmla="*/ f4 1 72"/>
                    <a:gd name="f14" fmla="val f5"/>
                    <a:gd name="f15" fmla="val f6"/>
                    <a:gd name="f16" fmla="val f7"/>
                    <a:gd name="f17" fmla="*/ f11 f0 1"/>
                    <a:gd name="f18" fmla="+- f16 0 f14"/>
                    <a:gd name="f19" fmla="+- f15 0 f14"/>
                    <a:gd name="f20" fmla="*/ f17 1 f2"/>
                    <a:gd name="f21" fmla="*/ f19 1 24"/>
                    <a:gd name="f22" fmla="*/ f18 1 72"/>
                    <a:gd name="f23" fmla="*/ 0 f19 1"/>
                    <a:gd name="f24" fmla="*/ 2147483646 f18 1"/>
                    <a:gd name="f25" fmla="*/ 2147483646 f19 1"/>
                    <a:gd name="f26" fmla="*/ 0 f18 1"/>
                    <a:gd name="f27" fmla="+- f20 0 f1"/>
                    <a:gd name="f28" fmla="*/ f23 1 24"/>
                    <a:gd name="f29" fmla="*/ f24 1 72"/>
                    <a:gd name="f30" fmla="*/ f25 1 24"/>
                    <a:gd name="f31" fmla="*/ f26 1 72"/>
                    <a:gd name="f32" fmla="*/ 0 1 f21"/>
                    <a:gd name="f33" fmla="*/ f15 1 f21"/>
                    <a:gd name="f34" fmla="*/ 0 1 f22"/>
                    <a:gd name="f35" fmla="*/ f16 1 f22"/>
                    <a:gd name="f36" fmla="*/ f28 1 f21"/>
                    <a:gd name="f37" fmla="*/ f29 1 f22"/>
                    <a:gd name="f38" fmla="*/ f30 1 f21"/>
                    <a:gd name="f39" fmla="*/ f31 1 f22"/>
                    <a:gd name="f40" fmla="*/ f32 f12 1"/>
                    <a:gd name="f41" fmla="*/ f33 f12 1"/>
                    <a:gd name="f42" fmla="*/ f35 f13 1"/>
                    <a:gd name="f43" fmla="*/ f34 f13 1"/>
                    <a:gd name="f44" fmla="*/ f36 f12 1"/>
                    <a:gd name="f45" fmla="*/ f37 f13 1"/>
                    <a:gd name="f46" fmla="*/ f38 f12 1"/>
                    <a:gd name="f47" fmla="*/ f39 f13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7">
                      <a:pos x="f44" y="f45"/>
                    </a:cxn>
                    <a:cxn ang="f27">
                      <a:pos x="f44" y="f45"/>
                    </a:cxn>
                    <a:cxn ang="f27">
                      <a:pos x="f46" y="f47"/>
                    </a:cxn>
                    <a:cxn ang="f27">
                      <a:pos x="f46" y="f45"/>
                    </a:cxn>
                    <a:cxn ang="f27">
                      <a:pos x="f46" y="f45"/>
                    </a:cxn>
                    <a:cxn ang="f27">
                      <a:pos x="f44" y="f45"/>
                    </a:cxn>
                  </a:cxnLst>
                  <a:rect l="f40" t="f43" r="f41" b="f42"/>
                  <a:pathLst>
                    <a:path w="24" h="72">
                      <a:moveTo>
                        <a:pt x="f5" y="f8"/>
                      </a:moveTo>
                      <a:lnTo>
                        <a:pt x="f5" y="f9"/>
                      </a:lnTo>
                      <a:lnTo>
                        <a:pt x="f6" y="f5"/>
                      </a:lnTo>
                      <a:lnTo>
                        <a:pt x="f6" y="f6"/>
                      </a:lnTo>
                      <a:lnTo>
                        <a:pt x="f10" y="f7"/>
                      </a:lnTo>
                      <a:lnTo>
                        <a:pt x="f5" y="f8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10" name="Freeform 420">
                  <a:extLst>
                    <a:ext uri="{FF2B5EF4-FFF2-40B4-BE49-F238E27FC236}">
                      <a16:creationId xmlns:a16="http://schemas.microsoft.com/office/drawing/2014/main" id="{765C5ACB-2E9D-9044-3EF2-6B116709EC11}"/>
                    </a:ext>
                  </a:extLst>
                </p:cNvPr>
                <p:cNvSpPr/>
                <p:nvPr/>
              </p:nvSpPr>
              <p:spPr>
                <a:xfrm>
                  <a:off x="3487274" y="4274582"/>
                  <a:ext cx="329997" cy="384550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240"/>
                    <a:gd name="f7" fmla="val 337"/>
                    <a:gd name="f8" fmla="val 228"/>
                    <a:gd name="f9" fmla="val 204"/>
                    <a:gd name="f10" fmla="val 198"/>
                    <a:gd name="f11" fmla="val 216"/>
                    <a:gd name="f12" fmla="val 210"/>
                    <a:gd name="f13" fmla="val 162"/>
                    <a:gd name="f14" fmla="val 174"/>
                    <a:gd name="f15" fmla="val 156"/>
                    <a:gd name="f16" fmla="val 120"/>
                    <a:gd name="f17" fmla="val 84"/>
                    <a:gd name="f18" fmla="val 72"/>
                    <a:gd name="f19" fmla="val 54"/>
                    <a:gd name="f20" fmla="val 192"/>
                    <a:gd name="f21" fmla="val 36"/>
                    <a:gd name="f22" fmla="val 168"/>
                    <a:gd name="f23" fmla="val 150"/>
                    <a:gd name="f24" fmla="val 18"/>
                    <a:gd name="f25" fmla="val 108"/>
                    <a:gd name="f26" fmla="val 24"/>
                    <a:gd name="f27" fmla="val 48"/>
                    <a:gd name="f28" fmla="val 66"/>
                    <a:gd name="f29" fmla="val 42"/>
                    <a:gd name="f30" fmla="val 78"/>
                    <a:gd name="f31" fmla="val 60"/>
                    <a:gd name="f32" fmla="val 114"/>
                    <a:gd name="f33" fmla="val 90"/>
                    <a:gd name="f34" fmla="val 252"/>
                    <a:gd name="f35" fmla="val 264"/>
                    <a:gd name="f36" fmla="val 222"/>
                    <a:gd name="f37" fmla="val 307"/>
                    <a:gd name="f38" fmla="val 234"/>
                    <a:gd name="f39" fmla="val 270"/>
                    <a:gd name="f40" fmla="+- 0 0 -90"/>
                    <a:gd name="f41" fmla="*/ f3 1 240"/>
                    <a:gd name="f42" fmla="*/ f4 1 337"/>
                    <a:gd name="f43" fmla="val f5"/>
                    <a:gd name="f44" fmla="val f6"/>
                    <a:gd name="f45" fmla="val f7"/>
                    <a:gd name="f46" fmla="*/ f40 f0 1"/>
                    <a:gd name="f47" fmla="+- f45 0 f43"/>
                    <a:gd name="f48" fmla="+- f44 0 f43"/>
                    <a:gd name="f49" fmla="*/ f46 1 f2"/>
                    <a:gd name="f50" fmla="*/ f48 1 240"/>
                    <a:gd name="f51" fmla="*/ f47 1 337"/>
                    <a:gd name="f52" fmla="*/ 2147483646 f48 1"/>
                    <a:gd name="f53" fmla="*/ 2147483646 f47 1"/>
                    <a:gd name="f54" fmla="*/ 0 f47 1"/>
                    <a:gd name="f55" fmla="*/ 0 f48 1"/>
                    <a:gd name="f56" fmla="+- f49 0 f1"/>
                    <a:gd name="f57" fmla="*/ f52 1 240"/>
                    <a:gd name="f58" fmla="*/ f53 1 337"/>
                    <a:gd name="f59" fmla="*/ f54 1 337"/>
                    <a:gd name="f60" fmla="*/ f55 1 240"/>
                    <a:gd name="f61" fmla="*/ 0 1 f50"/>
                    <a:gd name="f62" fmla="*/ f44 1 f50"/>
                    <a:gd name="f63" fmla="*/ 0 1 f51"/>
                    <a:gd name="f64" fmla="*/ f45 1 f51"/>
                    <a:gd name="f65" fmla="*/ f57 1 f50"/>
                    <a:gd name="f66" fmla="*/ f58 1 f51"/>
                    <a:gd name="f67" fmla="*/ f59 1 f51"/>
                    <a:gd name="f68" fmla="*/ f60 1 f50"/>
                    <a:gd name="f69" fmla="*/ f61 f41 1"/>
                    <a:gd name="f70" fmla="*/ f62 f41 1"/>
                    <a:gd name="f71" fmla="*/ f64 f42 1"/>
                    <a:gd name="f72" fmla="*/ f63 f42 1"/>
                    <a:gd name="f73" fmla="*/ f65 f41 1"/>
                    <a:gd name="f74" fmla="*/ f66 f42 1"/>
                    <a:gd name="f75" fmla="*/ f67 f42 1"/>
                    <a:gd name="f76" fmla="*/ f68 f4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5"/>
                    </a:cxn>
                    <a:cxn ang="f56">
                      <a:pos x="f73" y="f75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6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  <a:cxn ang="f56">
                      <a:pos x="f73" y="f74"/>
                    </a:cxn>
                  </a:cxnLst>
                  <a:rect l="f69" t="f72" r="f70" b="f71"/>
                  <a:pathLst>
                    <a:path w="240" h="337">
                      <a:moveTo>
                        <a:pt x="f8" y="f9"/>
                      </a:moveTo>
                      <a:lnTo>
                        <a:pt x="f8" y="f10"/>
                      </a:lnTo>
                      <a:lnTo>
                        <a:pt x="f11" y="f10"/>
                      </a:lnTo>
                      <a:lnTo>
                        <a:pt x="f12" y="f13"/>
                      </a:lnTo>
                      <a:lnTo>
                        <a:pt x="f2" y="f14"/>
                      </a:lnTo>
                      <a:lnTo>
                        <a:pt x="f15" y="f15"/>
                      </a:lnTo>
                      <a:lnTo>
                        <a:pt x="f15" y="f16"/>
                      </a:lnTo>
                      <a:lnTo>
                        <a:pt x="f2" y="f17"/>
                      </a:lnTo>
                      <a:lnTo>
                        <a:pt x="f10" y="f18"/>
                      </a:lnTo>
                      <a:lnTo>
                        <a:pt x="f9" y="f19"/>
                      </a:lnTo>
                      <a:lnTo>
                        <a:pt x="f20" y="f21"/>
                      </a:lnTo>
                      <a:lnTo>
                        <a:pt x="f22" y="f21"/>
                      </a:lnTo>
                      <a:lnTo>
                        <a:pt x="f23" y="f24"/>
                      </a:lnTo>
                      <a:lnTo>
                        <a:pt x="f16" y="f5"/>
                      </a:lnTo>
                      <a:lnTo>
                        <a:pt x="f25" y="f26"/>
                      </a:lnTo>
                      <a:lnTo>
                        <a:pt x="f17" y="f27"/>
                      </a:lnTo>
                      <a:lnTo>
                        <a:pt x="f28" y="f19"/>
                      </a:lnTo>
                      <a:lnTo>
                        <a:pt x="f29" y="f30"/>
                      </a:lnTo>
                      <a:lnTo>
                        <a:pt x="f26" y="f18"/>
                      </a:lnTo>
                      <a:lnTo>
                        <a:pt x="f24" y="f31"/>
                      </a:lnTo>
                      <a:lnTo>
                        <a:pt x="f5" y="f18"/>
                      </a:lnTo>
                      <a:lnTo>
                        <a:pt x="f24" y="f32"/>
                      </a:lnTo>
                      <a:lnTo>
                        <a:pt x="f19" y="f14"/>
                      </a:lnTo>
                      <a:lnTo>
                        <a:pt x="f33" y="f34"/>
                      </a:lnTo>
                      <a:lnTo>
                        <a:pt x="f33" y="f35"/>
                      </a:lnTo>
                      <a:lnTo>
                        <a:pt x="f11" y="f7"/>
                      </a:lnTo>
                      <a:lnTo>
                        <a:pt x="f36" y="f7"/>
                      </a:lnTo>
                      <a:lnTo>
                        <a:pt x="f8" y="f37"/>
                      </a:lnTo>
                      <a:lnTo>
                        <a:pt x="f38" y="f39"/>
                      </a:lnTo>
                      <a:lnTo>
                        <a:pt x="f6" y="f36"/>
                      </a:lnTo>
                      <a:lnTo>
                        <a:pt x="f8" y="f9"/>
                      </a:lnTo>
                    </a:path>
                  </a:pathLst>
                </a:custGeom>
                <a:noFill/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11" name="Freeform 413">
                  <a:extLst>
                    <a:ext uri="{FF2B5EF4-FFF2-40B4-BE49-F238E27FC236}">
                      <a16:creationId xmlns:a16="http://schemas.microsoft.com/office/drawing/2014/main" id="{87D66105-09E6-0F6A-9729-14BEF4D5B75E}"/>
                    </a:ext>
                  </a:extLst>
                </p:cNvPr>
                <p:cNvSpPr/>
                <p:nvPr/>
              </p:nvSpPr>
              <p:spPr>
                <a:xfrm>
                  <a:off x="3698025" y="4153140"/>
                  <a:ext cx="909956" cy="8936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0000"/>
                    <a:gd name="f7" fmla="val 5000"/>
                    <a:gd name="f8" fmla="val 7769"/>
                    <a:gd name="f9" fmla="val 5027"/>
                    <a:gd name="f10" fmla="val 7795"/>
                    <a:gd name="f11" fmla="val 5055"/>
                    <a:gd name="f12" fmla="val 7820"/>
                    <a:gd name="f13" fmla="val 5082"/>
                    <a:gd name="f14" fmla="val 7846"/>
                    <a:gd name="f15" fmla="val 8000"/>
                    <a:gd name="f16" fmla="val 4973"/>
                    <a:gd name="f17" fmla="val 8154"/>
                    <a:gd name="f18" fmla="val 4918"/>
                    <a:gd name="f19" fmla="val 8308"/>
                    <a:gd name="f20" fmla="val 4672"/>
                    <a:gd name="f21" fmla="val 8462"/>
                    <a:gd name="f22" fmla="val 4098"/>
                    <a:gd name="f23" fmla="val 9000"/>
                    <a:gd name="f24" fmla="val 4180"/>
                    <a:gd name="f25" fmla="val 4344"/>
                    <a:gd name="f26" fmla="val 9077"/>
                    <a:gd name="f27" fmla="val 4754"/>
                    <a:gd name="f28" fmla="val 9308"/>
                    <a:gd name="f29" fmla="val 9538"/>
                    <a:gd name="f30" fmla="val 5246"/>
                    <a:gd name="f31" fmla="val 5273"/>
                    <a:gd name="f32" fmla="val 9923"/>
                    <a:gd name="f33" fmla="val 5301"/>
                    <a:gd name="f34" fmla="val 9846"/>
                    <a:gd name="f35" fmla="val 5328"/>
                    <a:gd name="f36" fmla="val 9769"/>
                    <a:gd name="f37" fmla="val 5656"/>
                    <a:gd name="f38" fmla="val 9462"/>
                    <a:gd name="f39" fmla="val 6066"/>
                    <a:gd name="f40" fmla="val 6393"/>
                    <a:gd name="f41" fmla="val 8077"/>
                    <a:gd name="f42" fmla="val 6639"/>
                    <a:gd name="f43" fmla="val 7615"/>
                    <a:gd name="f44" fmla="val 7541"/>
                    <a:gd name="f45" fmla="val 7077"/>
                    <a:gd name="f46" fmla="val 8115"/>
                    <a:gd name="f47" fmla="val 7000"/>
                    <a:gd name="f48" fmla="val 8279"/>
                    <a:gd name="f49" fmla="val 6923"/>
                    <a:gd name="f50" fmla="val 8443"/>
                    <a:gd name="f51" fmla="val 6615"/>
                    <a:gd name="f52" fmla="val 8470"/>
                    <a:gd name="f53" fmla="val 6513"/>
                    <a:gd name="f54" fmla="val 8498"/>
                    <a:gd name="f55" fmla="val 6410"/>
                    <a:gd name="f56" fmla="val 8525"/>
                    <a:gd name="f57" fmla="val 6308"/>
                    <a:gd name="f58" fmla="val 8607"/>
                    <a:gd name="f59" fmla="val 6180"/>
                    <a:gd name="f60" fmla="val 8688"/>
                    <a:gd name="f61" fmla="val 6051"/>
                    <a:gd name="f62" fmla="val 8770"/>
                    <a:gd name="f63" fmla="val 5923"/>
                    <a:gd name="f64" fmla="val 8797"/>
                    <a:gd name="f65" fmla="val 5872"/>
                    <a:gd name="f66" fmla="val 8825"/>
                    <a:gd name="f67" fmla="val 5820"/>
                    <a:gd name="f68" fmla="val 8852"/>
                    <a:gd name="f69" fmla="val 5769"/>
                    <a:gd name="f70" fmla="val 8879"/>
                    <a:gd name="f71" fmla="val 5333"/>
                    <a:gd name="f72" fmla="val 8907"/>
                    <a:gd name="f73" fmla="val 4898"/>
                    <a:gd name="f74" fmla="val 8934"/>
                    <a:gd name="f75" fmla="val 4462"/>
                    <a:gd name="f76" fmla="val 9180"/>
                    <a:gd name="f77" fmla="val 4385"/>
                    <a:gd name="f78" fmla="val 3385"/>
                    <a:gd name="f79" fmla="val 3154"/>
                    <a:gd name="f80" fmla="val 9945"/>
                    <a:gd name="f81" fmla="val 2974"/>
                    <a:gd name="f82" fmla="val 9891"/>
                    <a:gd name="f83" fmla="val 2795"/>
                    <a:gd name="f84" fmla="val 9836"/>
                    <a:gd name="f85" fmla="val 2615"/>
                    <a:gd name="f86" fmla="val 9344"/>
                    <a:gd name="f87" fmla="val 2462"/>
                    <a:gd name="f88" fmla="val 2077"/>
                    <a:gd name="f89" fmla="val 7787"/>
                    <a:gd name="f90" fmla="val 2000"/>
                    <a:gd name="f91" fmla="val 1923"/>
                    <a:gd name="f92" fmla="val 7377"/>
                    <a:gd name="f93" fmla="val 1692"/>
                    <a:gd name="f94" fmla="val 6721"/>
                    <a:gd name="f95" fmla="val 1462"/>
                    <a:gd name="f96" fmla="val 6148"/>
                    <a:gd name="f97" fmla="val 1154"/>
                    <a:gd name="f98" fmla="val 6121"/>
                    <a:gd name="f99" fmla="val 1051"/>
                    <a:gd name="f100" fmla="val 6093"/>
                    <a:gd name="f101" fmla="val 949"/>
                    <a:gd name="f102" fmla="val 846"/>
                    <a:gd name="f103" fmla="val 231"/>
                    <a:gd name="f104" fmla="val 5738"/>
                    <a:gd name="f105" fmla="val 5410"/>
                    <a:gd name="f106" fmla="val 692"/>
                    <a:gd name="f107" fmla="val 820"/>
                    <a:gd name="f108" fmla="val 795"/>
                    <a:gd name="f109" fmla="val 769"/>
                    <a:gd name="f110" fmla="val 4590"/>
                    <a:gd name="f111" fmla="val 4426"/>
                    <a:gd name="f112" fmla="val 3934"/>
                    <a:gd name="f113" fmla="val 923"/>
                    <a:gd name="f114" fmla="val 3689"/>
                    <a:gd name="f115" fmla="val 1000"/>
                    <a:gd name="f116" fmla="val 3443"/>
                    <a:gd name="f117" fmla="val 3470"/>
                    <a:gd name="f118" fmla="val 615"/>
                    <a:gd name="f119" fmla="val 3498"/>
                    <a:gd name="f120" fmla="val 462"/>
                    <a:gd name="f121" fmla="val 3525"/>
                    <a:gd name="f122" fmla="val 308"/>
                    <a:gd name="f123" fmla="val 3361"/>
                    <a:gd name="f124" fmla="val 77"/>
                    <a:gd name="f125" fmla="val 3197"/>
                    <a:gd name="f126" fmla="val 3224"/>
                    <a:gd name="f127" fmla="val 51"/>
                    <a:gd name="f128" fmla="val 3252"/>
                    <a:gd name="f129" fmla="val 103"/>
                    <a:gd name="f130" fmla="val 3279"/>
                    <a:gd name="f131" fmla="val 154"/>
                    <a:gd name="f132" fmla="val 2869"/>
                    <a:gd name="f133" fmla="val 2213"/>
                    <a:gd name="f134" fmla="val 2459"/>
                    <a:gd name="f135" fmla="val 2486"/>
                    <a:gd name="f136" fmla="val 2514"/>
                    <a:gd name="f137" fmla="val 2541"/>
                    <a:gd name="f138" fmla="val 1803"/>
                    <a:gd name="f139" fmla="val 1557"/>
                    <a:gd name="f140" fmla="val 902"/>
                    <a:gd name="f141" fmla="val 1077"/>
                    <a:gd name="f142" fmla="val 929"/>
                    <a:gd name="f143" fmla="val 1205"/>
                    <a:gd name="f144" fmla="val 957"/>
                    <a:gd name="f145" fmla="val 1334"/>
                    <a:gd name="f146" fmla="val 984"/>
                    <a:gd name="f147" fmla="val 1744"/>
                    <a:gd name="f148" fmla="val 875"/>
                    <a:gd name="f149" fmla="val 2026"/>
                    <a:gd name="f150" fmla="val 2308"/>
                    <a:gd name="f151" fmla="val 765"/>
                    <a:gd name="f152" fmla="val 2257"/>
                    <a:gd name="f153" fmla="val 711"/>
                    <a:gd name="f154" fmla="val 2205"/>
                    <a:gd name="f155" fmla="val 656"/>
                    <a:gd name="f156" fmla="val 2154"/>
                    <a:gd name="f157" fmla="val 629"/>
                    <a:gd name="f158" fmla="val 2231"/>
                    <a:gd name="f159" fmla="val 601"/>
                    <a:gd name="f160" fmla="val 574"/>
                    <a:gd name="f161" fmla="val 2385"/>
                    <a:gd name="f162" fmla="val 328"/>
                    <a:gd name="f163" fmla="val 2538"/>
                    <a:gd name="f164" fmla="val 3000"/>
                    <a:gd name="f165" fmla="val 3462"/>
                    <a:gd name="f166" fmla="val 3692"/>
                    <a:gd name="f167" fmla="val 738"/>
                    <a:gd name="f168" fmla="val 3538"/>
                    <a:gd name="f169" fmla="val 793"/>
                    <a:gd name="f170" fmla="val 3846"/>
                    <a:gd name="f171" fmla="val 4000"/>
                    <a:gd name="f172" fmla="val 4077"/>
                    <a:gd name="f173" fmla="val 1311"/>
                    <a:gd name="f174" fmla="val 1240"/>
                    <a:gd name="f175" fmla="val 3993"/>
                    <a:gd name="f176" fmla="val 1382"/>
                    <a:gd name="f177" fmla="val 4007"/>
                    <a:gd name="f178" fmla="val 1378"/>
                    <a:gd name="f179" fmla="val 4124"/>
                    <a:gd name="f180" fmla="val 1411"/>
                    <a:gd name="f181" fmla="val 4121"/>
                    <a:gd name="f182" fmla="val 1487"/>
                    <a:gd name="f183" fmla="val 4047"/>
                    <a:gd name="f184" fmla="val 1644"/>
                    <a:gd name="f185" fmla="val 3939"/>
                    <a:gd name="f186" fmla="val 1720"/>
                    <a:gd name="f187" fmla="val 3900"/>
                    <a:gd name="f188" fmla="val 1796"/>
                    <a:gd name="f189" fmla="val 3861"/>
                    <a:gd name="f190" fmla="val 1787"/>
                    <a:gd name="f191" fmla="val 3873"/>
                    <a:gd name="f192" fmla="val 1869"/>
                    <a:gd name="f193" fmla="val 3886"/>
                    <a:gd name="f194" fmla="val 1951"/>
                    <a:gd name="f195" fmla="val 3899"/>
                    <a:gd name="f196" fmla="val 2074"/>
                    <a:gd name="f197" fmla="val 3776"/>
                    <a:gd name="f198" fmla="val 2131"/>
                    <a:gd name="f199" fmla="val 2188"/>
                    <a:gd name="f200" fmla="val 3916"/>
                    <a:gd name="f201" fmla="val 2186"/>
                    <a:gd name="f202" fmla="val 4154"/>
                    <a:gd name="f203" fmla="val 4308"/>
                    <a:gd name="f204" fmla="val 2705"/>
                    <a:gd name="f205" fmla="val 4538"/>
                    <a:gd name="f206" fmla="val 4769"/>
                    <a:gd name="f207" fmla="val 5077"/>
                    <a:gd name="f208" fmla="val 5308"/>
                    <a:gd name="f209" fmla="val 5385"/>
                    <a:gd name="f210" fmla="val 5692"/>
                    <a:gd name="f211" fmla="val 6231"/>
                    <a:gd name="f212" fmla="+- 0 0 -90"/>
                    <a:gd name="f213" fmla="*/ f3 1 10000"/>
                    <a:gd name="f214" fmla="*/ f4 1 10000"/>
                    <a:gd name="f215" fmla="val f5"/>
                    <a:gd name="f216" fmla="val f6"/>
                    <a:gd name="f217" fmla="*/ f212 f0 1"/>
                    <a:gd name="f218" fmla="+- f216 0 f215"/>
                    <a:gd name="f219" fmla="*/ f217 1 f2"/>
                    <a:gd name="f220" fmla="*/ f218 1 10000"/>
                    <a:gd name="f221" fmla="*/ 2147483646 f218 1"/>
                    <a:gd name="f222" fmla="*/ 0 f218 1"/>
                    <a:gd name="f223" fmla="+- f219 0 f1"/>
                    <a:gd name="f224" fmla="*/ f221 1 10000"/>
                    <a:gd name="f225" fmla="*/ f222 1 10000"/>
                    <a:gd name="f226" fmla="*/ 0 1 f220"/>
                    <a:gd name="f227" fmla="*/ f216 1 f220"/>
                    <a:gd name="f228" fmla="*/ f224 1 f220"/>
                    <a:gd name="f229" fmla="*/ f225 1 f220"/>
                    <a:gd name="f230" fmla="*/ f226 f213 1"/>
                    <a:gd name="f231" fmla="*/ f227 f213 1"/>
                    <a:gd name="f232" fmla="*/ f227 f214 1"/>
                    <a:gd name="f233" fmla="*/ f226 f214 1"/>
                    <a:gd name="f234" fmla="*/ f228 f213 1"/>
                    <a:gd name="f235" fmla="*/ f228 f214 1"/>
                    <a:gd name="f236" fmla="*/ f229 f214 1"/>
                    <a:gd name="f237" fmla="*/ f229 f213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6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7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  <a:cxn ang="f223">
                      <a:pos x="f234" y="f235"/>
                    </a:cxn>
                  </a:cxnLst>
                  <a:rect l="f230" t="f233" r="f231" b="f232"/>
                  <a:pathLst>
                    <a:path w="10000" h="10000">
                      <a:moveTo>
                        <a:pt x="f7" y="f8"/>
                      </a:moveTo>
                      <a:cubicBezTo>
                        <a:pt x="f9" y="f10"/>
                        <a:pt x="f11" y="f12"/>
                        <a:pt x="f13" y="f14"/>
                      </a:cubicBezTo>
                      <a:cubicBezTo>
                        <a:pt x="f9" y="f15"/>
                        <a:pt x="f16" y="f17"/>
                        <a:pt x="f18" y="f19"/>
                      </a:cubicBezTo>
                      <a:lnTo>
                        <a:pt x="f20" y="f21"/>
                      </a:lnTo>
                      <a:lnTo>
                        <a:pt x="f22" y="f23"/>
                      </a:lnTo>
                      <a:lnTo>
                        <a:pt x="f24" y="f23"/>
                      </a:lnTo>
                      <a:lnTo>
                        <a:pt x="f22" y="f23"/>
                      </a:lnTo>
                      <a:lnTo>
                        <a:pt x="f25" y="f26"/>
                      </a:lnTo>
                      <a:lnTo>
                        <a:pt x="f27" y="f28"/>
                      </a:lnTo>
                      <a:lnTo>
                        <a:pt x="f7" y="f29"/>
                      </a:lnTo>
                      <a:lnTo>
                        <a:pt x="f30" y="f6"/>
                      </a:lnTo>
                      <a:cubicBezTo>
                        <a:pt x="f31" y="f32"/>
                        <a:pt x="f33" y="f34"/>
                        <a:pt x="f35" y="f36"/>
                      </a:cubicBezTo>
                      <a:lnTo>
                        <a:pt x="f37" y="f38"/>
                      </a:lnTo>
                      <a:lnTo>
                        <a:pt x="f39" y="f26"/>
                      </a:lnTo>
                      <a:lnTo>
                        <a:pt x="f40" y="f41"/>
                      </a:lnTo>
                      <a:lnTo>
                        <a:pt x="f42" y="f43"/>
                      </a:lnTo>
                      <a:lnTo>
                        <a:pt x="f44" y="f45"/>
                      </a:lnTo>
                      <a:lnTo>
                        <a:pt x="f46" y="f47"/>
                      </a:lnTo>
                      <a:lnTo>
                        <a:pt x="f48" y="f49"/>
                      </a:lnTo>
                      <a:lnTo>
                        <a:pt x="f50" y="f51"/>
                      </a:lnTo>
                      <a:cubicBezTo>
                        <a:pt x="f52" y="f53"/>
                        <a:pt x="f54" y="f55"/>
                        <a:pt x="f56" y="f57"/>
                      </a:cubicBezTo>
                      <a:cubicBezTo>
                        <a:pt x="f58" y="f59"/>
                        <a:pt x="f60" y="f61"/>
                        <a:pt x="f62" y="f63"/>
                      </a:cubicBezTo>
                      <a:cubicBezTo>
                        <a:pt x="f64" y="f65"/>
                        <a:pt x="f66" y="f67"/>
                        <a:pt x="f68" y="f69"/>
                      </a:cubicBezTo>
                      <a:cubicBezTo>
                        <a:pt x="f70" y="f71"/>
                        <a:pt x="f72" y="f73"/>
                        <a:pt x="f74" y="f75"/>
                      </a:cubicBezTo>
                      <a:lnTo>
                        <a:pt x="f76" y="f77"/>
                      </a:lnTo>
                      <a:lnTo>
                        <a:pt x="f6" y="f78"/>
                      </a:lnTo>
                      <a:lnTo>
                        <a:pt x="f6" y="f79"/>
                      </a:lnTo>
                      <a:cubicBezTo>
                        <a:pt x="f80" y="f81"/>
                        <a:pt x="f82" y="f83"/>
                        <a:pt x="f84" y="f85"/>
                      </a:cubicBezTo>
                      <a:lnTo>
                        <a:pt x="f86" y="f87"/>
                      </a:lnTo>
                      <a:lnTo>
                        <a:pt x="f58" y="f88"/>
                      </a:lnTo>
                      <a:lnTo>
                        <a:pt x="f89" y="f90"/>
                      </a:lnTo>
                      <a:lnTo>
                        <a:pt x="f44" y="f91"/>
                      </a:lnTo>
                      <a:lnTo>
                        <a:pt x="f92" y="f93"/>
                      </a:lnTo>
                      <a:lnTo>
                        <a:pt x="f94" y="f95"/>
                      </a:lnTo>
                      <a:lnTo>
                        <a:pt x="f96" y="f97"/>
                      </a:lnTo>
                      <a:cubicBezTo>
                        <a:pt x="f98" y="f99"/>
                        <a:pt x="f100" y="f101"/>
                        <a:pt x="f39" y="f102"/>
                      </a:cubicBezTo>
                      <a:lnTo>
                        <a:pt x="f67" y="f103"/>
                      </a:lnTo>
                      <a:lnTo>
                        <a:pt x="f104" y="f103"/>
                      </a:lnTo>
                      <a:lnTo>
                        <a:pt x="f105" y="f106"/>
                      </a:lnTo>
                      <a:lnTo>
                        <a:pt x="f13" y="f102"/>
                      </a:lnTo>
                      <a:cubicBezTo>
                        <a:pt x="f11" y="f107"/>
                        <a:pt x="f9" y="f108"/>
                        <a:pt x="f7" y="f109"/>
                      </a:cubicBezTo>
                      <a:lnTo>
                        <a:pt x="f110" y="f109"/>
                      </a:lnTo>
                      <a:lnTo>
                        <a:pt x="f111" y="f102"/>
                      </a:lnTo>
                      <a:lnTo>
                        <a:pt x="f25" y="f102"/>
                      </a:lnTo>
                      <a:lnTo>
                        <a:pt x="f112" y="f113"/>
                      </a:lnTo>
                      <a:lnTo>
                        <a:pt x="f114" y="f115"/>
                      </a:lnTo>
                      <a:lnTo>
                        <a:pt x="f116" y="f109"/>
                      </a:lnTo>
                      <a:cubicBezTo>
                        <a:pt x="f117" y="f118"/>
                        <a:pt x="f119" y="f120"/>
                        <a:pt x="f121" y="f122"/>
                      </a:cubicBezTo>
                      <a:lnTo>
                        <a:pt x="f123" y="f124"/>
                      </a:lnTo>
                      <a:lnTo>
                        <a:pt x="f125" y="f5"/>
                      </a:lnTo>
                      <a:cubicBezTo>
                        <a:pt x="f126" y="f127"/>
                        <a:pt x="f128" y="f129"/>
                        <a:pt x="f130" y="f131"/>
                      </a:cubicBezTo>
                      <a:lnTo>
                        <a:pt x="f132" y="f122"/>
                      </a:lnTo>
                      <a:lnTo>
                        <a:pt x="f133" y="f122"/>
                      </a:lnTo>
                      <a:lnTo>
                        <a:pt x="f134" y="f106"/>
                      </a:lnTo>
                      <a:cubicBezTo>
                        <a:pt x="f135" y="f109"/>
                        <a:pt x="f136" y="f102"/>
                        <a:pt x="f137" y="f113"/>
                      </a:cubicBezTo>
                      <a:lnTo>
                        <a:pt x="f138" y="f97"/>
                      </a:lnTo>
                      <a:lnTo>
                        <a:pt x="f139" y="f113"/>
                      </a:lnTo>
                      <a:lnTo>
                        <a:pt x="f140" y="f141"/>
                      </a:lnTo>
                      <a:cubicBezTo>
                        <a:pt x="f142" y="f143"/>
                        <a:pt x="f144" y="f145"/>
                        <a:pt x="f146" y="f95"/>
                      </a:cubicBezTo>
                      <a:cubicBezTo>
                        <a:pt x="f142" y="f147"/>
                        <a:pt x="f148" y="f149"/>
                        <a:pt x="f107" y="f150"/>
                      </a:cubicBezTo>
                      <a:cubicBezTo>
                        <a:pt x="f151" y="f152"/>
                        <a:pt x="f153" y="f154"/>
                        <a:pt x="f155" y="f156"/>
                      </a:cubicBezTo>
                      <a:cubicBezTo>
                        <a:pt x="f157" y="f158"/>
                        <a:pt x="f159" y="f150"/>
                        <a:pt x="f160" y="f161"/>
                      </a:cubicBezTo>
                      <a:lnTo>
                        <a:pt x="f162" y="f163"/>
                      </a:lnTo>
                      <a:lnTo>
                        <a:pt x="f5" y="f164"/>
                      </a:lnTo>
                      <a:lnTo>
                        <a:pt x="f5" y="f165"/>
                      </a:lnTo>
                      <a:lnTo>
                        <a:pt x="f162" y="f166"/>
                      </a:lnTo>
                      <a:lnTo>
                        <a:pt x="f167" y="f168"/>
                      </a:lnTo>
                      <a:cubicBezTo>
                        <a:pt x="f151" y="f166"/>
                        <a:pt x="f169" y="f170"/>
                        <a:pt x="f107" y="f171"/>
                      </a:cubicBezTo>
                      <a:lnTo>
                        <a:pt x="f146" y="f171"/>
                      </a:lnTo>
                      <a:lnTo>
                        <a:pt x="f146" y="f172"/>
                      </a:lnTo>
                      <a:cubicBezTo>
                        <a:pt x="f173" y="f171"/>
                        <a:pt x="f174" y="f175"/>
                        <a:pt x="f173" y="f171"/>
                      </a:cubicBezTo>
                      <a:cubicBezTo>
                        <a:pt x="f176" y="f177"/>
                        <a:pt x="f178" y="f179"/>
                        <a:pt x="f180" y="f181"/>
                      </a:cubicBezTo>
                      <a:cubicBezTo>
                        <a:pt x="f182" y="f183"/>
                        <a:pt x="f184" y="f185"/>
                        <a:pt x="f186" y="f187"/>
                      </a:cubicBezTo>
                      <a:cubicBezTo>
                        <a:pt x="f188" y="f189"/>
                        <a:pt x="f190" y="f191"/>
                        <a:pt x="f192" y="f193"/>
                      </a:cubicBezTo>
                      <a:cubicBezTo>
                        <a:pt x="f194" y="f195"/>
                        <a:pt x="f196" y="f197"/>
                        <a:pt x="f198" y="f170"/>
                      </a:cubicBezTo>
                      <a:cubicBezTo>
                        <a:pt x="f199" y="f200"/>
                        <a:pt x="f201" y="f202"/>
                        <a:pt x="f133" y="f203"/>
                      </a:cubicBezTo>
                      <a:lnTo>
                        <a:pt x="f204" y="f205"/>
                      </a:lnTo>
                      <a:lnTo>
                        <a:pt x="f130" y="f206"/>
                      </a:lnTo>
                      <a:lnTo>
                        <a:pt x="f130" y="f207"/>
                      </a:lnTo>
                      <a:lnTo>
                        <a:pt x="f116" y="f208"/>
                      </a:lnTo>
                      <a:cubicBezTo>
                        <a:pt x="f121" y="f208"/>
                        <a:pt x="f112" y="f209"/>
                        <a:pt x="f112" y="f209"/>
                      </a:cubicBezTo>
                      <a:lnTo>
                        <a:pt x="f112" y="f210"/>
                      </a:lnTo>
                      <a:lnTo>
                        <a:pt x="f112" y="f211"/>
                      </a:lnTo>
                    </a:path>
                  </a:pathLst>
                </a:custGeom>
                <a:noFill/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12" name="Freeform 409">
                  <a:extLst>
                    <a:ext uri="{FF2B5EF4-FFF2-40B4-BE49-F238E27FC236}">
                      <a16:creationId xmlns:a16="http://schemas.microsoft.com/office/drawing/2014/main" id="{11441AA8-B7FD-480C-4006-4C28325BB4F7}"/>
                    </a:ext>
                  </a:extLst>
                </p:cNvPr>
                <p:cNvSpPr/>
                <p:nvPr/>
              </p:nvSpPr>
              <p:spPr>
                <a:xfrm>
                  <a:off x="3684949" y="4743203"/>
                  <a:ext cx="486835" cy="929460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0000"/>
                    <a:gd name="f7" fmla="val 10001"/>
                    <a:gd name="f8" fmla="val 7581"/>
                    <a:gd name="f9" fmla="val 2950"/>
                    <a:gd name="f10" fmla="val 7635"/>
                    <a:gd name="f11" fmla="val 2818"/>
                    <a:gd name="f12" fmla="val 7688"/>
                    <a:gd name="f13" fmla="val 2685"/>
                    <a:gd name="f14" fmla="val 7742"/>
                    <a:gd name="f15" fmla="val 2552"/>
                    <a:gd name="f16" fmla="val 8065"/>
                    <a:gd name="f17" fmla="val 2312"/>
                    <a:gd name="f18" fmla="val 9194"/>
                    <a:gd name="f19" fmla="val 1754"/>
                    <a:gd name="f20" fmla="val 9677"/>
                    <a:gd name="f21" fmla="val 1595"/>
                    <a:gd name="f22" fmla="val 1116"/>
                    <a:gd name="f23" fmla="val 9839"/>
                    <a:gd name="f24" fmla="val 1037"/>
                    <a:gd name="f25" fmla="val 9355"/>
                    <a:gd name="f26" fmla="val 1197"/>
                    <a:gd name="f27" fmla="val 8387"/>
                    <a:gd name="f28" fmla="val 1435"/>
                    <a:gd name="f29" fmla="val 1356"/>
                    <a:gd name="f30" fmla="val 1170"/>
                    <a:gd name="f31" fmla="val 983"/>
                    <a:gd name="f32" fmla="val 797"/>
                    <a:gd name="f33" fmla="val 7258"/>
                    <a:gd name="f34" fmla="val 638"/>
                    <a:gd name="f35" fmla="val 6290"/>
                    <a:gd name="f36" fmla="val 479"/>
                    <a:gd name="f37" fmla="val 5806"/>
                    <a:gd name="f38" fmla="val 319"/>
                    <a:gd name="f39" fmla="val 5323"/>
                    <a:gd name="f40" fmla="val 4677"/>
                    <a:gd name="f41" fmla="val 81"/>
                    <a:gd name="f42" fmla="val 4516"/>
                    <a:gd name="f43" fmla="val 159"/>
                    <a:gd name="f44" fmla="val 3710"/>
                    <a:gd name="f45" fmla="val 3387"/>
                    <a:gd name="f46" fmla="val 3476"/>
                    <a:gd name="f47" fmla="val 72"/>
                    <a:gd name="f48" fmla="val 3298"/>
                    <a:gd name="f49" fmla="val 89"/>
                    <a:gd name="f50" fmla="val 3178"/>
                    <a:gd name="f51" fmla="val 131"/>
                    <a:gd name="f52" fmla="val 3339"/>
                    <a:gd name="f53" fmla="val 211"/>
                    <a:gd name="f54" fmla="val 3245"/>
                    <a:gd name="f55" fmla="val 168"/>
                    <a:gd name="f56" fmla="val 3226"/>
                    <a:gd name="f57" fmla="val 240"/>
                    <a:gd name="f58" fmla="val 3207"/>
                    <a:gd name="f59" fmla="val 310"/>
                    <a:gd name="f60" fmla="val 3065"/>
                    <a:gd name="f61" fmla="val 558"/>
                    <a:gd name="f62" fmla="val 2581"/>
                    <a:gd name="f63" fmla="val 1275"/>
                    <a:gd name="f64" fmla="val 2258"/>
                    <a:gd name="f65" fmla="val 1774"/>
                    <a:gd name="f66" fmla="val 2631"/>
                    <a:gd name="f67" fmla="val 1828"/>
                    <a:gd name="f68" fmla="val 2896"/>
                    <a:gd name="f69" fmla="val 1881"/>
                    <a:gd name="f70" fmla="val 3163"/>
                    <a:gd name="f71" fmla="val 1935"/>
                    <a:gd name="f72" fmla="val 3428"/>
                    <a:gd name="f73" fmla="val 968"/>
                    <a:gd name="f74" fmla="val 4466"/>
                    <a:gd name="f75" fmla="val 806"/>
                    <a:gd name="f76" fmla="val 5582"/>
                    <a:gd name="f77" fmla="val 6141"/>
                    <a:gd name="f78" fmla="val 752"/>
                    <a:gd name="f79" fmla="val 6327"/>
                    <a:gd name="f80" fmla="val 699"/>
                    <a:gd name="f81" fmla="val 6514"/>
                    <a:gd name="f82" fmla="val 645"/>
                    <a:gd name="f83" fmla="val 6699"/>
                    <a:gd name="f84" fmla="val 7019"/>
                    <a:gd name="f85" fmla="val 484"/>
                    <a:gd name="f86" fmla="val 8294"/>
                    <a:gd name="f87" fmla="val 8852"/>
                    <a:gd name="f88" fmla="val 54"/>
                    <a:gd name="f89" fmla="val 8985"/>
                    <a:gd name="f90" fmla="val 47"/>
                    <a:gd name="f91" fmla="val 9085"/>
                    <a:gd name="f92" fmla="val 161"/>
                    <a:gd name="f93" fmla="val 9251"/>
                    <a:gd name="f94" fmla="val 275"/>
                    <a:gd name="f95" fmla="val 9417"/>
                    <a:gd name="f96" fmla="val 316"/>
                    <a:gd name="f97" fmla="val 9724"/>
                    <a:gd name="f98" fmla="val 685"/>
                    <a:gd name="f99" fmla="val 9848"/>
                    <a:gd name="f100" fmla="val 1054"/>
                    <a:gd name="f101" fmla="val 9973"/>
                    <a:gd name="f102" fmla="val 2126"/>
                    <a:gd name="f103" fmla="val 10011"/>
                    <a:gd name="f104" fmla="val 2375"/>
                    <a:gd name="f105" fmla="val 2624"/>
                    <a:gd name="f106" fmla="val 9989"/>
                    <a:gd name="f107" fmla="val 2202"/>
                    <a:gd name="f108" fmla="val 9881"/>
                    <a:gd name="f109" fmla="val 2182"/>
                    <a:gd name="f110" fmla="val 9783"/>
                    <a:gd name="f111" fmla="val 2163"/>
                    <a:gd name="f112" fmla="val 9685"/>
                    <a:gd name="f113" fmla="val 2172"/>
                    <a:gd name="f114" fmla="val 9527"/>
                    <a:gd name="f115" fmla="val 9410"/>
                    <a:gd name="f116" fmla="val 2345"/>
                    <a:gd name="f117" fmla="val 9293"/>
                    <a:gd name="f118" fmla="val 2550"/>
                    <a:gd name="f119" fmla="val 9220"/>
                    <a:gd name="f120" fmla="val 2701"/>
                    <a:gd name="f121" fmla="val 9082"/>
                    <a:gd name="f122" fmla="val 2852"/>
                    <a:gd name="f123" fmla="val 8944"/>
                    <a:gd name="f124" fmla="val 3004"/>
                    <a:gd name="f125" fmla="val 8707"/>
                    <a:gd name="f126" fmla="val 3165"/>
                    <a:gd name="f127" fmla="val 8584"/>
                    <a:gd name="f128" fmla="val 3326"/>
                    <a:gd name="f129" fmla="val 8461"/>
                    <a:gd name="f130" fmla="val 3550"/>
                    <a:gd name="f131" fmla="val 8459"/>
                    <a:gd name="f132" fmla="val 3668"/>
                    <a:gd name="f133" fmla="val 8344"/>
                    <a:gd name="f134" fmla="val 3786"/>
                    <a:gd name="f135" fmla="val 8229"/>
                    <a:gd name="f136" fmla="val 3918"/>
                    <a:gd name="f137" fmla="val 7996"/>
                    <a:gd name="f138" fmla="val 3871"/>
                    <a:gd name="f139" fmla="val 7895"/>
                    <a:gd name="f140" fmla="val 3824"/>
                    <a:gd name="f141" fmla="val 7794"/>
                    <a:gd name="f142" fmla="val 3548"/>
                    <a:gd name="f143" fmla="val 7789"/>
                    <a:gd name="f144" fmla="val 7736"/>
                    <a:gd name="f145" fmla="val 3280"/>
                    <a:gd name="f146" fmla="val 7629"/>
                    <a:gd name="f147" fmla="val 3000"/>
                    <a:gd name="f148" fmla="val 7495"/>
                    <a:gd name="f149" fmla="val 7416"/>
                    <a:gd name="f150" fmla="val 3130"/>
                    <a:gd name="f151" fmla="val 7337"/>
                    <a:gd name="f152" fmla="val 3541"/>
                    <a:gd name="f153" fmla="val 7312"/>
                    <a:gd name="f154" fmla="val 3779"/>
                    <a:gd name="f155" fmla="val 7260"/>
                    <a:gd name="f156" fmla="val 3810"/>
                    <a:gd name="f157" fmla="val 7153"/>
                    <a:gd name="f158" fmla="val 3875"/>
                    <a:gd name="f159" fmla="val 7075"/>
                    <a:gd name="f160" fmla="val 3971"/>
                    <a:gd name="f161" fmla="val 6968"/>
                    <a:gd name="f162" fmla="val 4067"/>
                    <a:gd name="f163" fmla="val 6861"/>
                    <a:gd name="f164" fmla="val 4220"/>
                    <a:gd name="f165" fmla="val 6700"/>
                    <a:gd name="f166" fmla="val 4355"/>
                    <a:gd name="f167" fmla="val 6620"/>
                    <a:gd name="f168" fmla="val 4490"/>
                    <a:gd name="f169" fmla="val 6540"/>
                    <a:gd name="f170" fmla="val 4699"/>
                    <a:gd name="f171" fmla="val 6570"/>
                    <a:gd name="f172" fmla="val 4780"/>
                    <a:gd name="f173" fmla="val 6490"/>
                    <a:gd name="f174" fmla="val 4861"/>
                    <a:gd name="f175" fmla="val 6410"/>
                    <a:gd name="f176" fmla="val 4853"/>
                    <a:gd name="f177" fmla="val 6226"/>
                    <a:gd name="f178" fmla="val 4839"/>
                    <a:gd name="f179" fmla="val 5822"/>
                    <a:gd name="f180" fmla="val 5348"/>
                    <a:gd name="f181" fmla="val 5984"/>
                    <a:gd name="f182" fmla="val 5437"/>
                    <a:gd name="f183" fmla="val 5921"/>
                    <a:gd name="f184" fmla="val 5526"/>
                    <a:gd name="f185" fmla="val 5858"/>
                    <a:gd name="f186" fmla="val 5368"/>
                    <a:gd name="f187" fmla="val 5818"/>
                    <a:gd name="f188" fmla="val 5376"/>
                    <a:gd name="f189" fmla="val 5762"/>
                    <a:gd name="f190" fmla="val 5384"/>
                    <a:gd name="f191" fmla="val 5706"/>
                    <a:gd name="f192" fmla="val 5412"/>
                    <a:gd name="f193" fmla="val 5665"/>
                    <a:gd name="f194" fmla="val 5484"/>
                    <a:gd name="f195" fmla="val 5556"/>
                    <a:gd name="f196" fmla="val 5499"/>
                    <a:gd name="f197" fmla="val 5622"/>
                    <a:gd name="f198" fmla="val 5319"/>
                    <a:gd name="f199" fmla="val 5264"/>
                    <a:gd name="f200" fmla="val 5990"/>
                    <a:gd name="f201" fmla="val 5209"/>
                    <a:gd name="f202" fmla="val 6266"/>
                    <a:gd name="f203" fmla="val 5289"/>
                    <a:gd name="f204" fmla="val 6588"/>
                    <a:gd name="f205" fmla="val 5253"/>
                    <a:gd name="f206" fmla="val 6910"/>
                    <a:gd name="f207" fmla="val 5217"/>
                    <a:gd name="f208" fmla="val 7468"/>
                    <a:gd name="f209" fmla="val 5176"/>
                    <a:gd name="f210" fmla="val 7741"/>
                    <a:gd name="f211" fmla="val 5045"/>
                    <a:gd name="f212" fmla="val 8014"/>
                    <a:gd name="f213" fmla="val 4914"/>
                    <a:gd name="f214" fmla="val 8092"/>
                    <a:gd name="f215" fmla="val 4629"/>
                    <a:gd name="f216" fmla="val 8226"/>
                    <a:gd name="f217" fmla="val 8361"/>
                    <a:gd name="f218" fmla="val 4303"/>
                    <a:gd name="f219" fmla="val 8441"/>
                    <a:gd name="f220" fmla="val 4199"/>
                    <a:gd name="f221" fmla="val 8548"/>
                    <a:gd name="f222" fmla="val 4066"/>
                    <a:gd name="f223" fmla="val 3748"/>
                    <a:gd name="f224" fmla="val 7825"/>
                    <a:gd name="f225" fmla="val 3557"/>
                    <a:gd name="f226" fmla="val 3509"/>
                    <a:gd name="f227" fmla="val 7659"/>
                    <a:gd name="f228" fmla="val 3461"/>
                    <a:gd name="f229" fmla="val 7731"/>
                    <a:gd name="f230" fmla="val 3475"/>
                    <a:gd name="f231" fmla="val 7726"/>
                    <a:gd name="f232" fmla="val 3458"/>
                    <a:gd name="f233" fmla="val 3350"/>
                    <a:gd name="f234" fmla="+- 0 0 -90"/>
                    <a:gd name="f235" fmla="*/ f3 1 10000"/>
                    <a:gd name="f236" fmla="*/ f4 1 10001"/>
                    <a:gd name="f237" fmla="val f5"/>
                    <a:gd name="f238" fmla="val f6"/>
                    <a:gd name="f239" fmla="val f7"/>
                    <a:gd name="f240" fmla="*/ f234 f0 1"/>
                    <a:gd name="f241" fmla="+- f239 0 f237"/>
                    <a:gd name="f242" fmla="+- f238 0 f237"/>
                    <a:gd name="f243" fmla="*/ f240 1 f2"/>
                    <a:gd name="f244" fmla="*/ f242 1 10000"/>
                    <a:gd name="f245" fmla="*/ f241 1 10001"/>
                    <a:gd name="f246" fmla="*/ 2147483646 f242 1"/>
                    <a:gd name="f247" fmla="*/ 2147483646 f241 1"/>
                    <a:gd name="f248" fmla="*/ 0 f241 1"/>
                    <a:gd name="f249" fmla="*/ 0 f242 1"/>
                    <a:gd name="f250" fmla="+- f243 0 f1"/>
                    <a:gd name="f251" fmla="*/ f246 1 10000"/>
                    <a:gd name="f252" fmla="*/ f247 1 10001"/>
                    <a:gd name="f253" fmla="*/ f248 1 10001"/>
                    <a:gd name="f254" fmla="*/ f249 1 10000"/>
                    <a:gd name="f255" fmla="*/ 0 1 f244"/>
                    <a:gd name="f256" fmla="*/ f238 1 f244"/>
                    <a:gd name="f257" fmla="*/ 0 1 f245"/>
                    <a:gd name="f258" fmla="*/ f239 1 f245"/>
                    <a:gd name="f259" fmla="*/ f251 1 f244"/>
                    <a:gd name="f260" fmla="*/ f252 1 f245"/>
                    <a:gd name="f261" fmla="*/ f253 1 f245"/>
                    <a:gd name="f262" fmla="*/ f254 1 f244"/>
                    <a:gd name="f263" fmla="*/ f255 f235 1"/>
                    <a:gd name="f264" fmla="*/ f256 f235 1"/>
                    <a:gd name="f265" fmla="*/ f258 f236 1"/>
                    <a:gd name="f266" fmla="*/ f257 f236 1"/>
                    <a:gd name="f267" fmla="*/ f259 f235 1"/>
                    <a:gd name="f268" fmla="*/ f260 f236 1"/>
                    <a:gd name="f269" fmla="*/ f261 f236 1"/>
                    <a:gd name="f270" fmla="*/ f262 f23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9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70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  <a:cxn ang="f250">
                      <a:pos x="f267" y="f268"/>
                    </a:cxn>
                  </a:cxnLst>
                  <a:rect l="f263" t="f266" r="f264" b="f265"/>
                  <a:pathLst>
                    <a:path w="10000" h="10001">
                      <a:moveTo>
                        <a:pt x="f8" y="f9"/>
                      </a:moveTo>
                      <a:cubicBezTo>
                        <a:pt x="f10" y="f11"/>
                        <a:pt x="f12" y="f13"/>
                        <a:pt x="f14" y="f15"/>
                      </a:cubicBezTo>
                      <a:lnTo>
                        <a:pt x="f16" y="f17"/>
                      </a:lnTo>
                      <a:lnTo>
                        <a:pt x="f18" y="f19"/>
                      </a:lnTo>
                      <a:lnTo>
                        <a:pt x="f20" y="f21"/>
                      </a:lnTo>
                      <a:lnTo>
                        <a:pt x="f6" y="f22"/>
                      </a:lnTo>
                      <a:lnTo>
                        <a:pt x="f23" y="f24"/>
                      </a:lnTo>
                      <a:lnTo>
                        <a:pt x="f25" y="f26"/>
                      </a:lnTo>
                      <a:lnTo>
                        <a:pt x="f27" y="f28"/>
                      </a:lnTo>
                      <a:lnTo>
                        <a:pt x="f8" y="f29"/>
                      </a:lnTo>
                      <a:cubicBezTo>
                        <a:pt x="f10" y="f30"/>
                        <a:pt x="f12" y="f31"/>
                        <a:pt x="f14" y="f32"/>
                      </a:cubicBezTo>
                      <a:lnTo>
                        <a:pt x="f33" y="f34"/>
                      </a:lnTo>
                      <a:lnTo>
                        <a:pt x="f35" y="f36"/>
                      </a:lnTo>
                      <a:lnTo>
                        <a:pt x="f37" y="f38"/>
                      </a:lnTo>
                      <a:lnTo>
                        <a:pt x="f39" y="f5"/>
                      </a:lnTo>
                      <a:lnTo>
                        <a:pt x="f40" y="f41"/>
                      </a:lnTo>
                      <a:lnTo>
                        <a:pt x="f42" y="f43"/>
                      </a:lnTo>
                      <a:lnTo>
                        <a:pt x="f44" y="f41"/>
                      </a:lnTo>
                      <a:cubicBezTo>
                        <a:pt x="f45" y="f41"/>
                        <a:pt x="f46" y="f47"/>
                        <a:pt x="f45" y="f41"/>
                      </a:cubicBezTo>
                      <a:cubicBezTo>
                        <a:pt x="f48" y="f49"/>
                        <a:pt x="f50" y="f51"/>
                        <a:pt x="f50" y="f51"/>
                      </a:cubicBezTo>
                      <a:cubicBezTo>
                        <a:pt x="f52" y="f53"/>
                        <a:pt x="f54" y="f55"/>
                        <a:pt x="f56" y="f57"/>
                      </a:cubicBezTo>
                      <a:cubicBezTo>
                        <a:pt x="f58" y="f59"/>
                        <a:pt x="f60" y="f61"/>
                        <a:pt x="f60" y="f61"/>
                      </a:cubicBezTo>
                      <a:lnTo>
                        <a:pt x="f62" y="f32"/>
                      </a:lnTo>
                      <a:lnTo>
                        <a:pt x="f62" y="f63"/>
                      </a:lnTo>
                      <a:lnTo>
                        <a:pt x="f64" y="f21"/>
                      </a:lnTo>
                      <a:lnTo>
                        <a:pt x="f65" y="f66"/>
                      </a:lnTo>
                      <a:cubicBezTo>
                        <a:pt x="f67" y="f68"/>
                        <a:pt x="f69" y="f70"/>
                        <a:pt x="f71" y="f72"/>
                      </a:cubicBezTo>
                      <a:lnTo>
                        <a:pt x="f73" y="f74"/>
                      </a:lnTo>
                      <a:lnTo>
                        <a:pt x="f75" y="f76"/>
                      </a:lnTo>
                      <a:lnTo>
                        <a:pt x="f75" y="f77"/>
                      </a:lnTo>
                      <a:cubicBezTo>
                        <a:pt x="f78" y="f79"/>
                        <a:pt x="f80" y="f81"/>
                        <a:pt x="f82" y="f83"/>
                      </a:cubicBezTo>
                      <a:lnTo>
                        <a:pt x="f73" y="f84"/>
                      </a:lnTo>
                      <a:lnTo>
                        <a:pt x="f85" y="f86"/>
                      </a:lnTo>
                      <a:lnTo>
                        <a:pt x="f5" y="f87"/>
                      </a:lnTo>
                      <a:cubicBezTo>
                        <a:pt x="f88" y="f89"/>
                        <a:pt x="f90" y="f91"/>
                        <a:pt x="f92" y="f93"/>
                      </a:cubicBezTo>
                      <a:cubicBezTo>
                        <a:pt x="f94" y="f95"/>
                        <a:pt x="f96" y="f97"/>
                        <a:pt x="f98" y="f99"/>
                      </a:cubicBezTo>
                      <a:cubicBezTo>
                        <a:pt x="f100" y="f101"/>
                        <a:pt x="f102" y="f103"/>
                        <a:pt x="f104" y="f6"/>
                      </a:cubicBezTo>
                      <a:cubicBezTo>
                        <a:pt x="f105" y="f106"/>
                        <a:pt x="f107" y="f108"/>
                        <a:pt x="f109" y="f110"/>
                      </a:cubicBezTo>
                      <a:cubicBezTo>
                        <a:pt x="f111" y="f112"/>
                        <a:pt x="f113" y="f114"/>
                        <a:pt x="f64" y="f115"/>
                      </a:cubicBezTo>
                      <a:cubicBezTo>
                        <a:pt x="f116" y="f117"/>
                        <a:pt x="f118" y="f119"/>
                        <a:pt x="f120" y="f121"/>
                      </a:cubicBezTo>
                      <a:cubicBezTo>
                        <a:pt x="f122" y="f123"/>
                        <a:pt x="f124" y="f125"/>
                        <a:pt x="f126" y="f127"/>
                      </a:cubicBezTo>
                      <a:cubicBezTo>
                        <a:pt x="f128" y="f129"/>
                        <a:pt x="f130" y="f131"/>
                        <a:pt x="f132" y="f133"/>
                      </a:cubicBezTo>
                      <a:cubicBezTo>
                        <a:pt x="f134" y="f135"/>
                        <a:pt x="f136" y="f137"/>
                        <a:pt x="f138" y="f139"/>
                      </a:cubicBezTo>
                      <a:cubicBezTo>
                        <a:pt x="f140" y="f141"/>
                        <a:pt x="f142" y="f143"/>
                        <a:pt x="f45" y="f144"/>
                      </a:cubicBezTo>
                      <a:cubicBezTo>
                        <a:pt x="f145" y="f146"/>
                        <a:pt x="f147" y="f148"/>
                        <a:pt x="f60" y="f149"/>
                      </a:cubicBezTo>
                      <a:cubicBezTo>
                        <a:pt x="f150" y="f151"/>
                        <a:pt x="f152" y="f153"/>
                        <a:pt x="f154" y="f155"/>
                      </a:cubicBezTo>
                      <a:cubicBezTo>
                        <a:pt x="f156" y="f157"/>
                        <a:pt x="f158" y="f159"/>
                        <a:pt x="f160" y="f161"/>
                      </a:cubicBezTo>
                      <a:cubicBezTo>
                        <a:pt x="f162" y="f163"/>
                        <a:pt x="f164" y="f165"/>
                        <a:pt x="f166" y="f167"/>
                      </a:cubicBezTo>
                      <a:cubicBezTo>
                        <a:pt x="f168" y="f169"/>
                        <a:pt x="f170" y="f171"/>
                        <a:pt x="f172" y="f173"/>
                      </a:cubicBezTo>
                      <a:cubicBezTo>
                        <a:pt x="f174" y="f175"/>
                        <a:pt x="f176" y="f177"/>
                        <a:pt x="f178" y="f77"/>
                      </a:cubicBezTo>
                      <a:cubicBezTo>
                        <a:pt x="f39" y="f179"/>
                        <a:pt x="f180" y="f181"/>
                        <a:pt x="f182" y="f183"/>
                      </a:cubicBezTo>
                      <a:cubicBezTo>
                        <a:pt x="f184" y="f185"/>
                        <a:pt x="f186" y="f187"/>
                        <a:pt x="f188" y="f189"/>
                      </a:cubicBezTo>
                      <a:cubicBezTo>
                        <a:pt x="f190" y="f191"/>
                        <a:pt x="f192" y="f193"/>
                        <a:pt x="f194" y="f76"/>
                      </a:cubicBezTo>
                      <a:cubicBezTo>
                        <a:pt x="f195" y="f196"/>
                        <a:pt x="f197" y="f198"/>
                        <a:pt x="f37" y="f199"/>
                      </a:cubicBezTo>
                      <a:cubicBezTo>
                        <a:pt x="f200" y="f201"/>
                        <a:pt x="f202" y="f203"/>
                        <a:pt x="f204" y="f205"/>
                      </a:cubicBezTo>
                      <a:cubicBezTo>
                        <a:pt x="f206" y="f207"/>
                        <a:pt x="f208" y="f209"/>
                        <a:pt x="f210" y="f211"/>
                      </a:cubicBezTo>
                      <a:cubicBezTo>
                        <a:pt x="f212" y="f213"/>
                        <a:pt x="f214" y="f215"/>
                        <a:pt x="f216" y="f74"/>
                      </a:cubicBezTo>
                      <a:cubicBezTo>
                        <a:pt x="f217" y="f218"/>
                        <a:pt x="f219" y="f220"/>
                        <a:pt x="f221" y="f222"/>
                      </a:cubicBezTo>
                      <a:lnTo>
                        <a:pt x="f216" y="f223"/>
                      </a:lnTo>
                      <a:cubicBezTo>
                        <a:pt x="f16" y="f132"/>
                        <a:pt x="f224" y="f225"/>
                        <a:pt x="f14" y="f226"/>
                      </a:cubicBezTo>
                      <a:cubicBezTo>
                        <a:pt x="f227" y="f228"/>
                        <a:pt x="f229" y="f230"/>
                        <a:pt x="f231" y="f232"/>
                      </a:cubicBezTo>
                      <a:lnTo>
                        <a:pt x="f8" y="f233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13" name="Freeform 444">
                  <a:extLst>
                    <a:ext uri="{FF2B5EF4-FFF2-40B4-BE49-F238E27FC236}">
                      <a16:creationId xmlns:a16="http://schemas.microsoft.com/office/drawing/2014/main" id="{C90F6931-1AED-7BFC-E761-BCE1856B1739}"/>
                    </a:ext>
                  </a:extLst>
                </p:cNvPr>
                <p:cNvSpPr/>
                <p:nvPr/>
              </p:nvSpPr>
              <p:spPr>
                <a:xfrm>
                  <a:off x="3619606" y="4645124"/>
                  <a:ext cx="249951" cy="115676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4463"/>
                    <a:gd name="f7" fmla="val 11339"/>
                    <a:gd name="f8" fmla="val 8188"/>
                    <a:gd name="f9" fmla="val 209"/>
                    <a:gd name="f10" fmla="val 8780"/>
                    <a:gd name="f11" fmla="val 10217"/>
                    <a:gd name="f12" fmla="val 207"/>
                    <a:gd name="f13" fmla="val 10556"/>
                    <a:gd name="f14" fmla="val 264"/>
                    <a:gd name="f15" fmla="val 10640"/>
                    <a:gd name="f16" fmla="val 126"/>
                    <a:gd name="f17" fmla="val 10761"/>
                    <a:gd name="f18" fmla="val 229"/>
                    <a:gd name="f19" fmla="val 10936"/>
                    <a:gd name="f20" fmla="val 271"/>
                    <a:gd name="f21" fmla="val 11461"/>
                    <a:gd name="f22" fmla="val 322"/>
                    <a:gd name="f23" fmla="val 11696"/>
                    <a:gd name="f24" fmla="val 417"/>
                    <a:gd name="f25" fmla="val 11902"/>
                    <a:gd name="f26" fmla="val 494"/>
                    <a:gd name="f27" fmla="val 11642"/>
                    <a:gd name="f28" fmla="val 593"/>
                    <a:gd name="f29" fmla="val 11730"/>
                    <a:gd name="f30" fmla="val 676"/>
                    <a:gd name="f31" fmla="val 11818"/>
                    <a:gd name="f32" fmla="val 759"/>
                    <a:gd name="f33" fmla="val 12063"/>
                    <a:gd name="f34" fmla="val 841"/>
                    <a:gd name="f35" fmla="val 12227"/>
                    <a:gd name="f36" fmla="val 913"/>
                    <a:gd name="f37" fmla="val 12983"/>
                    <a:gd name="f38" fmla="val 1126"/>
                    <a:gd name="f39" fmla="val 12748"/>
                    <a:gd name="f40" fmla="val 1307"/>
                    <a:gd name="f41" fmla="val 12663"/>
                    <a:gd name="f42" fmla="val 1515"/>
                    <a:gd name="f43" fmla="val 11910"/>
                    <a:gd name="f44" fmla="val 1697"/>
                    <a:gd name="f45" fmla="val 11825"/>
                    <a:gd name="f46" fmla="val 1905"/>
                    <a:gd name="f47" fmla="val 10725"/>
                    <a:gd name="f48" fmla="val 2530"/>
                    <a:gd name="f49" fmla="val 10429"/>
                    <a:gd name="f50" fmla="val 2947"/>
                    <a:gd name="f51" fmla="val 10471"/>
                    <a:gd name="f52" fmla="val 3165"/>
                    <a:gd name="f53" fmla="val 10514"/>
                    <a:gd name="f54" fmla="val 3383"/>
                    <a:gd name="f55" fmla="val 3601"/>
                    <a:gd name="f56" fmla="val 10852"/>
                    <a:gd name="f57" fmla="val 3839"/>
                    <a:gd name="f58" fmla="val 10345"/>
                    <a:gd name="f59" fmla="val 11191"/>
                    <a:gd name="f60" fmla="val 4197"/>
                    <a:gd name="f61" fmla="val 11149"/>
                    <a:gd name="f62" fmla="val 4405"/>
                    <a:gd name="f63" fmla="val 11106"/>
                    <a:gd name="f64" fmla="val 4613"/>
                    <a:gd name="f65" fmla="val 11064"/>
                    <a:gd name="f66" fmla="val 4821"/>
                    <a:gd name="f67" fmla="val 10599"/>
                    <a:gd name="f68" fmla="val 5030"/>
                    <a:gd name="f69" fmla="val 9456"/>
                    <a:gd name="f70" fmla="val 5298"/>
                    <a:gd name="f71" fmla="val 8822"/>
                    <a:gd name="f72" fmla="val 6012"/>
                    <a:gd name="f73" fmla="val 8272"/>
                    <a:gd name="f74" fmla="val 6161"/>
                    <a:gd name="f75" fmla="val 8526"/>
                    <a:gd name="f76" fmla="val 6429"/>
                    <a:gd name="f77" fmla="val 8145"/>
                    <a:gd name="f78" fmla="val 7084"/>
                    <a:gd name="f79" fmla="val 7299"/>
                    <a:gd name="f80" fmla="val 7768"/>
                    <a:gd name="f81" fmla="val 7383"/>
                    <a:gd name="f82" fmla="val 8155"/>
                    <a:gd name="f83" fmla="val 7680"/>
                    <a:gd name="f84" fmla="val 8393"/>
                    <a:gd name="f85" fmla="val 7624"/>
                    <a:gd name="f86" fmla="val 8571"/>
                    <a:gd name="f87" fmla="val 7567"/>
                    <a:gd name="f88" fmla="val 8750"/>
                    <a:gd name="f89" fmla="val 7511"/>
                    <a:gd name="f90" fmla="val 8928"/>
                    <a:gd name="f91" fmla="val 7003"/>
                    <a:gd name="f92" fmla="val 9465"/>
                    <a:gd name="f93" fmla="val 10190"/>
                    <a:gd name="f94" fmla="val 10380"/>
                    <a:gd name="f95" fmla="val 10685"/>
                    <a:gd name="f96" fmla="val 10621"/>
                    <a:gd name="f97" fmla="val 15360"/>
                    <a:gd name="f98" fmla="val 10855"/>
                    <a:gd name="f99" fmla="val 14311"/>
                    <a:gd name="f100" fmla="val 11050"/>
                    <a:gd name="f101" fmla="val 11744"/>
                    <a:gd name="f102" fmla="val 11422"/>
                    <a:gd name="f103" fmla="val 9928"/>
                    <a:gd name="f104" fmla="val 11345"/>
                    <a:gd name="f105" fmla="val 8880"/>
                    <a:gd name="f106" fmla="val 11304"/>
                    <a:gd name="f107" fmla="val 3686"/>
                    <a:gd name="f108" fmla="val 10662"/>
                    <a:gd name="f109" fmla="val 9499"/>
                    <a:gd name="f110" fmla="val 1492"/>
                    <a:gd name="f111" fmla="val 8492"/>
                    <a:gd name="f112" fmla="val 2079"/>
                    <a:gd name="f113" fmla="val 7943"/>
                    <a:gd name="f114" fmla="val 4644"/>
                    <a:gd name="f115" fmla="val 6748"/>
                    <a:gd name="f116" fmla="val 4630"/>
                    <a:gd name="f117" fmla="val 6430"/>
                    <a:gd name="f118" fmla="val 2665"/>
                    <a:gd name="f119" fmla="val 7030"/>
                    <a:gd name="f120" fmla="val 2651"/>
                    <a:gd name="f121" fmla="val 6712"/>
                    <a:gd name="f122" fmla="val 4099"/>
                    <a:gd name="f123" fmla="val 5323"/>
                    <a:gd name="f124" fmla="val 5760"/>
                    <a:gd name="f125" fmla="val 4554"/>
                    <a:gd name="f126" fmla="val 5651"/>
                    <a:gd name="f127" fmla="val 3371"/>
                    <a:gd name="f128" fmla="val 6192"/>
                    <a:gd name="f129" fmla="val 4301"/>
                    <a:gd name="f130" fmla="val 6082"/>
                    <a:gd name="f131" fmla="val 3119"/>
                    <a:gd name="f132" fmla="val 7891"/>
                    <a:gd name="f133" fmla="val 1548"/>
                    <a:gd name="f134" fmla="val 8314"/>
                    <a:gd name="f135" fmla="val 982"/>
                    <a:gd name="f136" fmla="+- 0 0 -90"/>
                    <a:gd name="f137" fmla="*/ f3 1 14463"/>
                    <a:gd name="f138" fmla="*/ f4 1 11339"/>
                    <a:gd name="f139" fmla="val f5"/>
                    <a:gd name="f140" fmla="val f6"/>
                    <a:gd name="f141" fmla="val f7"/>
                    <a:gd name="f142" fmla="*/ f136 f0 1"/>
                    <a:gd name="f143" fmla="+- f141 0 f139"/>
                    <a:gd name="f144" fmla="+- f140 0 f139"/>
                    <a:gd name="f145" fmla="*/ f142 1 f2"/>
                    <a:gd name="f146" fmla="*/ f144 1 14463"/>
                    <a:gd name="f147" fmla="*/ f143 1 11339"/>
                    <a:gd name="f148" fmla="*/ 2147483646 f144 1"/>
                    <a:gd name="f149" fmla="*/ 2147483646 f143 1"/>
                    <a:gd name="f150" fmla="*/ 0 f143 1"/>
                    <a:gd name="f151" fmla="*/ 0 f144 1"/>
                    <a:gd name="f152" fmla="+- f145 0 f1"/>
                    <a:gd name="f153" fmla="*/ f148 1 14463"/>
                    <a:gd name="f154" fmla="*/ f149 1 11339"/>
                    <a:gd name="f155" fmla="*/ f150 1 11339"/>
                    <a:gd name="f156" fmla="*/ f151 1 14463"/>
                    <a:gd name="f157" fmla="*/ 0 1 f146"/>
                    <a:gd name="f158" fmla="*/ f140 1 f146"/>
                    <a:gd name="f159" fmla="*/ 0 1 f147"/>
                    <a:gd name="f160" fmla="*/ f141 1 f147"/>
                    <a:gd name="f161" fmla="*/ f153 1 f146"/>
                    <a:gd name="f162" fmla="*/ f154 1 f147"/>
                    <a:gd name="f163" fmla="*/ f155 1 f147"/>
                    <a:gd name="f164" fmla="*/ f156 1 f146"/>
                    <a:gd name="f165" fmla="*/ f157 f137 1"/>
                    <a:gd name="f166" fmla="*/ f158 f137 1"/>
                    <a:gd name="f167" fmla="*/ f160 f138 1"/>
                    <a:gd name="f168" fmla="*/ f159 f138 1"/>
                    <a:gd name="f169" fmla="*/ f161 f137 1"/>
                    <a:gd name="f170" fmla="*/ f162 f138 1"/>
                    <a:gd name="f171" fmla="*/ f163 f138 1"/>
                    <a:gd name="f172" fmla="*/ f164 f1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152">
                      <a:pos x="f169" y="f170"/>
                    </a:cxn>
                    <a:cxn ang="f152">
                      <a:pos x="f169" y="f171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72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  <a:cxn ang="f152">
                      <a:pos x="f169" y="f170"/>
                    </a:cxn>
                  </a:cxnLst>
                  <a:rect l="f165" t="f168" r="f166" b="f167"/>
                  <a:pathLst>
                    <a:path w="14463" h="11339">
                      <a:moveTo>
                        <a:pt x="f8" y="f9"/>
                      </a:moveTo>
                      <a:lnTo>
                        <a:pt x="f10" y="f5"/>
                      </a:lnTo>
                      <a:lnTo>
                        <a:pt x="f11" y="f12"/>
                      </a:lnTo>
                      <a:cubicBezTo>
                        <a:pt x="f13" y="f14"/>
                        <a:pt x="f15" y="f16"/>
                        <a:pt x="f17" y="f18"/>
                      </a:cubicBezTo>
                      <a:cubicBezTo>
                        <a:pt x="f19" y="f20"/>
                        <a:pt x="f21" y="f22"/>
                        <a:pt x="f23" y="f24"/>
                      </a:cubicBezTo>
                      <a:cubicBezTo>
                        <a:pt x="f25" y="f26"/>
                        <a:pt x="f27" y="f28"/>
                        <a:pt x="f29" y="f30"/>
                      </a:cubicBezTo>
                      <a:cubicBezTo>
                        <a:pt x="f31" y="f32"/>
                        <a:pt x="f33" y="f34"/>
                        <a:pt x="f35" y="f36"/>
                      </a:cubicBezTo>
                      <a:lnTo>
                        <a:pt x="f37" y="f38"/>
                      </a:lnTo>
                      <a:lnTo>
                        <a:pt x="f39" y="f40"/>
                      </a:lnTo>
                      <a:cubicBezTo>
                        <a:pt x="f41" y="f42"/>
                        <a:pt x="f43" y="f44"/>
                        <a:pt x="f45" y="f46"/>
                      </a:cubicBezTo>
                      <a:lnTo>
                        <a:pt x="f47" y="f48"/>
                      </a:lnTo>
                      <a:lnTo>
                        <a:pt x="f49" y="f50"/>
                      </a:lnTo>
                      <a:cubicBezTo>
                        <a:pt x="f51" y="f52"/>
                        <a:pt x="f53" y="f54"/>
                        <a:pt x="f13" y="f55"/>
                      </a:cubicBezTo>
                      <a:lnTo>
                        <a:pt x="f56" y="f57"/>
                      </a:lnTo>
                      <a:lnTo>
                        <a:pt x="f58" y="f57"/>
                      </a:lnTo>
                      <a:lnTo>
                        <a:pt x="f59" y="f60"/>
                      </a:lnTo>
                      <a:cubicBezTo>
                        <a:pt x="f61" y="f62"/>
                        <a:pt x="f63" y="f64"/>
                        <a:pt x="f65" y="f66"/>
                      </a:cubicBezTo>
                      <a:lnTo>
                        <a:pt x="f67" y="f68"/>
                      </a:lnTo>
                      <a:lnTo>
                        <a:pt x="f69" y="f70"/>
                      </a:lnTo>
                      <a:lnTo>
                        <a:pt x="f71" y="f72"/>
                      </a:lnTo>
                      <a:lnTo>
                        <a:pt x="f73" y="f74"/>
                      </a:lnTo>
                      <a:lnTo>
                        <a:pt x="f75" y="f76"/>
                      </a:lnTo>
                      <a:lnTo>
                        <a:pt x="f77" y="f78"/>
                      </a:lnTo>
                      <a:lnTo>
                        <a:pt x="f79" y="f80"/>
                      </a:lnTo>
                      <a:lnTo>
                        <a:pt x="f81" y="f82"/>
                      </a:lnTo>
                      <a:lnTo>
                        <a:pt x="f83" y="f84"/>
                      </a:lnTo>
                      <a:cubicBezTo>
                        <a:pt x="f85" y="f86"/>
                        <a:pt x="f87" y="f88"/>
                        <a:pt x="f89" y="f90"/>
                      </a:cubicBezTo>
                      <a:lnTo>
                        <a:pt x="f91" y="f92"/>
                      </a:lnTo>
                      <a:lnTo>
                        <a:pt x="f93" y="f94"/>
                      </a:lnTo>
                      <a:cubicBezTo>
                        <a:pt x="f95" y="f96"/>
                        <a:pt x="f97" y="f98"/>
                        <a:pt x="f99" y="f100"/>
                      </a:cubicBezTo>
                      <a:cubicBezTo>
                        <a:pt x="f101" y="f102"/>
                        <a:pt x="f103" y="f104"/>
                        <a:pt x="f105" y="f106"/>
                      </a:cubicBezTo>
                      <a:lnTo>
                        <a:pt x="f107" y="f108"/>
                      </a:lnTo>
                      <a:lnTo>
                        <a:pt x="f5" y="f109"/>
                      </a:lnTo>
                      <a:lnTo>
                        <a:pt x="f110" y="f111"/>
                      </a:lnTo>
                      <a:lnTo>
                        <a:pt x="f112" y="f113"/>
                      </a:lnTo>
                      <a:lnTo>
                        <a:pt x="f114" y="f115"/>
                      </a:lnTo>
                      <a:cubicBezTo>
                        <a:pt x="f116" y="f117"/>
                        <a:pt x="f118" y="f119"/>
                        <a:pt x="f120" y="f121"/>
                      </a:cubicBezTo>
                      <a:lnTo>
                        <a:pt x="f122" y="f123"/>
                      </a:lnTo>
                      <a:lnTo>
                        <a:pt x="f124" y="f125"/>
                      </a:lnTo>
                      <a:cubicBezTo>
                        <a:pt x="f126" y="f127"/>
                        <a:pt x="f128" y="f129"/>
                        <a:pt x="f130" y="f131"/>
                      </a:cubicBezTo>
                      <a:lnTo>
                        <a:pt x="f132" y="f133"/>
                      </a:lnTo>
                      <a:lnTo>
                        <a:pt x="f134" y="f135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EDF5F9"/>
                </a:solidFill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14" name="Freeform 418">
                  <a:extLst>
                    <a:ext uri="{FF2B5EF4-FFF2-40B4-BE49-F238E27FC236}">
                      <a16:creationId xmlns:a16="http://schemas.microsoft.com/office/drawing/2014/main" id="{7C1557E5-61CE-792A-F86F-C0919E96FA3F}"/>
                    </a:ext>
                  </a:extLst>
                </p:cNvPr>
                <p:cNvSpPr/>
                <p:nvPr/>
              </p:nvSpPr>
              <p:spPr>
                <a:xfrm>
                  <a:off x="3701290" y="3983446"/>
                  <a:ext cx="343073" cy="27557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3"/>
                    <a:gd name="f7" fmla="val 36"/>
                    <a:gd name="f8" fmla="val 38"/>
                    <a:gd name="f9" fmla="val 21"/>
                    <a:gd name="f10" fmla="val 37"/>
                    <a:gd name="f11" fmla="val 18"/>
                    <a:gd name="f12" fmla="val 39"/>
                    <a:gd name="f13" fmla="val 15"/>
                    <a:gd name="f14" fmla="val 11"/>
                    <a:gd name="f15" fmla="val 42"/>
                    <a:gd name="f16" fmla="val 10"/>
                    <a:gd name="f17" fmla="val 8"/>
                    <a:gd name="f18" fmla="val 32"/>
                    <a:gd name="f19" fmla="val 5"/>
                    <a:gd name="f20" fmla="val 22"/>
                    <a:gd name="f21" fmla="val 6"/>
                    <a:gd name="f22" fmla="val 17"/>
                    <a:gd name="f23" fmla="val 16"/>
                    <a:gd name="f24" fmla="val 3"/>
                    <a:gd name="f25" fmla="val 2"/>
                    <a:gd name="f26" fmla="val 7"/>
                    <a:gd name="f27" fmla="val 1"/>
                    <a:gd name="f28" fmla="val 12"/>
                    <a:gd name="f29" fmla="val 19"/>
                    <a:gd name="f30" fmla="val 20"/>
                    <a:gd name="f31" fmla="val 26"/>
                    <a:gd name="f32" fmla="val 33"/>
                    <a:gd name="f33" fmla="val 30"/>
                    <a:gd name="f34" fmla="val 29"/>
                    <a:gd name="f35" fmla="val 25"/>
                    <a:gd name="f36" fmla="val 34"/>
                    <a:gd name="f37" fmla="val 23"/>
                    <a:gd name="f38" fmla="+- 0 0 -90"/>
                    <a:gd name="f39" fmla="*/ f3 1 43"/>
                    <a:gd name="f40" fmla="*/ f4 1 36"/>
                    <a:gd name="f41" fmla="val f5"/>
                    <a:gd name="f42" fmla="val f6"/>
                    <a:gd name="f43" fmla="val f7"/>
                    <a:gd name="f44" fmla="*/ f38 f0 1"/>
                    <a:gd name="f45" fmla="+- f43 0 f41"/>
                    <a:gd name="f46" fmla="+- f42 0 f41"/>
                    <a:gd name="f47" fmla="*/ f44 1 f2"/>
                    <a:gd name="f48" fmla="*/ f46 1 43"/>
                    <a:gd name="f49" fmla="*/ f45 1 36"/>
                    <a:gd name="f50" fmla="*/ 2147483646 f46 1"/>
                    <a:gd name="f51" fmla="*/ 2147483646 f45 1"/>
                    <a:gd name="f52" fmla="*/ 0 f45 1"/>
                    <a:gd name="f53" fmla="*/ 0 f46 1"/>
                    <a:gd name="f54" fmla="+- f47 0 f1"/>
                    <a:gd name="f55" fmla="*/ f50 1 43"/>
                    <a:gd name="f56" fmla="*/ f51 1 36"/>
                    <a:gd name="f57" fmla="*/ f52 1 36"/>
                    <a:gd name="f58" fmla="*/ f53 1 43"/>
                    <a:gd name="f59" fmla="*/ 0 1 f48"/>
                    <a:gd name="f60" fmla="*/ f42 1 f48"/>
                    <a:gd name="f61" fmla="*/ 0 1 f49"/>
                    <a:gd name="f62" fmla="*/ f43 1 f49"/>
                    <a:gd name="f63" fmla="*/ f55 1 f48"/>
                    <a:gd name="f64" fmla="*/ f56 1 f49"/>
                    <a:gd name="f65" fmla="*/ f57 1 f49"/>
                    <a:gd name="f66" fmla="*/ f58 1 f48"/>
                    <a:gd name="f67" fmla="*/ f59 f39 1"/>
                    <a:gd name="f68" fmla="*/ f60 f39 1"/>
                    <a:gd name="f69" fmla="*/ f62 f40 1"/>
                    <a:gd name="f70" fmla="*/ f61 f40 1"/>
                    <a:gd name="f71" fmla="*/ f63 f39 1"/>
                    <a:gd name="f72" fmla="*/ f64 f40 1"/>
                    <a:gd name="f73" fmla="*/ f65 f40 1"/>
                    <a:gd name="f74" fmla="*/ f66 f39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3"/>
                    </a:cxn>
                    <a:cxn ang="f54">
                      <a:pos x="f71" y="f72"/>
                    </a:cxn>
                    <a:cxn ang="f54">
                      <a:pos x="f74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  <a:cxn ang="f54">
                      <a:pos x="f71" y="f72"/>
                    </a:cxn>
                  </a:cxnLst>
                  <a:rect l="f67" t="f70" r="f68" b="f69"/>
                  <a:pathLst>
                    <a:path w="43" h="36">
                      <a:moveTo>
                        <a:pt x="f8" y="f9"/>
                      </a:moveTo>
                      <a:cubicBezTo>
                        <a:pt x="f10" y="f11"/>
                        <a:pt x="f10" y="f11"/>
                        <a:pt x="f10" y="f11"/>
                      </a:cubicBezTo>
                      <a:cubicBezTo>
                        <a:pt x="f12" y="f13"/>
                        <a:pt x="f12" y="f13"/>
                        <a:pt x="f12" y="f13"/>
                      </a:cubicBezTo>
                      <a:cubicBezTo>
                        <a:pt x="f6" y="f14"/>
                        <a:pt x="f6" y="f14"/>
                        <a:pt x="f6" y="f14"/>
                      </a:cubicBezTo>
                      <a:cubicBezTo>
                        <a:pt x="f15" y="f14"/>
                        <a:pt x="f15" y="f14"/>
                        <a:pt x="f15" y="f14"/>
                      </a:cubicBezTo>
                      <a:cubicBezTo>
                        <a:pt x="f12" y="f16"/>
                        <a:pt x="f12" y="f16"/>
                        <a:pt x="f12" y="f16"/>
                      </a:cubicBezTo>
                      <a:cubicBezTo>
                        <a:pt x="f8" y="f17"/>
                        <a:pt x="f8" y="f17"/>
                        <a:pt x="f8" y="f17"/>
                      </a:cubicBezTo>
                      <a:cubicBezTo>
                        <a:pt x="f18" y="f19"/>
                        <a:pt x="f18" y="f19"/>
                        <a:pt x="f18" y="f19"/>
                      </a:cubicBezTo>
                      <a:cubicBezTo>
                        <a:pt x="f20" y="f21"/>
                        <a:pt x="f20" y="f21"/>
                        <a:pt x="f20" y="f21"/>
                      </a:cubicBezTo>
                      <a:cubicBezTo>
                        <a:pt x="f22" y="f19"/>
                        <a:pt x="f22" y="f19"/>
                        <a:pt x="f22" y="f19"/>
                      </a:cubicBezTo>
                      <a:cubicBezTo>
                        <a:pt x="f23" y="f24"/>
                        <a:pt x="f23" y="f24"/>
                        <a:pt x="f23" y="f24"/>
                      </a:cubicBezTo>
                      <a:cubicBezTo>
                        <a:pt x="f14" y="f25"/>
                        <a:pt x="f14" y="f25"/>
                        <a:pt x="f14" y="f25"/>
                      </a:cubicBezTo>
                      <a:cubicBezTo>
                        <a:pt x="f14" y="f25"/>
                        <a:pt x="f26" y="f24"/>
                        <a:pt x="f21" y="f24"/>
                      </a:cubicBezTo>
                      <a:cubicBezTo>
                        <a:pt x="f19" y="f24"/>
                        <a:pt x="f19" y="f27"/>
                        <a:pt x="f19" y="f5"/>
                      </a:cubicBezTo>
                      <a:cubicBezTo>
                        <a:pt x="f27" y="f25"/>
                        <a:pt x="f27" y="f25"/>
                        <a:pt x="f27" y="f25"/>
                      </a:cubicBezTo>
                      <a:cubicBezTo>
                        <a:pt x="f5" y="f16"/>
                        <a:pt x="f5" y="f16"/>
                        <a:pt x="f5" y="f16"/>
                      </a:cubicBezTo>
                      <a:cubicBezTo>
                        <a:pt x="f25" y="f13"/>
                        <a:pt x="f25" y="f13"/>
                        <a:pt x="f25" y="f13"/>
                      </a:cubicBezTo>
                      <a:cubicBezTo>
                        <a:pt x="f28" y="f29"/>
                        <a:pt x="f28" y="f29"/>
                        <a:pt x="f28" y="f29"/>
                      </a:cubicBezTo>
                      <a:cubicBezTo>
                        <a:pt x="f22" y="f30"/>
                        <a:pt x="f22" y="f30"/>
                        <a:pt x="f22" y="f30"/>
                      </a:cubicBezTo>
                      <a:cubicBezTo>
                        <a:pt x="f23" y="f20"/>
                        <a:pt x="f23" y="f20"/>
                        <a:pt x="f23" y="f20"/>
                      </a:cubicBezTo>
                      <a:cubicBezTo>
                        <a:pt x="f11" y="f31"/>
                        <a:pt x="f11" y="f31"/>
                        <a:pt x="f11" y="f31"/>
                      </a:cubicBezTo>
                      <a:cubicBezTo>
                        <a:pt x="f11" y="f32"/>
                        <a:pt x="f11" y="f32"/>
                        <a:pt x="f11" y="f32"/>
                      </a:cubicBezTo>
                      <a:cubicBezTo>
                        <a:pt x="f11" y="f32"/>
                        <a:pt x="f11" y="f32"/>
                        <a:pt x="f11" y="f32"/>
                      </a:cubicBezTo>
                      <a:cubicBezTo>
                        <a:pt x="f9" y="f7"/>
                        <a:pt x="f9" y="f7"/>
                        <a:pt x="f9" y="f7"/>
                      </a:cubicBezTo>
                      <a:cubicBezTo>
                        <a:pt x="f33" y="f32"/>
                        <a:pt x="f33" y="f32"/>
                        <a:pt x="f33" y="f32"/>
                      </a:cubicBezTo>
                      <a:cubicBezTo>
                        <a:pt x="f34" y="f33"/>
                        <a:pt x="f34" y="f33"/>
                        <a:pt x="f34" y="f33"/>
                      </a:cubicBezTo>
                      <a:cubicBezTo>
                        <a:pt x="f31" y="f35"/>
                        <a:pt x="f31" y="f35"/>
                        <a:pt x="f31" y="f35"/>
                      </a:cubicBezTo>
                      <a:cubicBezTo>
                        <a:pt x="f36" y="f35"/>
                        <a:pt x="f36" y="f35"/>
                        <a:pt x="f36" y="f35"/>
                      </a:cubicBezTo>
                      <a:cubicBezTo>
                        <a:pt x="f12" y="f37"/>
                        <a:pt x="f12" y="f37"/>
                        <a:pt x="f12" y="f37"/>
                      </a:cubicBezTo>
                      <a:cubicBezTo>
                        <a:pt x="f8" y="f9"/>
                        <a:pt x="f8" y="f9"/>
                        <a:pt x="f8" y="f9"/>
                      </a:cubicBezTo>
                    </a:path>
                  </a:pathLst>
                </a:custGeom>
                <a:noFill/>
                <a:ln w="9528" cap="flat">
                  <a:solidFill>
                    <a:srgbClr val="BAD8E8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1093" name="Freeform 398">
              <a:extLst>
                <a:ext uri="{FF2B5EF4-FFF2-40B4-BE49-F238E27FC236}">
                  <a16:creationId xmlns:a16="http://schemas.microsoft.com/office/drawing/2014/main" id="{AEE1BC1C-70B0-DDBE-463B-316B567ECCE8}"/>
                </a:ext>
              </a:extLst>
            </p:cNvPr>
            <p:cNvSpPr/>
            <p:nvPr/>
          </p:nvSpPr>
          <p:spPr>
            <a:xfrm>
              <a:off x="1976116" y="1822718"/>
              <a:ext cx="2180981" cy="142454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622"/>
                <a:gd name="f7" fmla="val 1117"/>
                <a:gd name="f8" fmla="val 931"/>
                <a:gd name="f9" fmla="val 943"/>
                <a:gd name="f10" fmla="val 973"/>
                <a:gd name="f11" fmla="val 955"/>
                <a:gd name="f12" fmla="val 1075"/>
                <a:gd name="f13" fmla="val 1003"/>
                <a:gd name="f14" fmla="val 1111"/>
                <a:gd name="f15" fmla="val 1081"/>
                <a:gd name="f16" fmla="val 1190"/>
                <a:gd name="f17" fmla="val 1093"/>
                <a:gd name="f18" fmla="val 1232"/>
                <a:gd name="f19" fmla="val 1057"/>
                <a:gd name="f20" fmla="val 1262"/>
                <a:gd name="f21" fmla="val 1051"/>
                <a:gd name="f22" fmla="val 1322"/>
                <a:gd name="f23" fmla="val 1039"/>
                <a:gd name="f24" fmla="val 1370"/>
                <a:gd name="f25" fmla="val 979"/>
                <a:gd name="f26" fmla="val 1394"/>
                <a:gd name="f27" fmla="val 985"/>
                <a:gd name="f28" fmla="val 1406"/>
                <a:gd name="f29" fmla="val 1045"/>
                <a:gd name="f30" fmla="val 1430"/>
                <a:gd name="f31" fmla="val 1027"/>
                <a:gd name="f32" fmla="val 1448"/>
                <a:gd name="f33" fmla="val 1033"/>
                <a:gd name="f34" fmla="val 1436"/>
                <a:gd name="f35" fmla="val 1502"/>
                <a:gd name="f36" fmla="val 1520"/>
                <a:gd name="f37" fmla="val 1009"/>
                <a:gd name="f38" fmla="val 1466"/>
                <a:gd name="f39" fmla="val 1442"/>
                <a:gd name="f40" fmla="val 967"/>
                <a:gd name="f41" fmla="val 1460"/>
                <a:gd name="f42" fmla="val 949"/>
                <a:gd name="f43" fmla="val 925"/>
                <a:gd name="f44" fmla="val 1382"/>
                <a:gd name="f45" fmla="val 1340"/>
                <a:gd name="f46" fmla="val 1358"/>
                <a:gd name="f47" fmla="val 937"/>
                <a:gd name="f48" fmla="val 1400"/>
                <a:gd name="f49" fmla="val 913"/>
                <a:gd name="f50" fmla="val 1424"/>
                <a:gd name="f51" fmla="val 889"/>
                <a:gd name="f52" fmla="val 1496"/>
                <a:gd name="f53" fmla="val 895"/>
                <a:gd name="f54" fmla="val 1550"/>
                <a:gd name="f55" fmla="val 1592"/>
                <a:gd name="f56" fmla="val 859"/>
                <a:gd name="f57" fmla="val 835"/>
                <a:gd name="f58" fmla="val 1598"/>
                <a:gd name="f59" fmla="val 775"/>
                <a:gd name="f60" fmla="val 745"/>
                <a:gd name="f61" fmla="val 1514"/>
                <a:gd name="f62" fmla="val 703"/>
                <a:gd name="f63" fmla="val 679"/>
                <a:gd name="f64" fmla="val 553"/>
                <a:gd name="f65" fmla="val 607"/>
                <a:gd name="f66" fmla="val 1388"/>
                <a:gd name="f67" fmla="val 619"/>
                <a:gd name="f68" fmla="val 1376"/>
                <a:gd name="f69" fmla="val 522"/>
                <a:gd name="f70" fmla="val 516"/>
                <a:gd name="f71" fmla="val 1292"/>
                <a:gd name="f72" fmla="val 474"/>
                <a:gd name="f73" fmla="val 480"/>
                <a:gd name="f74" fmla="val 1226"/>
                <a:gd name="f75" fmla="val 468"/>
                <a:gd name="f76" fmla="val 1202"/>
                <a:gd name="f77" fmla="val 504"/>
                <a:gd name="f78" fmla="val 535"/>
                <a:gd name="f79" fmla="val 1196"/>
                <a:gd name="f80" fmla="val 601"/>
                <a:gd name="f81" fmla="val 625"/>
                <a:gd name="f82" fmla="val 697"/>
                <a:gd name="f83" fmla="val 1166"/>
                <a:gd name="f84" fmla="val 751"/>
                <a:gd name="f85" fmla="val 1178"/>
                <a:gd name="f86" fmla="val 841"/>
                <a:gd name="f87" fmla="val 1154"/>
                <a:gd name="f88" fmla="val 1130"/>
                <a:gd name="f89" fmla="val 847"/>
                <a:gd name="f90" fmla="val 739"/>
                <a:gd name="f91" fmla="val 733"/>
                <a:gd name="f92" fmla="val 667"/>
                <a:gd name="f93" fmla="val 919"/>
                <a:gd name="f94" fmla="val 901"/>
                <a:gd name="f95" fmla="val 613"/>
                <a:gd name="f96" fmla="val 883"/>
                <a:gd name="f97" fmla="val 595"/>
                <a:gd name="f98" fmla="val 450"/>
                <a:gd name="f99" fmla="val 961"/>
                <a:gd name="f100" fmla="val 420"/>
                <a:gd name="f101" fmla="val 991"/>
                <a:gd name="f102" fmla="val 402"/>
                <a:gd name="f103" fmla="val 342"/>
                <a:gd name="f104" fmla="val 294"/>
                <a:gd name="f105" fmla="val 1099"/>
                <a:gd name="f106" fmla="val 282"/>
                <a:gd name="f107" fmla="val 258"/>
                <a:gd name="f108" fmla="val 204"/>
                <a:gd name="f109" fmla="val 1124"/>
                <a:gd name="f110" fmla="val 168"/>
                <a:gd name="f111" fmla="val 138"/>
                <a:gd name="f112" fmla="val 1063"/>
                <a:gd name="f113" fmla="val 132"/>
                <a:gd name="f114" fmla="val 192"/>
                <a:gd name="f115" fmla="val 1015"/>
                <a:gd name="f116" fmla="val 246"/>
                <a:gd name="f117" fmla="val 156"/>
                <a:gd name="f118" fmla="val 186"/>
                <a:gd name="f119" fmla="val 114"/>
                <a:gd name="f120" fmla="val 60"/>
                <a:gd name="f121" fmla="val 877"/>
                <a:gd name="f122" fmla="val 84"/>
                <a:gd name="f123" fmla="val 150"/>
                <a:gd name="f124" fmla="val 865"/>
                <a:gd name="f125" fmla="val 216"/>
                <a:gd name="f126" fmla="val 823"/>
                <a:gd name="f127" fmla="val 811"/>
                <a:gd name="f128" fmla="val 234"/>
                <a:gd name="f129" fmla="val 769"/>
                <a:gd name="f130" fmla="val 222"/>
                <a:gd name="f131" fmla="val 709"/>
                <a:gd name="f132" fmla="val 673"/>
                <a:gd name="f133" fmla="val 198"/>
                <a:gd name="f134" fmla="val 210"/>
                <a:gd name="f135" fmla="val 228"/>
                <a:gd name="f136" fmla="val 631"/>
                <a:gd name="f137" fmla="val 264"/>
                <a:gd name="f138" fmla="val 583"/>
                <a:gd name="f139" fmla="val 517"/>
                <a:gd name="f140" fmla="val 487"/>
                <a:gd name="f141" fmla="val 499"/>
                <a:gd name="f142" fmla="val 457"/>
                <a:gd name="f143" fmla="val 174"/>
                <a:gd name="f144" fmla="val 409"/>
                <a:gd name="f145" fmla="val 343"/>
                <a:gd name="f146" fmla="val 301"/>
                <a:gd name="f147" fmla="val 144"/>
                <a:gd name="f148" fmla="val 259"/>
                <a:gd name="f149" fmla="val 96"/>
                <a:gd name="f150" fmla="val 145"/>
                <a:gd name="f151" fmla="val 115"/>
                <a:gd name="f152" fmla="val 67"/>
                <a:gd name="f153" fmla="val 37"/>
                <a:gd name="f154" fmla="val 126"/>
                <a:gd name="f155" fmla="val 61"/>
                <a:gd name="f156" fmla="val 109"/>
                <a:gd name="f157" fmla="val 559"/>
                <a:gd name="f158" fmla="val 175"/>
                <a:gd name="f159" fmla="val 217"/>
                <a:gd name="f160" fmla="val 211"/>
                <a:gd name="f161" fmla="val 757"/>
                <a:gd name="f162" fmla="val 229"/>
                <a:gd name="f163" fmla="val 793"/>
                <a:gd name="f164" fmla="val 277"/>
                <a:gd name="f165" fmla="val 349"/>
                <a:gd name="f166" fmla="val 871"/>
                <a:gd name="f167" fmla="+- 0 0 -90"/>
                <a:gd name="f168" fmla="*/ f3 1 1622"/>
                <a:gd name="f169" fmla="*/ f4 1 1117"/>
                <a:gd name="f170" fmla="val f5"/>
                <a:gd name="f171" fmla="val f6"/>
                <a:gd name="f172" fmla="val f7"/>
                <a:gd name="f173" fmla="*/ f167 f0 1"/>
                <a:gd name="f174" fmla="+- f172 0 f170"/>
                <a:gd name="f175" fmla="+- f171 0 f170"/>
                <a:gd name="f176" fmla="*/ f173 1 f2"/>
                <a:gd name="f177" fmla="*/ f175 1 1622"/>
                <a:gd name="f178" fmla="*/ f174 1 1117"/>
                <a:gd name="f179" fmla="*/ 2147483646 f175 1"/>
                <a:gd name="f180" fmla="*/ 2147483646 f174 1"/>
                <a:gd name="f181" fmla="*/ 0 f174 1"/>
                <a:gd name="f182" fmla="*/ 0 f175 1"/>
                <a:gd name="f183" fmla="+- f176 0 f1"/>
                <a:gd name="f184" fmla="*/ f179 1 1622"/>
                <a:gd name="f185" fmla="*/ f180 1 1117"/>
                <a:gd name="f186" fmla="*/ f181 1 1117"/>
                <a:gd name="f187" fmla="*/ f182 1 1622"/>
                <a:gd name="f188" fmla="*/ 0 1 f177"/>
                <a:gd name="f189" fmla="*/ f171 1 f177"/>
                <a:gd name="f190" fmla="*/ 0 1 f178"/>
                <a:gd name="f191" fmla="*/ f172 1 f178"/>
                <a:gd name="f192" fmla="*/ f184 1 f177"/>
                <a:gd name="f193" fmla="*/ f185 1 f178"/>
                <a:gd name="f194" fmla="*/ f186 1 f178"/>
                <a:gd name="f195" fmla="*/ f187 1 f177"/>
                <a:gd name="f196" fmla="*/ f188 f168 1"/>
                <a:gd name="f197" fmla="*/ f189 f168 1"/>
                <a:gd name="f198" fmla="*/ f191 f169 1"/>
                <a:gd name="f199" fmla="*/ f190 f169 1"/>
                <a:gd name="f200" fmla="*/ f192 f168 1"/>
                <a:gd name="f201" fmla="*/ f193 f169 1"/>
                <a:gd name="f202" fmla="*/ f194 f169 1"/>
                <a:gd name="f203" fmla="*/ f195 f16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2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3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  <a:cxn ang="f183">
                  <a:pos x="f200" y="f201"/>
                </a:cxn>
              </a:cxnLst>
              <a:rect l="f196" t="f199" r="f197" b="f198"/>
              <a:pathLst>
                <a:path w="1622" h="1117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4" y="f7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21"/>
                  </a:lnTo>
                  <a:lnTo>
                    <a:pt x="f32" y="f12"/>
                  </a:lnTo>
                  <a:lnTo>
                    <a:pt x="f35" y="f33"/>
                  </a:lnTo>
                  <a:lnTo>
                    <a:pt x="f36" y="f37"/>
                  </a:lnTo>
                  <a:lnTo>
                    <a:pt x="f38" y="f13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38" y="f43"/>
                  </a:lnTo>
                  <a:lnTo>
                    <a:pt x="f44" y="f9"/>
                  </a:lnTo>
                  <a:lnTo>
                    <a:pt x="f45" y="f25"/>
                  </a:lnTo>
                  <a:lnTo>
                    <a:pt x="f46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1"/>
                  </a:lnTo>
                  <a:lnTo>
                    <a:pt x="f55" y="f56"/>
                  </a:lnTo>
                  <a:lnTo>
                    <a:pt x="f6" y="f57"/>
                  </a:lnTo>
                  <a:lnTo>
                    <a:pt x="f58" y="f59"/>
                  </a:lnTo>
                  <a:lnTo>
                    <a:pt x="f55" y="f60"/>
                  </a:lnTo>
                  <a:lnTo>
                    <a:pt x="f61" y="f62"/>
                  </a:lnTo>
                  <a:lnTo>
                    <a:pt x="f61" y="f63"/>
                  </a:lnTo>
                  <a:lnTo>
                    <a:pt x="f32" y="f64"/>
                  </a:lnTo>
                  <a:lnTo>
                    <a:pt x="f30" y="f65"/>
                  </a:lnTo>
                  <a:lnTo>
                    <a:pt x="f66" y="f67"/>
                  </a:lnTo>
                  <a:lnTo>
                    <a:pt x="f68" y="f65"/>
                  </a:lnTo>
                  <a:lnTo>
                    <a:pt x="f46" y="f65"/>
                  </a:lnTo>
                  <a:lnTo>
                    <a:pt x="f46" y="f69"/>
                  </a:lnTo>
                  <a:lnTo>
                    <a:pt x="f22" y="f70"/>
                  </a:lnTo>
                  <a:lnTo>
                    <a:pt x="f71" y="f72"/>
                  </a:lnTo>
                  <a:lnTo>
                    <a:pt x="f20" y="f73"/>
                  </a:lnTo>
                  <a:lnTo>
                    <a:pt x="f74" y="f75"/>
                  </a:lnTo>
                  <a:lnTo>
                    <a:pt x="f76" y="f72"/>
                  </a:lnTo>
                  <a:lnTo>
                    <a:pt x="f76" y="f77"/>
                  </a:lnTo>
                  <a:lnTo>
                    <a:pt x="f76" y="f78"/>
                  </a:lnTo>
                  <a:lnTo>
                    <a:pt x="f79" y="f80"/>
                  </a:lnTo>
                  <a:lnTo>
                    <a:pt x="f16" y="f81"/>
                  </a:lnTo>
                  <a:lnTo>
                    <a:pt x="f74" y="f82"/>
                  </a:lnTo>
                  <a:lnTo>
                    <a:pt x="f83" y="f84"/>
                  </a:lnTo>
                  <a:lnTo>
                    <a:pt x="f85" y="f86"/>
                  </a:lnTo>
                  <a:lnTo>
                    <a:pt x="f87" y="f56"/>
                  </a:lnTo>
                  <a:lnTo>
                    <a:pt x="f88" y="f89"/>
                  </a:lnTo>
                  <a:lnTo>
                    <a:pt x="f7" y="f90"/>
                  </a:lnTo>
                  <a:lnTo>
                    <a:pt x="f19" y="f91"/>
                  </a:lnTo>
                  <a:lnTo>
                    <a:pt x="f9" y="f92"/>
                  </a:lnTo>
                  <a:lnTo>
                    <a:pt x="f93" y="f92"/>
                  </a:lnTo>
                  <a:lnTo>
                    <a:pt x="f94" y="f95"/>
                  </a:lnTo>
                  <a:lnTo>
                    <a:pt x="f96" y="f97"/>
                  </a:lnTo>
                  <a:lnTo>
                    <a:pt x="f8" y="f98"/>
                  </a:lnTo>
                  <a:lnTo>
                    <a:pt x="f99" y="f100"/>
                  </a:lnTo>
                  <a:lnTo>
                    <a:pt x="f101" y="f102"/>
                  </a:lnTo>
                  <a:lnTo>
                    <a:pt x="f37" y="f102"/>
                  </a:lnTo>
                  <a:lnTo>
                    <a:pt x="f31" y="f103"/>
                  </a:lnTo>
                  <a:lnTo>
                    <a:pt x="f23" y="f104"/>
                  </a:lnTo>
                  <a:lnTo>
                    <a:pt x="f105" y="f106"/>
                  </a:lnTo>
                  <a:lnTo>
                    <a:pt x="f88" y="f107"/>
                  </a:lnTo>
                  <a:lnTo>
                    <a:pt x="f14" y="f108"/>
                  </a:lnTo>
                  <a:lnTo>
                    <a:pt x="f109" y="f110"/>
                  </a:lnTo>
                  <a:lnTo>
                    <a:pt x="f105" y="f111"/>
                  </a:lnTo>
                  <a:lnTo>
                    <a:pt x="f112" y="f113"/>
                  </a:lnTo>
                  <a:lnTo>
                    <a:pt x="f21" y="f114"/>
                  </a:lnTo>
                  <a:lnTo>
                    <a:pt x="f115" y="f116"/>
                  </a:lnTo>
                  <a:lnTo>
                    <a:pt x="f13" y="f2"/>
                  </a:lnTo>
                  <a:lnTo>
                    <a:pt x="f27" y="f117"/>
                  </a:lnTo>
                  <a:lnTo>
                    <a:pt x="f99" y="f118"/>
                  </a:lnTo>
                  <a:lnTo>
                    <a:pt x="f42" y="f117"/>
                  </a:lnTo>
                  <a:lnTo>
                    <a:pt x="f43" y="f119"/>
                  </a:lnTo>
                  <a:lnTo>
                    <a:pt x="f49" y="f120"/>
                  </a:lnTo>
                  <a:lnTo>
                    <a:pt x="f121" y="f5"/>
                  </a:lnTo>
                  <a:lnTo>
                    <a:pt x="f89" y="f122"/>
                  </a:lnTo>
                  <a:lnTo>
                    <a:pt x="f89" y="f119"/>
                  </a:lnTo>
                  <a:lnTo>
                    <a:pt x="f51" y="f123"/>
                  </a:lnTo>
                  <a:lnTo>
                    <a:pt x="f53" y="f118"/>
                  </a:lnTo>
                  <a:lnTo>
                    <a:pt x="f124" y="f125"/>
                  </a:lnTo>
                  <a:lnTo>
                    <a:pt x="f89" y="f108"/>
                  </a:lnTo>
                  <a:lnTo>
                    <a:pt x="f126" y="f108"/>
                  </a:lnTo>
                  <a:lnTo>
                    <a:pt x="f127" y="f128"/>
                  </a:lnTo>
                  <a:lnTo>
                    <a:pt x="f129" y="f130"/>
                  </a:lnTo>
                  <a:lnTo>
                    <a:pt x="f131" y="f130"/>
                  </a:lnTo>
                  <a:lnTo>
                    <a:pt x="f132" y="f133"/>
                  </a:lnTo>
                  <a:lnTo>
                    <a:pt x="f67" y="f134"/>
                  </a:lnTo>
                  <a:lnTo>
                    <a:pt x="f81" y="f135"/>
                  </a:lnTo>
                  <a:lnTo>
                    <a:pt x="f136" y="f137"/>
                  </a:lnTo>
                  <a:lnTo>
                    <a:pt x="f95" y="f107"/>
                  </a:lnTo>
                  <a:lnTo>
                    <a:pt x="f138" y="f130"/>
                  </a:lnTo>
                  <a:lnTo>
                    <a:pt x="f139" y="f128"/>
                  </a:lnTo>
                  <a:lnTo>
                    <a:pt x="f140" y="f134"/>
                  </a:lnTo>
                  <a:lnTo>
                    <a:pt x="f141" y="f118"/>
                  </a:lnTo>
                  <a:lnTo>
                    <a:pt x="f142" y="f143"/>
                  </a:lnTo>
                  <a:lnTo>
                    <a:pt x="f144" y="f123"/>
                  </a:lnTo>
                  <a:lnTo>
                    <a:pt x="f145" y="f113"/>
                  </a:lnTo>
                  <a:lnTo>
                    <a:pt x="f146" y="f147"/>
                  </a:lnTo>
                  <a:lnTo>
                    <a:pt x="f148" y="f149"/>
                  </a:lnTo>
                  <a:lnTo>
                    <a:pt x="f150" y="f123"/>
                  </a:lnTo>
                  <a:lnTo>
                    <a:pt x="f151" y="f2"/>
                  </a:lnTo>
                  <a:lnTo>
                    <a:pt x="f152" y="f110"/>
                  </a:lnTo>
                  <a:lnTo>
                    <a:pt x="f153" y="f111"/>
                  </a:lnTo>
                  <a:lnTo>
                    <a:pt x="f5" y="f154"/>
                  </a:lnTo>
                  <a:lnTo>
                    <a:pt x="f5" y="f64"/>
                  </a:lnTo>
                  <a:lnTo>
                    <a:pt x="f155" y="f138"/>
                  </a:lnTo>
                  <a:lnTo>
                    <a:pt x="f156" y="f157"/>
                  </a:lnTo>
                  <a:lnTo>
                    <a:pt x="f158" y="f63"/>
                  </a:lnTo>
                  <a:lnTo>
                    <a:pt x="f159" y="f131"/>
                  </a:lnTo>
                  <a:lnTo>
                    <a:pt x="f160" y="f161"/>
                  </a:lnTo>
                  <a:lnTo>
                    <a:pt x="f162" y="f163"/>
                  </a:lnTo>
                  <a:lnTo>
                    <a:pt x="f164" y="f56"/>
                  </a:lnTo>
                  <a:lnTo>
                    <a:pt x="f145" y="f94"/>
                  </a:lnTo>
                  <a:lnTo>
                    <a:pt x="f165" y="f8"/>
                  </a:lnTo>
                  <a:lnTo>
                    <a:pt x="f166" y="f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94" name="Group 1093">
              <a:extLst>
                <a:ext uri="{FF2B5EF4-FFF2-40B4-BE49-F238E27FC236}">
                  <a16:creationId xmlns:a16="http://schemas.microsoft.com/office/drawing/2014/main" id="{C16737CF-D487-1551-31E1-69C285377458}"/>
                </a:ext>
              </a:extLst>
            </p:cNvPr>
            <p:cNvGrpSpPr/>
            <p:nvPr/>
          </p:nvGrpSpPr>
          <p:grpSpPr>
            <a:xfrm>
              <a:off x="2584101" y="3522240"/>
              <a:ext cx="6219547" cy="2375812"/>
              <a:chOff x="2584094" y="3426119"/>
              <a:chExt cx="6219547" cy="2375812"/>
            </a:xfrm>
          </p:grpSpPr>
          <p:sp>
            <p:nvSpPr>
              <p:cNvPr id="1392" name="Freeform 411">
                <a:extLst>
                  <a:ext uri="{FF2B5EF4-FFF2-40B4-BE49-F238E27FC236}">
                    <a16:creationId xmlns:a16="http://schemas.microsoft.com/office/drawing/2014/main" id="{FC8868C3-86D1-B529-EB5F-DDEBB672C2A2}"/>
                  </a:ext>
                </a:extLst>
              </p:cNvPr>
              <p:cNvSpPr/>
              <p:nvPr/>
            </p:nvSpPr>
            <p:spPr>
              <a:xfrm>
                <a:off x="4060969" y="4951869"/>
                <a:ext cx="130695" cy="16347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2"/>
                  <a:gd name="f7" fmla="val 114"/>
                  <a:gd name="f8" fmla="val 66"/>
                  <a:gd name="f9" fmla="val 24"/>
                  <a:gd name="f10" fmla="val 36"/>
                  <a:gd name="f11" fmla="val 6"/>
                  <a:gd name="f12" fmla="val 18"/>
                  <a:gd name="f13" fmla="val 48"/>
                  <a:gd name="f14" fmla="val 78"/>
                  <a:gd name="f15" fmla="val 96"/>
                  <a:gd name="f16" fmla="val 108"/>
                  <a:gd name="f17" fmla="val 90"/>
                  <a:gd name="f18" fmla="val 84"/>
                  <a:gd name="f19" fmla="val 42"/>
                  <a:gd name="f20" fmla="+- 0 0 -90"/>
                  <a:gd name="f21" fmla="*/ f3 1 102"/>
                  <a:gd name="f22" fmla="*/ f4 1 114"/>
                  <a:gd name="f23" fmla="val f5"/>
                  <a:gd name="f24" fmla="val f6"/>
                  <a:gd name="f25" fmla="val f7"/>
                  <a:gd name="f26" fmla="*/ f20 f0 1"/>
                  <a:gd name="f27" fmla="+- f25 0 f23"/>
                  <a:gd name="f28" fmla="+- f24 0 f23"/>
                  <a:gd name="f29" fmla="*/ f26 1 f2"/>
                  <a:gd name="f30" fmla="*/ f28 1 102"/>
                  <a:gd name="f31" fmla="*/ f27 1 114"/>
                  <a:gd name="f32" fmla="*/ 2147483646 f28 1"/>
                  <a:gd name="f33" fmla="*/ 2147483646 f27 1"/>
                  <a:gd name="f34" fmla="*/ 0 f27 1"/>
                  <a:gd name="f35" fmla="*/ 0 f28 1"/>
                  <a:gd name="f36" fmla="+- f29 0 f1"/>
                  <a:gd name="f37" fmla="*/ f32 1 102"/>
                  <a:gd name="f38" fmla="*/ f33 1 114"/>
                  <a:gd name="f39" fmla="*/ f34 1 114"/>
                  <a:gd name="f40" fmla="*/ f35 1 102"/>
                  <a:gd name="f41" fmla="*/ 0 1 f30"/>
                  <a:gd name="f42" fmla="*/ f24 1 f30"/>
                  <a:gd name="f43" fmla="*/ 0 1 f31"/>
                  <a:gd name="f44" fmla="*/ f25 1 f31"/>
                  <a:gd name="f45" fmla="*/ f37 1 f30"/>
                  <a:gd name="f46" fmla="*/ f38 1 f31"/>
                  <a:gd name="f47" fmla="*/ f39 1 f31"/>
                  <a:gd name="f48" fmla="*/ f40 1 f30"/>
                  <a:gd name="f49" fmla="*/ f41 f21 1"/>
                  <a:gd name="f50" fmla="*/ f42 f21 1"/>
                  <a:gd name="f51" fmla="*/ f44 f22 1"/>
                  <a:gd name="f52" fmla="*/ f43 f22 1"/>
                  <a:gd name="f53" fmla="*/ f45 f21 1"/>
                  <a:gd name="f54" fmla="*/ f46 f22 1"/>
                  <a:gd name="f55" fmla="*/ f47 f22 1"/>
                  <a:gd name="f56" fmla="*/ f48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5"/>
                  </a:cxn>
                  <a:cxn ang="f36">
                    <a:pos x="f53" y="f54"/>
                  </a:cxn>
                  <a:cxn ang="f36">
                    <a:pos x="f56" y="f54"/>
                  </a:cxn>
                  <a:cxn ang="f36">
                    <a:pos x="f56" y="f54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4"/>
                  </a:cxn>
                  <a:cxn ang="f36">
                    <a:pos x="f53" y="f54"/>
                  </a:cxn>
                </a:cxnLst>
                <a:rect l="f49" t="f52" r="f50" b="f51"/>
                <a:pathLst>
                  <a:path w="102" h="114">
                    <a:moveTo>
                      <a:pt x="f8" y="f9"/>
                    </a:moveTo>
                    <a:lnTo>
                      <a:pt x="f10" y="f11"/>
                    </a:lnTo>
                    <a:lnTo>
                      <a:pt x="f12" y="f5"/>
                    </a:lnTo>
                    <a:lnTo>
                      <a:pt x="f11" y="f12"/>
                    </a:lnTo>
                    <a:lnTo>
                      <a:pt x="f5" y="f13"/>
                    </a:lnTo>
                    <a:lnTo>
                      <a:pt x="f5" y="f14"/>
                    </a:lnTo>
                    <a:lnTo>
                      <a:pt x="f9" y="f15"/>
                    </a:lnTo>
                    <a:lnTo>
                      <a:pt x="f10" y="f16"/>
                    </a:lnTo>
                    <a:lnTo>
                      <a:pt x="f8" y="f7"/>
                    </a:lnTo>
                    <a:lnTo>
                      <a:pt x="f15" y="f17"/>
                    </a:lnTo>
                    <a:lnTo>
                      <a:pt x="f6" y="f14"/>
                    </a:lnTo>
                    <a:lnTo>
                      <a:pt x="f18" y="f19"/>
                    </a:ln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3" name="Freeform 402">
                <a:extLst>
                  <a:ext uri="{FF2B5EF4-FFF2-40B4-BE49-F238E27FC236}">
                    <a16:creationId xmlns:a16="http://schemas.microsoft.com/office/drawing/2014/main" id="{FFC52A35-024D-54D5-8B01-7953ACC71996}"/>
                  </a:ext>
                </a:extLst>
              </p:cNvPr>
              <p:cNvSpPr/>
              <p:nvPr/>
            </p:nvSpPr>
            <p:spPr>
              <a:xfrm>
                <a:off x="3464661" y="4033299"/>
                <a:ext cx="145398" cy="5916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8"/>
                  <a:gd name="f7" fmla="val 8"/>
                  <a:gd name="f8" fmla="val 14"/>
                  <a:gd name="f9" fmla="val 1"/>
                  <a:gd name="f10" fmla="val 9"/>
                  <a:gd name="f11" fmla="val 3"/>
                  <a:gd name="f12" fmla="val 2"/>
                  <a:gd name="f13" fmla="val 4"/>
                  <a:gd name="f14" fmla="val 7"/>
                  <a:gd name="f15" fmla="val 5"/>
                  <a:gd name="f16" fmla="val 6"/>
                  <a:gd name="f17" fmla="val 10"/>
                  <a:gd name="f18" fmla="val 15"/>
                  <a:gd name="f19" fmla="+- 0 0 -90"/>
                  <a:gd name="f20" fmla="*/ f3 1 18"/>
                  <a:gd name="f21" fmla="*/ f4 1 8"/>
                  <a:gd name="f22" fmla="val f5"/>
                  <a:gd name="f23" fmla="val f6"/>
                  <a:gd name="f24" fmla="val f7"/>
                  <a:gd name="f25" fmla="*/ f19 f0 1"/>
                  <a:gd name="f26" fmla="+- f24 0 f22"/>
                  <a:gd name="f27" fmla="+- f23 0 f22"/>
                  <a:gd name="f28" fmla="*/ f25 1 f2"/>
                  <a:gd name="f29" fmla="*/ f26 1 8"/>
                  <a:gd name="f30" fmla="*/ f27 1 18"/>
                  <a:gd name="f31" fmla="*/ 2147483646 f27 1"/>
                  <a:gd name="f32" fmla="*/ 2147483646 f26 1"/>
                  <a:gd name="f33" fmla="*/ 0 f26 1"/>
                  <a:gd name="f34" fmla="*/ 0 f27 1"/>
                  <a:gd name="f35" fmla="+- f28 0 f1"/>
                  <a:gd name="f36" fmla="*/ f31 1 18"/>
                  <a:gd name="f37" fmla="*/ f32 1 8"/>
                  <a:gd name="f38" fmla="*/ f33 1 8"/>
                  <a:gd name="f39" fmla="*/ f34 1 18"/>
                  <a:gd name="f40" fmla="*/ 0 1 f30"/>
                  <a:gd name="f41" fmla="*/ f23 1 f30"/>
                  <a:gd name="f42" fmla="*/ 0 1 f29"/>
                  <a:gd name="f43" fmla="*/ f24 1 f29"/>
                  <a:gd name="f44" fmla="*/ f36 1 f30"/>
                  <a:gd name="f45" fmla="*/ f37 1 f29"/>
                  <a:gd name="f46" fmla="*/ f38 1 f29"/>
                  <a:gd name="f47" fmla="*/ f39 1 f30"/>
                  <a:gd name="f48" fmla="*/ f40 f20 1"/>
                  <a:gd name="f49" fmla="*/ f41 f20 1"/>
                  <a:gd name="f50" fmla="*/ f43 f21 1"/>
                  <a:gd name="f51" fmla="*/ f42 f21 1"/>
                  <a:gd name="f52" fmla="*/ f44 f20 1"/>
                  <a:gd name="f53" fmla="*/ f45 f21 1"/>
                  <a:gd name="f54" fmla="*/ f46 f21 1"/>
                  <a:gd name="f55" fmla="*/ f47 f2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4"/>
                  </a:cxn>
                  <a:cxn ang="f35">
                    <a:pos x="f55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  <a:cxn ang="f35">
                    <a:pos x="f52" y="f53"/>
                  </a:cxn>
                </a:cxnLst>
                <a:rect l="f48" t="f51" r="f49" b="f50"/>
                <a:pathLst>
                  <a:path w="18" h="8">
                    <a:moveTo>
                      <a:pt x="f8" y="f9"/>
                    </a:moveTo>
                    <a:cubicBezTo>
                      <a:pt x="f10" y="f9"/>
                      <a:pt x="f10" y="f9"/>
                      <a:pt x="f10" y="f9"/>
                    </a:cubicBezTo>
                    <a:cubicBezTo>
                      <a:pt x="f10" y="f9"/>
                      <a:pt x="f11" y="f12"/>
                      <a:pt x="f12" y="f9"/>
                    </a:cubicBezTo>
                    <a:cubicBezTo>
                      <a:pt x="f9" y="f9"/>
                      <a:pt x="f9" y="f9"/>
                      <a:pt x="f9" y="f5"/>
                    </a:cubicBezTo>
                    <a:cubicBezTo>
                      <a:pt x="f5" y="f13"/>
                      <a:pt x="f5" y="f13"/>
                      <a:pt x="f5" y="f13"/>
                    </a:cubicBezTo>
                    <a:cubicBezTo>
                      <a:pt x="f5" y="f13"/>
                      <a:pt x="f11" y="f14"/>
                      <a:pt x="f13" y="f7"/>
                    </a:cubicBezTo>
                    <a:cubicBezTo>
                      <a:pt x="f15" y="f7"/>
                      <a:pt x="f16" y="f7"/>
                      <a:pt x="f16" y="f7"/>
                    </a:cubicBezTo>
                    <a:cubicBezTo>
                      <a:pt x="f14" y="f16"/>
                      <a:pt x="f14" y="f16"/>
                      <a:pt x="f14" y="f16"/>
                    </a:cubicBezTo>
                    <a:cubicBezTo>
                      <a:pt x="f17" y="f11"/>
                      <a:pt x="f17" y="f11"/>
                      <a:pt x="f17" y="f11"/>
                    </a:cubicBezTo>
                    <a:cubicBezTo>
                      <a:pt x="f8" y="f13"/>
                      <a:pt x="f8" y="f13"/>
                      <a:pt x="f8" y="f13"/>
                    </a:cubicBezTo>
                    <a:cubicBezTo>
                      <a:pt x="f18" y="f14"/>
                      <a:pt x="f18" y="f14"/>
                      <a:pt x="f18" y="f14"/>
                    </a:cubicBezTo>
                    <a:cubicBezTo>
                      <a:pt x="f6" y="f13"/>
                      <a:pt x="f6" y="f13"/>
                      <a:pt x="f6" y="f13"/>
                    </a:cubicBez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4" name="Freeform 403">
                <a:extLst>
                  <a:ext uri="{FF2B5EF4-FFF2-40B4-BE49-F238E27FC236}">
                    <a16:creationId xmlns:a16="http://schemas.microsoft.com/office/drawing/2014/main" id="{ECE9D881-EBC1-4940-3F96-D879E036A4C8}"/>
                  </a:ext>
                </a:extLst>
              </p:cNvPr>
              <p:cNvSpPr/>
              <p:nvPr/>
            </p:nvSpPr>
            <p:spPr>
              <a:xfrm>
                <a:off x="3561057" y="3964801"/>
                <a:ext cx="298972" cy="31293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7"/>
                  <a:gd name="f7" fmla="val 41"/>
                  <a:gd name="f8" fmla="val 34"/>
                  <a:gd name="f9" fmla="val 27"/>
                  <a:gd name="f10" fmla="val 35"/>
                  <a:gd name="f11" fmla="val 23"/>
                  <a:gd name="f12" fmla="val 36"/>
                  <a:gd name="f13" fmla="val 21"/>
                  <a:gd name="f14" fmla="val 31"/>
                  <a:gd name="f15" fmla="val 20"/>
                  <a:gd name="f16" fmla="val 16"/>
                  <a:gd name="f17" fmla="val 19"/>
                  <a:gd name="f18" fmla="val 11"/>
                  <a:gd name="f19" fmla="val 3"/>
                  <a:gd name="f20" fmla="val 24"/>
                  <a:gd name="f21" fmla="val 1"/>
                  <a:gd name="f22" fmla="val 17"/>
                  <a:gd name="f23" fmla="val 2"/>
                  <a:gd name="f24" fmla="val 13"/>
                  <a:gd name="f25" fmla="val 4"/>
                  <a:gd name="f26" fmla="val 9"/>
                  <a:gd name="f27" fmla="val 10"/>
                  <a:gd name="f28" fmla="val 6"/>
                  <a:gd name="f29" fmla="val 18"/>
                  <a:gd name="f30" fmla="val 5"/>
                  <a:gd name="f31" fmla="val 26"/>
                  <a:gd name="f32" fmla="val 30"/>
                  <a:gd name="f33" fmla="val 33"/>
                  <a:gd name="f34" fmla="val 8"/>
                  <a:gd name="f35" fmla="val 38"/>
                  <a:gd name="f36" fmla="val 12"/>
                  <a:gd name="f37" fmla="+- 0 0 -90"/>
                  <a:gd name="f38" fmla="*/ f3 1 37"/>
                  <a:gd name="f39" fmla="*/ f4 1 41"/>
                  <a:gd name="f40" fmla="val f5"/>
                  <a:gd name="f41" fmla="val f6"/>
                  <a:gd name="f42" fmla="val f7"/>
                  <a:gd name="f43" fmla="*/ f37 f0 1"/>
                  <a:gd name="f44" fmla="+- f42 0 f40"/>
                  <a:gd name="f45" fmla="+- f41 0 f40"/>
                  <a:gd name="f46" fmla="*/ f43 1 f2"/>
                  <a:gd name="f47" fmla="*/ f45 1 37"/>
                  <a:gd name="f48" fmla="*/ f44 1 41"/>
                  <a:gd name="f49" fmla="*/ 2147483646 f45 1"/>
                  <a:gd name="f50" fmla="*/ 2147483646 f44 1"/>
                  <a:gd name="f51" fmla="*/ 0 f44 1"/>
                  <a:gd name="f52" fmla="*/ 0 f45 1"/>
                  <a:gd name="f53" fmla="+- f46 0 f1"/>
                  <a:gd name="f54" fmla="*/ f49 1 37"/>
                  <a:gd name="f55" fmla="*/ f50 1 41"/>
                  <a:gd name="f56" fmla="*/ f51 1 41"/>
                  <a:gd name="f57" fmla="*/ f52 1 37"/>
                  <a:gd name="f58" fmla="*/ 0 1 f47"/>
                  <a:gd name="f59" fmla="*/ f41 1 f47"/>
                  <a:gd name="f60" fmla="*/ 0 1 f48"/>
                  <a:gd name="f61" fmla="*/ f42 1 f48"/>
                  <a:gd name="f62" fmla="*/ f54 1 f47"/>
                  <a:gd name="f63" fmla="*/ f55 1 f48"/>
                  <a:gd name="f64" fmla="*/ f56 1 f48"/>
                  <a:gd name="f65" fmla="*/ f57 1 f47"/>
                  <a:gd name="f66" fmla="*/ f58 f38 1"/>
                  <a:gd name="f67" fmla="*/ f59 f38 1"/>
                  <a:gd name="f68" fmla="*/ f61 f39 1"/>
                  <a:gd name="f69" fmla="*/ f60 f39 1"/>
                  <a:gd name="f70" fmla="*/ f62 f38 1"/>
                  <a:gd name="f71" fmla="*/ f63 f39 1"/>
                  <a:gd name="f72" fmla="*/ f64 f39 1"/>
                  <a:gd name="f73" fmla="*/ f65 f3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2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0" y="f71"/>
                  </a:cxn>
                  <a:cxn ang="f53">
                    <a:pos x="f73" y="f71"/>
                  </a:cxn>
                  <a:cxn ang="f53">
                    <a:pos x="f70" y="f71"/>
                  </a:cxn>
                  <a:cxn ang="f53">
                    <a:pos x="f70" y="f71"/>
                  </a:cxn>
                </a:cxnLst>
                <a:rect l="f66" t="f69" r="f67" b="f68"/>
                <a:pathLst>
                  <a:path w="37" h="41">
                    <a:moveTo>
                      <a:pt x="f6" y="f8"/>
                    </a:moveTo>
                    <a:cubicBezTo>
                      <a:pt x="f6" y="f8"/>
                      <a:pt x="f6" y="f8"/>
                      <a:pt x="f6" y="f8"/>
                    </a:cubicBezTo>
                    <a:cubicBezTo>
                      <a:pt x="f6" y="f9"/>
                      <a:pt x="f6" y="f9"/>
                      <a:pt x="f6" y="f9"/>
                    </a:cubicBezTo>
                    <a:cubicBezTo>
                      <a:pt x="f10" y="f11"/>
                      <a:pt x="f10" y="f11"/>
                      <a:pt x="f10" y="f11"/>
                    </a:cubicBezTo>
                    <a:cubicBezTo>
                      <a:pt x="f12" y="f13"/>
                      <a:pt x="f12" y="f13"/>
                      <a:pt x="f12" y="f13"/>
                    </a:cubicBezTo>
                    <a:cubicBezTo>
                      <a:pt x="f14" y="f15"/>
                      <a:pt x="f14" y="f15"/>
                      <a:pt x="f14" y="f15"/>
                    </a:cubicBezTo>
                    <a:cubicBezTo>
                      <a:pt x="f13" y="f16"/>
                      <a:pt x="f13" y="f16"/>
                      <a:pt x="f13" y="f16"/>
                    </a:cubicBezTo>
                    <a:cubicBezTo>
                      <a:pt x="f17" y="f18"/>
                      <a:pt x="f17" y="f18"/>
                      <a:pt x="f17" y="f18"/>
                    </a:cubicBezTo>
                    <a:cubicBezTo>
                      <a:pt x="f15" y="f19"/>
                      <a:pt x="f15" y="f19"/>
                      <a:pt x="f15" y="f19"/>
                    </a:cubicBezTo>
                    <a:cubicBezTo>
                      <a:pt x="f20" y="f21"/>
                      <a:pt x="f20" y="f21"/>
                      <a:pt x="f20" y="f21"/>
                    </a:cubicBezTo>
                    <a:cubicBezTo>
                      <a:pt x="f20" y="f5"/>
                      <a:pt x="f20" y="f5"/>
                      <a:pt x="f20" y="f5"/>
                    </a:cubicBezTo>
                    <a:cubicBezTo>
                      <a:pt x="f22" y="f23"/>
                      <a:pt x="f22" y="f23"/>
                      <a:pt x="f22" y="f23"/>
                    </a:cubicBezTo>
                    <a:cubicBezTo>
                      <a:pt x="f24" y="f25"/>
                      <a:pt x="f24" y="f25"/>
                      <a:pt x="f24" y="f25"/>
                    </a:cubicBezTo>
                    <a:cubicBezTo>
                      <a:pt x="f18" y="f26"/>
                      <a:pt x="f18" y="f26"/>
                      <a:pt x="f18" y="f26"/>
                    </a:cubicBezTo>
                    <a:cubicBezTo>
                      <a:pt x="f26" y="f27"/>
                      <a:pt x="f26" y="f27"/>
                      <a:pt x="f26" y="f27"/>
                    </a:cubicBezTo>
                    <a:cubicBezTo>
                      <a:pt x="f28" y="f24"/>
                      <a:pt x="f28" y="f24"/>
                      <a:pt x="f28" y="f24"/>
                    </a:cubicBezTo>
                    <a:cubicBezTo>
                      <a:pt x="f19" y="f16"/>
                      <a:pt x="f19" y="f16"/>
                      <a:pt x="f19" y="f16"/>
                    </a:cubicBezTo>
                    <a:cubicBezTo>
                      <a:pt x="f25" y="f29"/>
                      <a:pt x="f25" y="f29"/>
                      <a:pt x="f25" y="f29"/>
                    </a:cubicBezTo>
                    <a:cubicBezTo>
                      <a:pt x="f30" y="f11"/>
                      <a:pt x="f30" y="f11"/>
                      <a:pt x="f30" y="f11"/>
                    </a:cubicBezTo>
                    <a:cubicBezTo>
                      <a:pt x="f30" y="f31"/>
                      <a:pt x="f30" y="f31"/>
                      <a:pt x="f30" y="f31"/>
                    </a:cubicBezTo>
                    <a:cubicBezTo>
                      <a:pt x="f28" y="f32"/>
                      <a:pt x="f28" y="f32"/>
                      <a:pt x="f28" y="f32"/>
                    </a:cubicBezTo>
                    <a:cubicBezTo>
                      <a:pt x="f23" y="f33"/>
                      <a:pt x="f23" y="f33"/>
                      <a:pt x="f23" y="f33"/>
                    </a:cubicBezTo>
                    <a:cubicBezTo>
                      <a:pt x="f5" y="f10"/>
                      <a:pt x="f5" y="f10"/>
                      <a:pt x="f5" y="f10"/>
                    </a:cubicBezTo>
                    <a:cubicBezTo>
                      <a:pt x="f34" y="f35"/>
                      <a:pt x="f34" y="f35"/>
                      <a:pt x="f34" y="f35"/>
                    </a:cubicBezTo>
                    <a:cubicBezTo>
                      <a:pt x="f36" y="f7"/>
                      <a:pt x="f36" y="f7"/>
                      <a:pt x="f36" y="f7"/>
                    </a:cubicBezTo>
                  </a:path>
                </a:pathLst>
              </a:custGeom>
              <a:noFill/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5" name="Freeform 423">
                <a:extLst>
                  <a:ext uri="{FF2B5EF4-FFF2-40B4-BE49-F238E27FC236}">
                    <a16:creationId xmlns:a16="http://schemas.microsoft.com/office/drawing/2014/main" id="{EFE86FF3-44D9-C5E9-89A3-5703AF9C7343}"/>
                  </a:ext>
                </a:extLst>
              </p:cNvPr>
              <p:cNvSpPr/>
              <p:nvPr/>
            </p:nvSpPr>
            <p:spPr>
              <a:xfrm>
                <a:off x="3211436" y="3830906"/>
                <a:ext cx="122529" cy="9652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5"/>
                  <a:gd name="f7" fmla="val 12"/>
                  <a:gd name="f8" fmla="val 5"/>
                  <a:gd name="f9" fmla="val 13"/>
                  <a:gd name="f10" fmla="val 11"/>
                  <a:gd name="f11" fmla="val 4"/>
                  <a:gd name="f12" fmla="val 6"/>
                  <a:gd name="f13" fmla="val 1"/>
                  <a:gd name="f14" fmla="val 3"/>
                  <a:gd name="f15" fmla="val 8"/>
                  <a:gd name="f16" fmla="val 10"/>
                  <a:gd name="f17" fmla="val 7"/>
                  <a:gd name="f18" fmla="+- 0 0 -90"/>
                  <a:gd name="f19" fmla="*/ f3 1 15"/>
                  <a:gd name="f20" fmla="*/ f4 1 12"/>
                  <a:gd name="f21" fmla="val f5"/>
                  <a:gd name="f22" fmla="val f6"/>
                  <a:gd name="f23" fmla="val f7"/>
                  <a:gd name="f24" fmla="*/ f18 f0 1"/>
                  <a:gd name="f25" fmla="+- f23 0 f21"/>
                  <a:gd name="f26" fmla="+- f22 0 f21"/>
                  <a:gd name="f27" fmla="*/ f24 1 f2"/>
                  <a:gd name="f28" fmla="*/ f26 1 15"/>
                  <a:gd name="f29" fmla="*/ f25 1 12"/>
                  <a:gd name="f30" fmla="*/ 2147483646 f26 1"/>
                  <a:gd name="f31" fmla="*/ 2147483646 f25 1"/>
                  <a:gd name="f32" fmla="*/ 0 f25 1"/>
                  <a:gd name="f33" fmla="*/ 0 f26 1"/>
                  <a:gd name="f34" fmla="+- f27 0 f1"/>
                  <a:gd name="f35" fmla="*/ f30 1 15"/>
                  <a:gd name="f36" fmla="*/ f31 1 12"/>
                  <a:gd name="f37" fmla="*/ f32 1 12"/>
                  <a:gd name="f38" fmla="*/ f33 1 15"/>
                  <a:gd name="f39" fmla="*/ 0 1 f28"/>
                  <a:gd name="f40" fmla="*/ f22 1 f28"/>
                  <a:gd name="f41" fmla="*/ 0 1 f29"/>
                  <a:gd name="f42" fmla="*/ f23 1 f29"/>
                  <a:gd name="f43" fmla="*/ f35 1 f28"/>
                  <a:gd name="f44" fmla="*/ f36 1 f29"/>
                  <a:gd name="f45" fmla="*/ f37 1 f29"/>
                  <a:gd name="f46" fmla="*/ f38 1 f28"/>
                  <a:gd name="f47" fmla="*/ f39 f19 1"/>
                  <a:gd name="f48" fmla="*/ f40 f19 1"/>
                  <a:gd name="f49" fmla="*/ f42 f20 1"/>
                  <a:gd name="f50" fmla="*/ f41 f20 1"/>
                  <a:gd name="f51" fmla="*/ f43 f19 1"/>
                  <a:gd name="f52" fmla="*/ f44 f20 1"/>
                  <a:gd name="f53" fmla="*/ f45 f20 1"/>
                  <a:gd name="f54" fmla="*/ f46 f1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3"/>
                  </a:cxn>
                  <a:cxn ang="f34">
                    <a:pos x="f51" y="f53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4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  <a:cxn ang="f34">
                    <a:pos x="f51" y="f52"/>
                  </a:cxn>
                </a:cxnLst>
                <a:rect l="f47" t="f50" r="f48" b="f49"/>
                <a:pathLst>
                  <a:path w="15" h="12">
                    <a:moveTo>
                      <a:pt x="f6" y="f8"/>
                    </a:moveTo>
                    <a:cubicBezTo>
                      <a:pt x="f9" y="f8"/>
                      <a:pt x="f10" y="f11"/>
                      <a:pt x="f10" y="f11"/>
                    </a:cubicBezTo>
                    <a:cubicBezTo>
                      <a:pt x="f10" y="f5"/>
                      <a:pt x="f10" y="f5"/>
                      <a:pt x="f10" y="f5"/>
                    </a:cubicBezTo>
                    <a:cubicBezTo>
                      <a:pt x="f12" y="f5"/>
                      <a:pt x="f12" y="f5"/>
                      <a:pt x="f12" y="f5"/>
                    </a:cubicBezTo>
                    <a:cubicBezTo>
                      <a:pt x="f11" y="f13"/>
                      <a:pt x="f11" y="f13"/>
                      <a:pt x="f11" y="f13"/>
                    </a:cubicBezTo>
                    <a:cubicBezTo>
                      <a:pt x="f12" y="f8"/>
                      <a:pt x="f12" y="f8"/>
                      <a:pt x="f12" y="f8"/>
                    </a:cubicBezTo>
                    <a:cubicBezTo>
                      <a:pt x="f14" y="f8"/>
                      <a:pt x="f14" y="f8"/>
                      <a:pt x="f14" y="f8"/>
                    </a:cubicBezTo>
                    <a:cubicBezTo>
                      <a:pt x="f13" y="f15"/>
                      <a:pt x="f13" y="f15"/>
                      <a:pt x="f13" y="f15"/>
                    </a:cubicBezTo>
                    <a:cubicBezTo>
                      <a:pt x="f5" y="f16"/>
                      <a:pt x="f5" y="f16"/>
                      <a:pt x="f5" y="f16"/>
                    </a:cubicBezTo>
                    <a:cubicBezTo>
                      <a:pt x="f13" y="f10"/>
                      <a:pt x="f13" y="f10"/>
                      <a:pt x="f13" y="f10"/>
                    </a:cubicBezTo>
                    <a:cubicBezTo>
                      <a:pt x="f17" y="f7"/>
                      <a:pt x="f17" y="f7"/>
                      <a:pt x="f17" y="f7"/>
                    </a:cubicBezTo>
                    <a:cubicBezTo>
                      <a:pt x="f16" y="f10"/>
                      <a:pt x="f16" y="f10"/>
                      <a:pt x="f16" y="f10"/>
                    </a:cubicBezTo>
                    <a:cubicBezTo>
                      <a:pt x="f10" y="f15"/>
                      <a:pt x="f10" y="f15"/>
                      <a:pt x="f10" y="f15"/>
                    </a:cubicBezTo>
                    <a:lnTo>
                      <a:pt x="f6" y="f8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6" name="Freeform 424">
                <a:extLst>
                  <a:ext uri="{FF2B5EF4-FFF2-40B4-BE49-F238E27FC236}">
                    <a16:creationId xmlns:a16="http://schemas.microsoft.com/office/drawing/2014/main" id="{55F64BBD-A4DE-19D6-75D1-043D21C43097}"/>
                  </a:ext>
                </a:extLst>
              </p:cNvPr>
              <p:cNvSpPr/>
              <p:nvPr/>
            </p:nvSpPr>
            <p:spPr>
              <a:xfrm>
                <a:off x="2584094" y="3426119"/>
                <a:ext cx="776014" cy="484193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576"/>
                  <a:gd name="f8" fmla="val 379"/>
                  <a:gd name="f9" fmla="val 486"/>
                  <a:gd name="f10" fmla="val 348"/>
                  <a:gd name="f11" fmla="val 504"/>
                  <a:gd name="f12" fmla="val 492"/>
                  <a:gd name="f13" fmla="val 324"/>
                  <a:gd name="f14" fmla="val 318"/>
                  <a:gd name="f15" fmla="val 534"/>
                  <a:gd name="f16" fmla="val 528"/>
                  <a:gd name="f17" fmla="val 312"/>
                  <a:gd name="f18" fmla="val 546"/>
                  <a:gd name="f19" fmla="val 300"/>
                  <a:gd name="f20" fmla="val 564"/>
                  <a:gd name="f21" fmla="val 288"/>
                  <a:gd name="f22" fmla="val 240"/>
                  <a:gd name="f23" fmla="val 252"/>
                  <a:gd name="f24" fmla="val 474"/>
                  <a:gd name="f25" fmla="val 294"/>
                  <a:gd name="f26" fmla="val 426"/>
                  <a:gd name="f27" fmla="val 378"/>
                  <a:gd name="f28" fmla="val 372"/>
                  <a:gd name="f29" fmla="val 162"/>
                  <a:gd name="f30" fmla="val 384"/>
                  <a:gd name="f31" fmla="val 144"/>
                  <a:gd name="f32" fmla="val 354"/>
                  <a:gd name="f33" fmla="val 138"/>
                  <a:gd name="f34" fmla="val 330"/>
                  <a:gd name="f35" fmla="val 114"/>
                  <a:gd name="f36" fmla="val 84"/>
                  <a:gd name="f37" fmla="val 66"/>
                  <a:gd name="f38" fmla="val 78"/>
                  <a:gd name="f39" fmla="val 204"/>
                  <a:gd name="f40" fmla="val 24"/>
                  <a:gd name="f41" fmla="val 174"/>
                  <a:gd name="f42" fmla="val 18"/>
                  <a:gd name="f43" fmla="val 156"/>
                  <a:gd name="f44" fmla="val 30"/>
                  <a:gd name="f45" fmla="val 108"/>
                  <a:gd name="f46" fmla="val 48"/>
                  <a:gd name="f47" fmla="val 6"/>
                  <a:gd name="f48" fmla="val 36"/>
                  <a:gd name="f49" fmla="val 72"/>
                  <a:gd name="f50" fmla="val 60"/>
                  <a:gd name="f51" fmla="val 54"/>
                  <a:gd name="f52" fmla="val 120"/>
                  <a:gd name="f53" fmla="val 96"/>
                  <a:gd name="f54" fmla="val 150"/>
                  <a:gd name="f55" fmla="val 102"/>
                  <a:gd name="f56" fmla="val 192"/>
                  <a:gd name="f57" fmla="val 216"/>
                  <a:gd name="f58" fmla="val 198"/>
                  <a:gd name="f59" fmla="val 126"/>
                  <a:gd name="f60" fmla="val 42"/>
                  <a:gd name="f61" fmla="val 168"/>
                  <a:gd name="f62" fmla="val 186"/>
                  <a:gd name="f63" fmla="val 222"/>
                  <a:gd name="f64" fmla="val 258"/>
                  <a:gd name="f65" fmla="val 276"/>
                  <a:gd name="f66" fmla="val 336"/>
                  <a:gd name="f67" fmla="val 342"/>
                  <a:gd name="f68" fmla="val 402"/>
                  <a:gd name="f69" fmla="val 420"/>
                  <a:gd name="f70" fmla="val 438"/>
                  <a:gd name="f71" fmla="val 468"/>
                  <a:gd name="f72" fmla="val 366"/>
                  <a:gd name="f73" fmla="+- 0 0 -90"/>
                  <a:gd name="f74" fmla="*/ f4 1 576"/>
                  <a:gd name="f75" fmla="*/ f5 1 379"/>
                  <a:gd name="f76" fmla="val f6"/>
                  <a:gd name="f77" fmla="val f7"/>
                  <a:gd name="f78" fmla="val f8"/>
                  <a:gd name="f79" fmla="*/ f73 f0 1"/>
                  <a:gd name="f80" fmla="+- f78 0 f76"/>
                  <a:gd name="f81" fmla="+- f77 0 f76"/>
                  <a:gd name="f82" fmla="*/ f79 1 f3"/>
                  <a:gd name="f83" fmla="*/ f81 1 576"/>
                  <a:gd name="f84" fmla="*/ f80 1 379"/>
                  <a:gd name="f85" fmla="*/ 2147483646 f81 1"/>
                  <a:gd name="f86" fmla="*/ 2147483646 f80 1"/>
                  <a:gd name="f87" fmla="*/ 0 f80 1"/>
                  <a:gd name="f88" fmla="*/ 0 f81 1"/>
                  <a:gd name="f89" fmla="+- f82 0 f1"/>
                  <a:gd name="f90" fmla="*/ f85 1 576"/>
                  <a:gd name="f91" fmla="*/ f86 1 379"/>
                  <a:gd name="f92" fmla="*/ f87 1 379"/>
                  <a:gd name="f93" fmla="*/ f88 1 576"/>
                  <a:gd name="f94" fmla="*/ 0 1 f83"/>
                  <a:gd name="f95" fmla="*/ f77 1 f83"/>
                  <a:gd name="f96" fmla="*/ 0 1 f84"/>
                  <a:gd name="f97" fmla="*/ f78 1 f84"/>
                  <a:gd name="f98" fmla="*/ f90 1 f83"/>
                  <a:gd name="f99" fmla="*/ f91 1 f84"/>
                  <a:gd name="f100" fmla="*/ f92 1 f84"/>
                  <a:gd name="f101" fmla="*/ f93 1 f83"/>
                  <a:gd name="f102" fmla="*/ f94 f74 1"/>
                  <a:gd name="f103" fmla="*/ f95 f74 1"/>
                  <a:gd name="f104" fmla="*/ f97 f75 1"/>
                  <a:gd name="f105" fmla="*/ f96 f75 1"/>
                  <a:gd name="f106" fmla="*/ f98 f74 1"/>
                  <a:gd name="f107" fmla="*/ f99 f75 1"/>
                  <a:gd name="f108" fmla="*/ f100 f75 1"/>
                  <a:gd name="f109" fmla="*/ f101 f7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8"/>
                  </a:cxn>
                  <a:cxn ang="f89">
                    <a:pos x="f109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  <a:cxn ang="f89">
                    <a:pos x="f106" y="f107"/>
                  </a:cxn>
                </a:cxnLst>
                <a:rect l="f102" t="f105" r="f103" b="f104"/>
                <a:pathLst>
                  <a:path w="576" h="379">
                    <a:moveTo>
                      <a:pt x="f9" y="f10"/>
                    </a:moveTo>
                    <a:lnTo>
                      <a:pt x="f11" y="f10"/>
                    </a:lnTo>
                    <a:lnTo>
                      <a:pt x="f12" y="f13"/>
                    </a:lnTo>
                    <a:lnTo>
                      <a:pt x="f11" y="f14"/>
                    </a:lnTo>
                    <a:lnTo>
                      <a:pt x="f15" y="f14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7" y="f22"/>
                    </a:lnTo>
                    <a:lnTo>
                      <a:pt x="f11" y="f23"/>
                    </a:lnTo>
                    <a:lnTo>
                      <a:pt x="f24" y="f25"/>
                    </a:lnTo>
                    <a:lnTo>
                      <a:pt x="f26" y="f19"/>
                    </a:lnTo>
                    <a:lnTo>
                      <a:pt x="f27" y="f22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17" y="f36"/>
                    </a:lnTo>
                    <a:lnTo>
                      <a:pt x="f21" y="f37"/>
                    </a:lnTo>
                    <a:lnTo>
                      <a:pt x="f23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4"/>
                    </a:lnTo>
                    <a:lnTo>
                      <a:pt x="f46" y="f6"/>
                    </a:lnTo>
                    <a:lnTo>
                      <a:pt x="f6" y="f47"/>
                    </a:lnTo>
                    <a:lnTo>
                      <a:pt x="f48" y="f49"/>
                    </a:lnTo>
                    <a:lnTo>
                      <a:pt x="f50" y="f45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3"/>
                    </a:lnTo>
                    <a:lnTo>
                      <a:pt x="f52" y="f56"/>
                    </a:lnTo>
                    <a:lnTo>
                      <a:pt x="f31" y="f57"/>
                    </a:lnTo>
                    <a:lnTo>
                      <a:pt x="f54" y="f58"/>
                    </a:lnTo>
                    <a:lnTo>
                      <a:pt x="f59" y="f3"/>
                    </a:lnTo>
                    <a:lnTo>
                      <a:pt x="f55" y="f59"/>
                    </a:lnTo>
                    <a:lnTo>
                      <a:pt x="f50" y="f37"/>
                    </a:lnTo>
                    <a:lnTo>
                      <a:pt x="f46" y="f44"/>
                    </a:lnTo>
                    <a:lnTo>
                      <a:pt x="f38" y="f60"/>
                    </a:lnTo>
                    <a:lnTo>
                      <a:pt x="f45" y="f55"/>
                    </a:lnTo>
                    <a:lnTo>
                      <a:pt x="f52" y="f52"/>
                    </a:lnTo>
                    <a:lnTo>
                      <a:pt x="f54" y="f33"/>
                    </a:lnTo>
                    <a:lnTo>
                      <a:pt x="f54" y="f43"/>
                    </a:lnTo>
                    <a:lnTo>
                      <a:pt x="f41" y="f61"/>
                    </a:lnTo>
                    <a:lnTo>
                      <a:pt x="f62" y="f62"/>
                    </a:lnTo>
                    <a:lnTo>
                      <a:pt x="f57" y="f57"/>
                    </a:lnTo>
                    <a:lnTo>
                      <a:pt x="f63" y="f64"/>
                    </a:lnTo>
                    <a:lnTo>
                      <a:pt x="f63" y="f65"/>
                    </a:lnTo>
                    <a:lnTo>
                      <a:pt x="f19" y="f13"/>
                    </a:lnTo>
                    <a:lnTo>
                      <a:pt x="f66" y="f67"/>
                    </a:lnTo>
                    <a:lnTo>
                      <a:pt x="f68" y="f2"/>
                    </a:lnTo>
                    <a:lnTo>
                      <a:pt x="f69" y="f32"/>
                    </a:lnTo>
                    <a:lnTo>
                      <a:pt x="f70" y="f32"/>
                    </a:lnTo>
                    <a:lnTo>
                      <a:pt x="f71" y="f8"/>
                    </a:lnTo>
                    <a:lnTo>
                      <a:pt x="f24" y="f72"/>
                    </a:lnTo>
                    <a:lnTo>
                      <a:pt x="f9" y="f10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7" name="Freeform 262">
                <a:extLst>
                  <a:ext uri="{FF2B5EF4-FFF2-40B4-BE49-F238E27FC236}">
                    <a16:creationId xmlns:a16="http://schemas.microsoft.com/office/drawing/2014/main" id="{C57BCEA2-7A6A-C579-D8EE-ABE01613E7FF}"/>
                  </a:ext>
                </a:extLst>
              </p:cNvPr>
              <p:cNvSpPr/>
              <p:nvPr/>
            </p:nvSpPr>
            <p:spPr>
              <a:xfrm>
                <a:off x="8770970" y="3622285"/>
                <a:ext cx="32671" cy="9186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4"/>
                  <a:gd name="f7" fmla="val 72"/>
                  <a:gd name="f8" fmla="val 42"/>
                  <a:gd name="f9" fmla="val 18"/>
                  <a:gd name="f10" fmla="val 6"/>
                  <a:gd name="f11" fmla="+- 0 0 -90"/>
                  <a:gd name="f12" fmla="*/ f3 1 24"/>
                  <a:gd name="f13" fmla="*/ f4 1 72"/>
                  <a:gd name="f14" fmla="val f5"/>
                  <a:gd name="f15" fmla="val f6"/>
                  <a:gd name="f16" fmla="val f7"/>
                  <a:gd name="f17" fmla="*/ f11 f0 1"/>
                  <a:gd name="f18" fmla="+- f16 0 f14"/>
                  <a:gd name="f19" fmla="+- f15 0 f14"/>
                  <a:gd name="f20" fmla="*/ f17 1 f2"/>
                  <a:gd name="f21" fmla="*/ f19 1 24"/>
                  <a:gd name="f22" fmla="*/ f18 1 72"/>
                  <a:gd name="f23" fmla="*/ 0 f19 1"/>
                  <a:gd name="f24" fmla="*/ 2147483646 f18 1"/>
                  <a:gd name="f25" fmla="*/ 2147483646 f19 1"/>
                  <a:gd name="f26" fmla="*/ 0 f18 1"/>
                  <a:gd name="f27" fmla="+- f20 0 f1"/>
                  <a:gd name="f28" fmla="*/ f23 1 24"/>
                  <a:gd name="f29" fmla="*/ f24 1 72"/>
                  <a:gd name="f30" fmla="*/ f25 1 24"/>
                  <a:gd name="f31" fmla="*/ f26 1 72"/>
                  <a:gd name="f32" fmla="*/ 0 1 f21"/>
                  <a:gd name="f33" fmla="*/ f15 1 f21"/>
                  <a:gd name="f34" fmla="*/ 0 1 f22"/>
                  <a:gd name="f35" fmla="*/ f16 1 f22"/>
                  <a:gd name="f36" fmla="*/ f28 1 f21"/>
                  <a:gd name="f37" fmla="*/ f29 1 f22"/>
                  <a:gd name="f38" fmla="*/ f30 1 f21"/>
                  <a:gd name="f39" fmla="*/ f31 1 f22"/>
                  <a:gd name="f40" fmla="*/ f32 f12 1"/>
                  <a:gd name="f41" fmla="*/ f33 f12 1"/>
                  <a:gd name="f42" fmla="*/ f35 f13 1"/>
                  <a:gd name="f43" fmla="*/ f34 f13 1"/>
                  <a:gd name="f44" fmla="*/ f36 f12 1"/>
                  <a:gd name="f45" fmla="*/ f37 f13 1"/>
                  <a:gd name="f46" fmla="*/ f38 f12 1"/>
                  <a:gd name="f47" fmla="*/ f39 f1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7">
                    <a:pos x="f44" y="f45"/>
                  </a:cxn>
                  <a:cxn ang="f27">
                    <a:pos x="f44" y="f45"/>
                  </a:cxn>
                  <a:cxn ang="f27">
                    <a:pos x="f46" y="f47"/>
                  </a:cxn>
                  <a:cxn ang="f27">
                    <a:pos x="f46" y="f45"/>
                  </a:cxn>
                  <a:cxn ang="f27">
                    <a:pos x="f46" y="f45"/>
                  </a:cxn>
                  <a:cxn ang="f27">
                    <a:pos x="f44" y="f45"/>
                  </a:cxn>
                </a:cxnLst>
                <a:rect l="f40" t="f43" r="f41" b="f42"/>
                <a:pathLst>
                  <a:path w="24" h="72">
                    <a:moveTo>
                      <a:pt x="f5" y="f8"/>
                    </a:moveTo>
                    <a:lnTo>
                      <a:pt x="f5" y="f9"/>
                    </a:lnTo>
                    <a:lnTo>
                      <a:pt x="f6" y="f5"/>
                    </a:lnTo>
                    <a:lnTo>
                      <a:pt x="f6" y="f6"/>
                    </a:lnTo>
                    <a:lnTo>
                      <a:pt x="f10" y="f7"/>
                    </a:lnTo>
                    <a:lnTo>
                      <a:pt x="f5" y="f8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8" name="Freeform 420">
                <a:extLst>
                  <a:ext uri="{FF2B5EF4-FFF2-40B4-BE49-F238E27FC236}">
                    <a16:creationId xmlns:a16="http://schemas.microsoft.com/office/drawing/2014/main" id="{2DEB9072-9CAD-8D60-D4DB-084C81CA88C1}"/>
                  </a:ext>
                </a:extLst>
              </p:cNvPr>
              <p:cNvSpPr/>
              <p:nvPr/>
            </p:nvSpPr>
            <p:spPr>
              <a:xfrm>
                <a:off x="3497342" y="4274618"/>
                <a:ext cx="330006" cy="38455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40"/>
                  <a:gd name="f7" fmla="val 337"/>
                  <a:gd name="f8" fmla="val 228"/>
                  <a:gd name="f9" fmla="val 204"/>
                  <a:gd name="f10" fmla="val 198"/>
                  <a:gd name="f11" fmla="val 216"/>
                  <a:gd name="f12" fmla="val 210"/>
                  <a:gd name="f13" fmla="val 162"/>
                  <a:gd name="f14" fmla="val 174"/>
                  <a:gd name="f15" fmla="val 156"/>
                  <a:gd name="f16" fmla="val 120"/>
                  <a:gd name="f17" fmla="val 84"/>
                  <a:gd name="f18" fmla="val 72"/>
                  <a:gd name="f19" fmla="val 54"/>
                  <a:gd name="f20" fmla="val 192"/>
                  <a:gd name="f21" fmla="val 36"/>
                  <a:gd name="f22" fmla="val 168"/>
                  <a:gd name="f23" fmla="val 150"/>
                  <a:gd name="f24" fmla="val 18"/>
                  <a:gd name="f25" fmla="val 108"/>
                  <a:gd name="f26" fmla="val 24"/>
                  <a:gd name="f27" fmla="val 48"/>
                  <a:gd name="f28" fmla="val 66"/>
                  <a:gd name="f29" fmla="val 42"/>
                  <a:gd name="f30" fmla="val 78"/>
                  <a:gd name="f31" fmla="val 60"/>
                  <a:gd name="f32" fmla="val 114"/>
                  <a:gd name="f33" fmla="val 90"/>
                  <a:gd name="f34" fmla="val 252"/>
                  <a:gd name="f35" fmla="val 264"/>
                  <a:gd name="f36" fmla="val 222"/>
                  <a:gd name="f37" fmla="val 307"/>
                  <a:gd name="f38" fmla="val 234"/>
                  <a:gd name="f39" fmla="val 270"/>
                  <a:gd name="f40" fmla="+- 0 0 -90"/>
                  <a:gd name="f41" fmla="*/ f3 1 240"/>
                  <a:gd name="f42" fmla="*/ f4 1 337"/>
                  <a:gd name="f43" fmla="val f5"/>
                  <a:gd name="f44" fmla="val f6"/>
                  <a:gd name="f45" fmla="val f7"/>
                  <a:gd name="f46" fmla="*/ f40 f0 1"/>
                  <a:gd name="f47" fmla="+- f45 0 f43"/>
                  <a:gd name="f48" fmla="+- f44 0 f43"/>
                  <a:gd name="f49" fmla="*/ f46 1 f2"/>
                  <a:gd name="f50" fmla="*/ f48 1 240"/>
                  <a:gd name="f51" fmla="*/ f47 1 337"/>
                  <a:gd name="f52" fmla="*/ 2147483646 f48 1"/>
                  <a:gd name="f53" fmla="*/ 2147483646 f47 1"/>
                  <a:gd name="f54" fmla="*/ 0 f47 1"/>
                  <a:gd name="f55" fmla="*/ 0 f48 1"/>
                  <a:gd name="f56" fmla="+- f49 0 f1"/>
                  <a:gd name="f57" fmla="*/ f52 1 240"/>
                  <a:gd name="f58" fmla="*/ f53 1 337"/>
                  <a:gd name="f59" fmla="*/ f54 1 337"/>
                  <a:gd name="f60" fmla="*/ f55 1 240"/>
                  <a:gd name="f61" fmla="*/ 0 1 f50"/>
                  <a:gd name="f62" fmla="*/ f44 1 f50"/>
                  <a:gd name="f63" fmla="*/ 0 1 f51"/>
                  <a:gd name="f64" fmla="*/ f45 1 f51"/>
                  <a:gd name="f65" fmla="*/ f57 1 f50"/>
                  <a:gd name="f66" fmla="*/ f58 1 f51"/>
                  <a:gd name="f67" fmla="*/ f59 1 f51"/>
                  <a:gd name="f68" fmla="*/ f60 1 f50"/>
                  <a:gd name="f69" fmla="*/ f61 f41 1"/>
                  <a:gd name="f70" fmla="*/ f62 f41 1"/>
                  <a:gd name="f71" fmla="*/ f64 f42 1"/>
                  <a:gd name="f72" fmla="*/ f63 f42 1"/>
                  <a:gd name="f73" fmla="*/ f65 f41 1"/>
                  <a:gd name="f74" fmla="*/ f66 f42 1"/>
                  <a:gd name="f75" fmla="*/ f67 f42 1"/>
                  <a:gd name="f76" fmla="*/ f68 f4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5"/>
                  </a:cxn>
                  <a:cxn ang="f56">
                    <a:pos x="f73" y="f75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6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  <a:cxn ang="f56">
                    <a:pos x="f73" y="f74"/>
                  </a:cxn>
                </a:cxnLst>
                <a:rect l="f69" t="f72" r="f70" b="f71"/>
                <a:pathLst>
                  <a:path w="240" h="337">
                    <a:moveTo>
                      <a:pt x="f8" y="f9"/>
                    </a:moveTo>
                    <a:lnTo>
                      <a:pt x="f8" y="f10"/>
                    </a:lnTo>
                    <a:lnTo>
                      <a:pt x="f11" y="f10"/>
                    </a:lnTo>
                    <a:lnTo>
                      <a:pt x="f12" y="f13"/>
                    </a:lnTo>
                    <a:lnTo>
                      <a:pt x="f2" y="f14"/>
                    </a:lnTo>
                    <a:lnTo>
                      <a:pt x="f15" y="f15"/>
                    </a:lnTo>
                    <a:lnTo>
                      <a:pt x="f15" y="f16"/>
                    </a:lnTo>
                    <a:lnTo>
                      <a:pt x="f2" y="f17"/>
                    </a:lnTo>
                    <a:lnTo>
                      <a:pt x="f10" y="f18"/>
                    </a:lnTo>
                    <a:lnTo>
                      <a:pt x="f9" y="f19"/>
                    </a:lnTo>
                    <a:lnTo>
                      <a:pt x="f20" y="f21"/>
                    </a:lnTo>
                    <a:lnTo>
                      <a:pt x="f22" y="f21"/>
                    </a:lnTo>
                    <a:lnTo>
                      <a:pt x="f23" y="f24"/>
                    </a:lnTo>
                    <a:lnTo>
                      <a:pt x="f16" y="f5"/>
                    </a:lnTo>
                    <a:lnTo>
                      <a:pt x="f25" y="f26"/>
                    </a:lnTo>
                    <a:lnTo>
                      <a:pt x="f17" y="f27"/>
                    </a:lnTo>
                    <a:lnTo>
                      <a:pt x="f28" y="f19"/>
                    </a:lnTo>
                    <a:lnTo>
                      <a:pt x="f29" y="f30"/>
                    </a:lnTo>
                    <a:lnTo>
                      <a:pt x="f26" y="f18"/>
                    </a:lnTo>
                    <a:lnTo>
                      <a:pt x="f24" y="f31"/>
                    </a:lnTo>
                    <a:lnTo>
                      <a:pt x="f5" y="f18"/>
                    </a:lnTo>
                    <a:lnTo>
                      <a:pt x="f24" y="f32"/>
                    </a:lnTo>
                    <a:lnTo>
                      <a:pt x="f19" y="f14"/>
                    </a:lnTo>
                    <a:lnTo>
                      <a:pt x="f33" y="f34"/>
                    </a:lnTo>
                    <a:lnTo>
                      <a:pt x="f33" y="f35"/>
                    </a:lnTo>
                    <a:lnTo>
                      <a:pt x="f11" y="f7"/>
                    </a:lnTo>
                    <a:lnTo>
                      <a:pt x="f36" y="f7"/>
                    </a:lnTo>
                    <a:lnTo>
                      <a:pt x="f8" y="f37"/>
                    </a:lnTo>
                    <a:lnTo>
                      <a:pt x="f38" y="f39"/>
                    </a:lnTo>
                    <a:lnTo>
                      <a:pt x="f6" y="f36"/>
                    </a:lnTo>
                    <a:lnTo>
                      <a:pt x="f8" y="f9"/>
                    </a:lnTo>
                  </a:path>
                </a:pathLst>
              </a:custGeom>
              <a:noFill/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99" name="Freeform 413">
                <a:extLst>
                  <a:ext uri="{FF2B5EF4-FFF2-40B4-BE49-F238E27FC236}">
                    <a16:creationId xmlns:a16="http://schemas.microsoft.com/office/drawing/2014/main" id="{0FD56452-4307-B9B6-6936-660F395AC649}"/>
                  </a:ext>
                </a:extLst>
              </p:cNvPr>
              <p:cNvSpPr/>
              <p:nvPr/>
            </p:nvSpPr>
            <p:spPr>
              <a:xfrm>
                <a:off x="3708093" y="4153186"/>
                <a:ext cx="909983" cy="8936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000"/>
                  <a:gd name="f7" fmla="val 5000"/>
                  <a:gd name="f8" fmla="val 7769"/>
                  <a:gd name="f9" fmla="val 5027"/>
                  <a:gd name="f10" fmla="val 7795"/>
                  <a:gd name="f11" fmla="val 5055"/>
                  <a:gd name="f12" fmla="val 7820"/>
                  <a:gd name="f13" fmla="val 5082"/>
                  <a:gd name="f14" fmla="val 7846"/>
                  <a:gd name="f15" fmla="val 8000"/>
                  <a:gd name="f16" fmla="val 4973"/>
                  <a:gd name="f17" fmla="val 8154"/>
                  <a:gd name="f18" fmla="val 4918"/>
                  <a:gd name="f19" fmla="val 8308"/>
                  <a:gd name="f20" fmla="val 4672"/>
                  <a:gd name="f21" fmla="val 8462"/>
                  <a:gd name="f22" fmla="val 4098"/>
                  <a:gd name="f23" fmla="val 9000"/>
                  <a:gd name="f24" fmla="val 4180"/>
                  <a:gd name="f25" fmla="val 4344"/>
                  <a:gd name="f26" fmla="val 9077"/>
                  <a:gd name="f27" fmla="val 4754"/>
                  <a:gd name="f28" fmla="val 9308"/>
                  <a:gd name="f29" fmla="val 9538"/>
                  <a:gd name="f30" fmla="val 5246"/>
                  <a:gd name="f31" fmla="val 5273"/>
                  <a:gd name="f32" fmla="val 9923"/>
                  <a:gd name="f33" fmla="val 5301"/>
                  <a:gd name="f34" fmla="val 9846"/>
                  <a:gd name="f35" fmla="val 5328"/>
                  <a:gd name="f36" fmla="val 9769"/>
                  <a:gd name="f37" fmla="val 5656"/>
                  <a:gd name="f38" fmla="val 9462"/>
                  <a:gd name="f39" fmla="val 6066"/>
                  <a:gd name="f40" fmla="val 6393"/>
                  <a:gd name="f41" fmla="val 8077"/>
                  <a:gd name="f42" fmla="val 6639"/>
                  <a:gd name="f43" fmla="val 7615"/>
                  <a:gd name="f44" fmla="val 7541"/>
                  <a:gd name="f45" fmla="val 7077"/>
                  <a:gd name="f46" fmla="val 8115"/>
                  <a:gd name="f47" fmla="val 7000"/>
                  <a:gd name="f48" fmla="val 8279"/>
                  <a:gd name="f49" fmla="val 6923"/>
                  <a:gd name="f50" fmla="val 8443"/>
                  <a:gd name="f51" fmla="val 6615"/>
                  <a:gd name="f52" fmla="val 8470"/>
                  <a:gd name="f53" fmla="val 6513"/>
                  <a:gd name="f54" fmla="val 8498"/>
                  <a:gd name="f55" fmla="val 6410"/>
                  <a:gd name="f56" fmla="val 8525"/>
                  <a:gd name="f57" fmla="val 6308"/>
                  <a:gd name="f58" fmla="val 8607"/>
                  <a:gd name="f59" fmla="val 6180"/>
                  <a:gd name="f60" fmla="val 8688"/>
                  <a:gd name="f61" fmla="val 6051"/>
                  <a:gd name="f62" fmla="val 8770"/>
                  <a:gd name="f63" fmla="val 5923"/>
                  <a:gd name="f64" fmla="val 8797"/>
                  <a:gd name="f65" fmla="val 5872"/>
                  <a:gd name="f66" fmla="val 8825"/>
                  <a:gd name="f67" fmla="val 5820"/>
                  <a:gd name="f68" fmla="val 8852"/>
                  <a:gd name="f69" fmla="val 5769"/>
                  <a:gd name="f70" fmla="val 8879"/>
                  <a:gd name="f71" fmla="val 5333"/>
                  <a:gd name="f72" fmla="val 8907"/>
                  <a:gd name="f73" fmla="val 4898"/>
                  <a:gd name="f74" fmla="val 8934"/>
                  <a:gd name="f75" fmla="val 4462"/>
                  <a:gd name="f76" fmla="val 9180"/>
                  <a:gd name="f77" fmla="val 4385"/>
                  <a:gd name="f78" fmla="val 3385"/>
                  <a:gd name="f79" fmla="val 3154"/>
                  <a:gd name="f80" fmla="val 9945"/>
                  <a:gd name="f81" fmla="val 2974"/>
                  <a:gd name="f82" fmla="val 9891"/>
                  <a:gd name="f83" fmla="val 2795"/>
                  <a:gd name="f84" fmla="val 9836"/>
                  <a:gd name="f85" fmla="val 2615"/>
                  <a:gd name="f86" fmla="val 9344"/>
                  <a:gd name="f87" fmla="val 2462"/>
                  <a:gd name="f88" fmla="val 2077"/>
                  <a:gd name="f89" fmla="val 7787"/>
                  <a:gd name="f90" fmla="val 2000"/>
                  <a:gd name="f91" fmla="val 1923"/>
                  <a:gd name="f92" fmla="val 7377"/>
                  <a:gd name="f93" fmla="val 1692"/>
                  <a:gd name="f94" fmla="val 6721"/>
                  <a:gd name="f95" fmla="val 1462"/>
                  <a:gd name="f96" fmla="val 6148"/>
                  <a:gd name="f97" fmla="val 1154"/>
                  <a:gd name="f98" fmla="val 6121"/>
                  <a:gd name="f99" fmla="val 1051"/>
                  <a:gd name="f100" fmla="val 6093"/>
                  <a:gd name="f101" fmla="val 949"/>
                  <a:gd name="f102" fmla="val 846"/>
                  <a:gd name="f103" fmla="val 231"/>
                  <a:gd name="f104" fmla="val 5738"/>
                  <a:gd name="f105" fmla="val 5410"/>
                  <a:gd name="f106" fmla="val 692"/>
                  <a:gd name="f107" fmla="val 820"/>
                  <a:gd name="f108" fmla="val 795"/>
                  <a:gd name="f109" fmla="val 769"/>
                  <a:gd name="f110" fmla="val 4590"/>
                  <a:gd name="f111" fmla="val 4426"/>
                  <a:gd name="f112" fmla="val 3934"/>
                  <a:gd name="f113" fmla="val 923"/>
                  <a:gd name="f114" fmla="val 3689"/>
                  <a:gd name="f115" fmla="val 1000"/>
                  <a:gd name="f116" fmla="val 3443"/>
                  <a:gd name="f117" fmla="val 3470"/>
                  <a:gd name="f118" fmla="val 615"/>
                  <a:gd name="f119" fmla="val 3498"/>
                  <a:gd name="f120" fmla="val 462"/>
                  <a:gd name="f121" fmla="val 3525"/>
                  <a:gd name="f122" fmla="val 308"/>
                  <a:gd name="f123" fmla="val 3361"/>
                  <a:gd name="f124" fmla="val 77"/>
                  <a:gd name="f125" fmla="val 3197"/>
                  <a:gd name="f126" fmla="val 3224"/>
                  <a:gd name="f127" fmla="val 51"/>
                  <a:gd name="f128" fmla="val 3252"/>
                  <a:gd name="f129" fmla="val 103"/>
                  <a:gd name="f130" fmla="val 3279"/>
                  <a:gd name="f131" fmla="val 154"/>
                  <a:gd name="f132" fmla="val 2869"/>
                  <a:gd name="f133" fmla="val 2213"/>
                  <a:gd name="f134" fmla="val 2459"/>
                  <a:gd name="f135" fmla="val 2486"/>
                  <a:gd name="f136" fmla="val 2514"/>
                  <a:gd name="f137" fmla="val 2541"/>
                  <a:gd name="f138" fmla="val 1803"/>
                  <a:gd name="f139" fmla="val 1557"/>
                  <a:gd name="f140" fmla="val 902"/>
                  <a:gd name="f141" fmla="val 1077"/>
                  <a:gd name="f142" fmla="val 929"/>
                  <a:gd name="f143" fmla="val 1205"/>
                  <a:gd name="f144" fmla="val 957"/>
                  <a:gd name="f145" fmla="val 1334"/>
                  <a:gd name="f146" fmla="val 984"/>
                  <a:gd name="f147" fmla="val 1744"/>
                  <a:gd name="f148" fmla="val 875"/>
                  <a:gd name="f149" fmla="val 2026"/>
                  <a:gd name="f150" fmla="val 2308"/>
                  <a:gd name="f151" fmla="val 765"/>
                  <a:gd name="f152" fmla="val 2257"/>
                  <a:gd name="f153" fmla="val 711"/>
                  <a:gd name="f154" fmla="val 2205"/>
                  <a:gd name="f155" fmla="val 656"/>
                  <a:gd name="f156" fmla="val 2154"/>
                  <a:gd name="f157" fmla="val 629"/>
                  <a:gd name="f158" fmla="val 2231"/>
                  <a:gd name="f159" fmla="val 601"/>
                  <a:gd name="f160" fmla="val 574"/>
                  <a:gd name="f161" fmla="val 2385"/>
                  <a:gd name="f162" fmla="val 328"/>
                  <a:gd name="f163" fmla="val 2538"/>
                  <a:gd name="f164" fmla="val 3000"/>
                  <a:gd name="f165" fmla="val 3462"/>
                  <a:gd name="f166" fmla="val 3692"/>
                  <a:gd name="f167" fmla="val 738"/>
                  <a:gd name="f168" fmla="val 3538"/>
                  <a:gd name="f169" fmla="val 793"/>
                  <a:gd name="f170" fmla="val 3846"/>
                  <a:gd name="f171" fmla="val 4000"/>
                  <a:gd name="f172" fmla="val 4077"/>
                  <a:gd name="f173" fmla="val 1311"/>
                  <a:gd name="f174" fmla="val 1240"/>
                  <a:gd name="f175" fmla="val 3993"/>
                  <a:gd name="f176" fmla="val 1382"/>
                  <a:gd name="f177" fmla="val 4007"/>
                  <a:gd name="f178" fmla="val 1378"/>
                  <a:gd name="f179" fmla="val 4124"/>
                  <a:gd name="f180" fmla="val 1411"/>
                  <a:gd name="f181" fmla="val 4121"/>
                  <a:gd name="f182" fmla="val 1487"/>
                  <a:gd name="f183" fmla="val 4047"/>
                  <a:gd name="f184" fmla="val 1644"/>
                  <a:gd name="f185" fmla="val 3939"/>
                  <a:gd name="f186" fmla="val 1720"/>
                  <a:gd name="f187" fmla="val 3900"/>
                  <a:gd name="f188" fmla="val 1796"/>
                  <a:gd name="f189" fmla="val 3861"/>
                  <a:gd name="f190" fmla="val 1787"/>
                  <a:gd name="f191" fmla="val 3873"/>
                  <a:gd name="f192" fmla="val 1869"/>
                  <a:gd name="f193" fmla="val 3886"/>
                  <a:gd name="f194" fmla="val 1951"/>
                  <a:gd name="f195" fmla="val 3899"/>
                  <a:gd name="f196" fmla="val 2074"/>
                  <a:gd name="f197" fmla="val 3776"/>
                  <a:gd name="f198" fmla="val 2131"/>
                  <a:gd name="f199" fmla="val 2188"/>
                  <a:gd name="f200" fmla="val 3916"/>
                  <a:gd name="f201" fmla="val 2186"/>
                  <a:gd name="f202" fmla="val 4154"/>
                  <a:gd name="f203" fmla="val 4308"/>
                  <a:gd name="f204" fmla="val 2705"/>
                  <a:gd name="f205" fmla="val 4538"/>
                  <a:gd name="f206" fmla="val 4769"/>
                  <a:gd name="f207" fmla="val 5077"/>
                  <a:gd name="f208" fmla="val 5308"/>
                  <a:gd name="f209" fmla="val 5385"/>
                  <a:gd name="f210" fmla="val 5692"/>
                  <a:gd name="f211" fmla="val 6231"/>
                  <a:gd name="f212" fmla="+- 0 0 -90"/>
                  <a:gd name="f213" fmla="*/ f3 1 10000"/>
                  <a:gd name="f214" fmla="*/ f4 1 10000"/>
                  <a:gd name="f215" fmla="val f5"/>
                  <a:gd name="f216" fmla="val f6"/>
                  <a:gd name="f217" fmla="*/ f212 f0 1"/>
                  <a:gd name="f218" fmla="+- f216 0 f215"/>
                  <a:gd name="f219" fmla="*/ f217 1 f2"/>
                  <a:gd name="f220" fmla="*/ f218 1 10000"/>
                  <a:gd name="f221" fmla="*/ 2147483646 f218 1"/>
                  <a:gd name="f222" fmla="*/ 0 f218 1"/>
                  <a:gd name="f223" fmla="+- f219 0 f1"/>
                  <a:gd name="f224" fmla="*/ f221 1 10000"/>
                  <a:gd name="f225" fmla="*/ f222 1 10000"/>
                  <a:gd name="f226" fmla="*/ 0 1 f220"/>
                  <a:gd name="f227" fmla="*/ f216 1 f220"/>
                  <a:gd name="f228" fmla="*/ f224 1 f220"/>
                  <a:gd name="f229" fmla="*/ f225 1 f220"/>
                  <a:gd name="f230" fmla="*/ f226 f213 1"/>
                  <a:gd name="f231" fmla="*/ f227 f213 1"/>
                  <a:gd name="f232" fmla="*/ f227 f214 1"/>
                  <a:gd name="f233" fmla="*/ f226 f214 1"/>
                  <a:gd name="f234" fmla="*/ f228 f213 1"/>
                  <a:gd name="f235" fmla="*/ f228 f214 1"/>
                  <a:gd name="f236" fmla="*/ f229 f214 1"/>
                  <a:gd name="f237" fmla="*/ f229 f21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6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7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  <a:cxn ang="f223">
                    <a:pos x="f234" y="f235"/>
                  </a:cxn>
                </a:cxnLst>
                <a:rect l="f230" t="f233" r="f231" b="f232"/>
                <a:pathLst>
                  <a:path w="10000" h="10000">
                    <a:moveTo>
                      <a:pt x="f7" y="f8"/>
                    </a:moveTo>
                    <a:cubicBezTo>
                      <a:pt x="f9" y="f10"/>
                      <a:pt x="f11" y="f12"/>
                      <a:pt x="f13" y="f14"/>
                    </a:cubicBezTo>
                    <a:cubicBezTo>
                      <a:pt x="f9" y="f15"/>
                      <a:pt x="f16" y="f17"/>
                      <a:pt x="f18" y="f19"/>
                    </a:cubicBez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3"/>
                    </a:lnTo>
                    <a:lnTo>
                      <a:pt x="f22" y="f23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7" y="f29"/>
                    </a:lnTo>
                    <a:lnTo>
                      <a:pt x="f30" y="f6"/>
                    </a:lnTo>
                    <a:cubicBezTo>
                      <a:pt x="f31" y="f32"/>
                      <a:pt x="f33" y="f34"/>
                      <a:pt x="f35" y="f36"/>
                    </a:cubicBezTo>
                    <a:lnTo>
                      <a:pt x="f37" y="f38"/>
                    </a:lnTo>
                    <a:lnTo>
                      <a:pt x="f39" y="f26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cubicBezTo>
                      <a:pt x="f52" y="f53"/>
                      <a:pt x="f54" y="f55"/>
                      <a:pt x="f56" y="f57"/>
                    </a:cubicBezTo>
                    <a:cubicBezTo>
                      <a:pt x="f58" y="f59"/>
                      <a:pt x="f60" y="f61"/>
                      <a:pt x="f62" y="f63"/>
                    </a:cubicBezTo>
                    <a:cubicBezTo>
                      <a:pt x="f64" y="f65"/>
                      <a:pt x="f66" y="f67"/>
                      <a:pt x="f68" y="f69"/>
                    </a:cubicBezTo>
                    <a:cubicBezTo>
                      <a:pt x="f70" y="f71"/>
                      <a:pt x="f72" y="f73"/>
                      <a:pt x="f74" y="f75"/>
                    </a:cubicBezTo>
                    <a:lnTo>
                      <a:pt x="f76" y="f77"/>
                    </a:lnTo>
                    <a:lnTo>
                      <a:pt x="f6" y="f78"/>
                    </a:lnTo>
                    <a:lnTo>
                      <a:pt x="f6" y="f79"/>
                    </a:lnTo>
                    <a:cubicBezTo>
                      <a:pt x="f80" y="f81"/>
                      <a:pt x="f82" y="f83"/>
                      <a:pt x="f84" y="f85"/>
                    </a:cubicBezTo>
                    <a:lnTo>
                      <a:pt x="f86" y="f87"/>
                    </a:lnTo>
                    <a:lnTo>
                      <a:pt x="f58" y="f88"/>
                    </a:lnTo>
                    <a:lnTo>
                      <a:pt x="f89" y="f90"/>
                    </a:lnTo>
                    <a:lnTo>
                      <a:pt x="f44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cubicBezTo>
                      <a:pt x="f98" y="f99"/>
                      <a:pt x="f100" y="f101"/>
                      <a:pt x="f39" y="f102"/>
                    </a:cubicBezTo>
                    <a:lnTo>
                      <a:pt x="f67" y="f103"/>
                    </a:lnTo>
                    <a:lnTo>
                      <a:pt x="f104" y="f103"/>
                    </a:lnTo>
                    <a:lnTo>
                      <a:pt x="f105" y="f106"/>
                    </a:lnTo>
                    <a:lnTo>
                      <a:pt x="f13" y="f102"/>
                    </a:lnTo>
                    <a:cubicBezTo>
                      <a:pt x="f11" y="f107"/>
                      <a:pt x="f9" y="f108"/>
                      <a:pt x="f7" y="f109"/>
                    </a:cubicBezTo>
                    <a:lnTo>
                      <a:pt x="f110" y="f109"/>
                    </a:lnTo>
                    <a:lnTo>
                      <a:pt x="f111" y="f102"/>
                    </a:lnTo>
                    <a:lnTo>
                      <a:pt x="f25" y="f102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09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lnTo>
                      <a:pt x="f125" y="f5"/>
                    </a:lnTo>
                    <a:cubicBezTo>
                      <a:pt x="f126" y="f127"/>
                      <a:pt x="f128" y="f129"/>
                      <a:pt x="f130" y="f131"/>
                    </a:cubicBezTo>
                    <a:lnTo>
                      <a:pt x="f132" y="f122"/>
                    </a:lnTo>
                    <a:lnTo>
                      <a:pt x="f133" y="f122"/>
                    </a:lnTo>
                    <a:lnTo>
                      <a:pt x="f134" y="f106"/>
                    </a:lnTo>
                    <a:cubicBezTo>
                      <a:pt x="f135" y="f109"/>
                      <a:pt x="f136" y="f102"/>
                      <a:pt x="f137" y="f113"/>
                    </a:cubicBezTo>
                    <a:lnTo>
                      <a:pt x="f138" y="f97"/>
                    </a:lnTo>
                    <a:lnTo>
                      <a:pt x="f139" y="f113"/>
                    </a:lnTo>
                    <a:lnTo>
                      <a:pt x="f140" y="f141"/>
                    </a:lnTo>
                    <a:cubicBezTo>
                      <a:pt x="f142" y="f143"/>
                      <a:pt x="f144" y="f145"/>
                      <a:pt x="f146" y="f95"/>
                    </a:cubicBezTo>
                    <a:cubicBezTo>
                      <a:pt x="f142" y="f147"/>
                      <a:pt x="f148" y="f149"/>
                      <a:pt x="f107" y="f150"/>
                    </a:cubicBezTo>
                    <a:cubicBezTo>
                      <a:pt x="f151" y="f152"/>
                      <a:pt x="f153" y="f154"/>
                      <a:pt x="f155" y="f156"/>
                    </a:cubicBezTo>
                    <a:cubicBezTo>
                      <a:pt x="f157" y="f158"/>
                      <a:pt x="f159" y="f150"/>
                      <a:pt x="f160" y="f161"/>
                    </a:cubicBezTo>
                    <a:lnTo>
                      <a:pt x="f162" y="f163"/>
                    </a:lnTo>
                    <a:lnTo>
                      <a:pt x="f5" y="f164"/>
                    </a:lnTo>
                    <a:lnTo>
                      <a:pt x="f5" y="f165"/>
                    </a:lnTo>
                    <a:lnTo>
                      <a:pt x="f162" y="f166"/>
                    </a:lnTo>
                    <a:lnTo>
                      <a:pt x="f167" y="f168"/>
                    </a:lnTo>
                    <a:cubicBezTo>
                      <a:pt x="f151" y="f166"/>
                      <a:pt x="f169" y="f170"/>
                      <a:pt x="f107" y="f171"/>
                    </a:cubicBezTo>
                    <a:lnTo>
                      <a:pt x="f146" y="f171"/>
                    </a:lnTo>
                    <a:lnTo>
                      <a:pt x="f146" y="f172"/>
                    </a:lnTo>
                    <a:cubicBezTo>
                      <a:pt x="f173" y="f171"/>
                      <a:pt x="f174" y="f175"/>
                      <a:pt x="f173" y="f171"/>
                    </a:cubicBezTo>
                    <a:cubicBezTo>
                      <a:pt x="f176" y="f177"/>
                      <a:pt x="f178" y="f179"/>
                      <a:pt x="f180" y="f181"/>
                    </a:cubicBezTo>
                    <a:cubicBezTo>
                      <a:pt x="f182" y="f183"/>
                      <a:pt x="f184" y="f185"/>
                      <a:pt x="f186" y="f187"/>
                    </a:cubicBezTo>
                    <a:cubicBezTo>
                      <a:pt x="f188" y="f189"/>
                      <a:pt x="f190" y="f191"/>
                      <a:pt x="f192" y="f193"/>
                    </a:cubicBezTo>
                    <a:cubicBezTo>
                      <a:pt x="f194" y="f195"/>
                      <a:pt x="f196" y="f197"/>
                      <a:pt x="f198" y="f170"/>
                    </a:cubicBezTo>
                    <a:cubicBezTo>
                      <a:pt x="f199" y="f200"/>
                      <a:pt x="f201" y="f202"/>
                      <a:pt x="f133" y="f203"/>
                    </a:cubicBezTo>
                    <a:lnTo>
                      <a:pt x="f204" y="f205"/>
                    </a:lnTo>
                    <a:lnTo>
                      <a:pt x="f130" y="f206"/>
                    </a:lnTo>
                    <a:lnTo>
                      <a:pt x="f130" y="f207"/>
                    </a:lnTo>
                    <a:lnTo>
                      <a:pt x="f116" y="f208"/>
                    </a:lnTo>
                    <a:cubicBezTo>
                      <a:pt x="f121" y="f208"/>
                      <a:pt x="f112" y="f209"/>
                      <a:pt x="f112" y="f209"/>
                    </a:cubicBezTo>
                    <a:lnTo>
                      <a:pt x="f112" y="f210"/>
                    </a:lnTo>
                    <a:lnTo>
                      <a:pt x="f112" y="f211"/>
                    </a:lnTo>
                  </a:path>
                </a:pathLst>
              </a:custGeom>
              <a:noFill/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00" name="Freeform 409">
                <a:extLst>
                  <a:ext uri="{FF2B5EF4-FFF2-40B4-BE49-F238E27FC236}">
                    <a16:creationId xmlns:a16="http://schemas.microsoft.com/office/drawing/2014/main" id="{ED3692DF-A24A-CF1A-4D72-F0028607F763}"/>
                  </a:ext>
                </a:extLst>
              </p:cNvPr>
              <p:cNvSpPr/>
              <p:nvPr/>
            </p:nvSpPr>
            <p:spPr>
              <a:xfrm>
                <a:off x="3695017" y="4743239"/>
                <a:ext cx="486844" cy="92946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000"/>
                  <a:gd name="f7" fmla="val 10001"/>
                  <a:gd name="f8" fmla="val 7581"/>
                  <a:gd name="f9" fmla="val 2950"/>
                  <a:gd name="f10" fmla="val 7635"/>
                  <a:gd name="f11" fmla="val 2818"/>
                  <a:gd name="f12" fmla="val 7688"/>
                  <a:gd name="f13" fmla="val 2685"/>
                  <a:gd name="f14" fmla="val 7742"/>
                  <a:gd name="f15" fmla="val 2552"/>
                  <a:gd name="f16" fmla="val 8065"/>
                  <a:gd name="f17" fmla="val 2312"/>
                  <a:gd name="f18" fmla="val 9194"/>
                  <a:gd name="f19" fmla="val 1754"/>
                  <a:gd name="f20" fmla="val 9677"/>
                  <a:gd name="f21" fmla="val 1595"/>
                  <a:gd name="f22" fmla="val 1116"/>
                  <a:gd name="f23" fmla="val 9839"/>
                  <a:gd name="f24" fmla="val 1037"/>
                  <a:gd name="f25" fmla="val 9355"/>
                  <a:gd name="f26" fmla="val 1197"/>
                  <a:gd name="f27" fmla="val 8387"/>
                  <a:gd name="f28" fmla="val 1435"/>
                  <a:gd name="f29" fmla="val 1356"/>
                  <a:gd name="f30" fmla="val 1170"/>
                  <a:gd name="f31" fmla="val 983"/>
                  <a:gd name="f32" fmla="val 797"/>
                  <a:gd name="f33" fmla="val 7258"/>
                  <a:gd name="f34" fmla="val 638"/>
                  <a:gd name="f35" fmla="val 6290"/>
                  <a:gd name="f36" fmla="val 479"/>
                  <a:gd name="f37" fmla="val 5806"/>
                  <a:gd name="f38" fmla="val 319"/>
                  <a:gd name="f39" fmla="val 5323"/>
                  <a:gd name="f40" fmla="val 4677"/>
                  <a:gd name="f41" fmla="val 81"/>
                  <a:gd name="f42" fmla="val 4516"/>
                  <a:gd name="f43" fmla="val 159"/>
                  <a:gd name="f44" fmla="val 3710"/>
                  <a:gd name="f45" fmla="val 3387"/>
                  <a:gd name="f46" fmla="val 3476"/>
                  <a:gd name="f47" fmla="val 72"/>
                  <a:gd name="f48" fmla="val 3298"/>
                  <a:gd name="f49" fmla="val 89"/>
                  <a:gd name="f50" fmla="val 3178"/>
                  <a:gd name="f51" fmla="val 131"/>
                  <a:gd name="f52" fmla="val 3339"/>
                  <a:gd name="f53" fmla="val 211"/>
                  <a:gd name="f54" fmla="val 3245"/>
                  <a:gd name="f55" fmla="val 168"/>
                  <a:gd name="f56" fmla="val 3226"/>
                  <a:gd name="f57" fmla="val 240"/>
                  <a:gd name="f58" fmla="val 3207"/>
                  <a:gd name="f59" fmla="val 310"/>
                  <a:gd name="f60" fmla="val 3065"/>
                  <a:gd name="f61" fmla="val 558"/>
                  <a:gd name="f62" fmla="val 2581"/>
                  <a:gd name="f63" fmla="val 1275"/>
                  <a:gd name="f64" fmla="val 2258"/>
                  <a:gd name="f65" fmla="val 1774"/>
                  <a:gd name="f66" fmla="val 2631"/>
                  <a:gd name="f67" fmla="val 1828"/>
                  <a:gd name="f68" fmla="val 2896"/>
                  <a:gd name="f69" fmla="val 1881"/>
                  <a:gd name="f70" fmla="val 3163"/>
                  <a:gd name="f71" fmla="val 1935"/>
                  <a:gd name="f72" fmla="val 3428"/>
                  <a:gd name="f73" fmla="val 968"/>
                  <a:gd name="f74" fmla="val 4466"/>
                  <a:gd name="f75" fmla="val 806"/>
                  <a:gd name="f76" fmla="val 5582"/>
                  <a:gd name="f77" fmla="val 6141"/>
                  <a:gd name="f78" fmla="val 752"/>
                  <a:gd name="f79" fmla="val 6327"/>
                  <a:gd name="f80" fmla="val 699"/>
                  <a:gd name="f81" fmla="val 6514"/>
                  <a:gd name="f82" fmla="val 645"/>
                  <a:gd name="f83" fmla="val 6699"/>
                  <a:gd name="f84" fmla="val 7019"/>
                  <a:gd name="f85" fmla="val 484"/>
                  <a:gd name="f86" fmla="val 8294"/>
                  <a:gd name="f87" fmla="val 8852"/>
                  <a:gd name="f88" fmla="val 54"/>
                  <a:gd name="f89" fmla="val 8985"/>
                  <a:gd name="f90" fmla="val 47"/>
                  <a:gd name="f91" fmla="val 9085"/>
                  <a:gd name="f92" fmla="val 161"/>
                  <a:gd name="f93" fmla="val 9251"/>
                  <a:gd name="f94" fmla="val 275"/>
                  <a:gd name="f95" fmla="val 9417"/>
                  <a:gd name="f96" fmla="val 316"/>
                  <a:gd name="f97" fmla="val 9724"/>
                  <a:gd name="f98" fmla="val 685"/>
                  <a:gd name="f99" fmla="val 9848"/>
                  <a:gd name="f100" fmla="val 1054"/>
                  <a:gd name="f101" fmla="val 9973"/>
                  <a:gd name="f102" fmla="val 2126"/>
                  <a:gd name="f103" fmla="val 10011"/>
                  <a:gd name="f104" fmla="val 2375"/>
                  <a:gd name="f105" fmla="val 2624"/>
                  <a:gd name="f106" fmla="val 9989"/>
                  <a:gd name="f107" fmla="val 2202"/>
                  <a:gd name="f108" fmla="val 9881"/>
                  <a:gd name="f109" fmla="val 2182"/>
                  <a:gd name="f110" fmla="val 9783"/>
                  <a:gd name="f111" fmla="val 2163"/>
                  <a:gd name="f112" fmla="val 9685"/>
                  <a:gd name="f113" fmla="val 2172"/>
                  <a:gd name="f114" fmla="val 9527"/>
                  <a:gd name="f115" fmla="val 9410"/>
                  <a:gd name="f116" fmla="val 2345"/>
                  <a:gd name="f117" fmla="val 9293"/>
                  <a:gd name="f118" fmla="val 2550"/>
                  <a:gd name="f119" fmla="val 9220"/>
                  <a:gd name="f120" fmla="val 2701"/>
                  <a:gd name="f121" fmla="val 9082"/>
                  <a:gd name="f122" fmla="val 2852"/>
                  <a:gd name="f123" fmla="val 8944"/>
                  <a:gd name="f124" fmla="val 3004"/>
                  <a:gd name="f125" fmla="val 8707"/>
                  <a:gd name="f126" fmla="val 3165"/>
                  <a:gd name="f127" fmla="val 8584"/>
                  <a:gd name="f128" fmla="val 3326"/>
                  <a:gd name="f129" fmla="val 8461"/>
                  <a:gd name="f130" fmla="val 3550"/>
                  <a:gd name="f131" fmla="val 8459"/>
                  <a:gd name="f132" fmla="val 3668"/>
                  <a:gd name="f133" fmla="val 8344"/>
                  <a:gd name="f134" fmla="val 3786"/>
                  <a:gd name="f135" fmla="val 8229"/>
                  <a:gd name="f136" fmla="val 3918"/>
                  <a:gd name="f137" fmla="val 7996"/>
                  <a:gd name="f138" fmla="val 3871"/>
                  <a:gd name="f139" fmla="val 7895"/>
                  <a:gd name="f140" fmla="val 3824"/>
                  <a:gd name="f141" fmla="val 7794"/>
                  <a:gd name="f142" fmla="val 3548"/>
                  <a:gd name="f143" fmla="val 7789"/>
                  <a:gd name="f144" fmla="val 7736"/>
                  <a:gd name="f145" fmla="val 3280"/>
                  <a:gd name="f146" fmla="val 7629"/>
                  <a:gd name="f147" fmla="val 3000"/>
                  <a:gd name="f148" fmla="val 7495"/>
                  <a:gd name="f149" fmla="val 7416"/>
                  <a:gd name="f150" fmla="val 3130"/>
                  <a:gd name="f151" fmla="val 7337"/>
                  <a:gd name="f152" fmla="val 3541"/>
                  <a:gd name="f153" fmla="val 7312"/>
                  <a:gd name="f154" fmla="val 3779"/>
                  <a:gd name="f155" fmla="val 7260"/>
                  <a:gd name="f156" fmla="val 3810"/>
                  <a:gd name="f157" fmla="val 7153"/>
                  <a:gd name="f158" fmla="val 3875"/>
                  <a:gd name="f159" fmla="val 7075"/>
                  <a:gd name="f160" fmla="val 3971"/>
                  <a:gd name="f161" fmla="val 6968"/>
                  <a:gd name="f162" fmla="val 4067"/>
                  <a:gd name="f163" fmla="val 6861"/>
                  <a:gd name="f164" fmla="val 4220"/>
                  <a:gd name="f165" fmla="val 6700"/>
                  <a:gd name="f166" fmla="val 4355"/>
                  <a:gd name="f167" fmla="val 6620"/>
                  <a:gd name="f168" fmla="val 4490"/>
                  <a:gd name="f169" fmla="val 6540"/>
                  <a:gd name="f170" fmla="val 4699"/>
                  <a:gd name="f171" fmla="val 6570"/>
                  <a:gd name="f172" fmla="val 4780"/>
                  <a:gd name="f173" fmla="val 6490"/>
                  <a:gd name="f174" fmla="val 4861"/>
                  <a:gd name="f175" fmla="val 6410"/>
                  <a:gd name="f176" fmla="val 4853"/>
                  <a:gd name="f177" fmla="val 6226"/>
                  <a:gd name="f178" fmla="val 4839"/>
                  <a:gd name="f179" fmla="val 5822"/>
                  <a:gd name="f180" fmla="val 5348"/>
                  <a:gd name="f181" fmla="val 5984"/>
                  <a:gd name="f182" fmla="val 5437"/>
                  <a:gd name="f183" fmla="val 5921"/>
                  <a:gd name="f184" fmla="val 5526"/>
                  <a:gd name="f185" fmla="val 5858"/>
                  <a:gd name="f186" fmla="val 5368"/>
                  <a:gd name="f187" fmla="val 5818"/>
                  <a:gd name="f188" fmla="val 5376"/>
                  <a:gd name="f189" fmla="val 5762"/>
                  <a:gd name="f190" fmla="val 5384"/>
                  <a:gd name="f191" fmla="val 5706"/>
                  <a:gd name="f192" fmla="val 5412"/>
                  <a:gd name="f193" fmla="val 5665"/>
                  <a:gd name="f194" fmla="val 5484"/>
                  <a:gd name="f195" fmla="val 5556"/>
                  <a:gd name="f196" fmla="val 5499"/>
                  <a:gd name="f197" fmla="val 5622"/>
                  <a:gd name="f198" fmla="val 5319"/>
                  <a:gd name="f199" fmla="val 5264"/>
                  <a:gd name="f200" fmla="val 5990"/>
                  <a:gd name="f201" fmla="val 5209"/>
                  <a:gd name="f202" fmla="val 6266"/>
                  <a:gd name="f203" fmla="val 5289"/>
                  <a:gd name="f204" fmla="val 6588"/>
                  <a:gd name="f205" fmla="val 5253"/>
                  <a:gd name="f206" fmla="val 6910"/>
                  <a:gd name="f207" fmla="val 5217"/>
                  <a:gd name="f208" fmla="val 7468"/>
                  <a:gd name="f209" fmla="val 5176"/>
                  <a:gd name="f210" fmla="val 7741"/>
                  <a:gd name="f211" fmla="val 5045"/>
                  <a:gd name="f212" fmla="val 8014"/>
                  <a:gd name="f213" fmla="val 4914"/>
                  <a:gd name="f214" fmla="val 8092"/>
                  <a:gd name="f215" fmla="val 4629"/>
                  <a:gd name="f216" fmla="val 8226"/>
                  <a:gd name="f217" fmla="val 8361"/>
                  <a:gd name="f218" fmla="val 4303"/>
                  <a:gd name="f219" fmla="val 8441"/>
                  <a:gd name="f220" fmla="val 4199"/>
                  <a:gd name="f221" fmla="val 8548"/>
                  <a:gd name="f222" fmla="val 4066"/>
                  <a:gd name="f223" fmla="val 3748"/>
                  <a:gd name="f224" fmla="val 7825"/>
                  <a:gd name="f225" fmla="val 3557"/>
                  <a:gd name="f226" fmla="val 3509"/>
                  <a:gd name="f227" fmla="val 7659"/>
                  <a:gd name="f228" fmla="val 3461"/>
                  <a:gd name="f229" fmla="val 7731"/>
                  <a:gd name="f230" fmla="val 3475"/>
                  <a:gd name="f231" fmla="val 7726"/>
                  <a:gd name="f232" fmla="val 3458"/>
                  <a:gd name="f233" fmla="val 3350"/>
                  <a:gd name="f234" fmla="+- 0 0 -90"/>
                  <a:gd name="f235" fmla="*/ f3 1 10000"/>
                  <a:gd name="f236" fmla="*/ f4 1 10001"/>
                  <a:gd name="f237" fmla="val f5"/>
                  <a:gd name="f238" fmla="val f6"/>
                  <a:gd name="f239" fmla="val f7"/>
                  <a:gd name="f240" fmla="*/ f234 f0 1"/>
                  <a:gd name="f241" fmla="+- f239 0 f237"/>
                  <a:gd name="f242" fmla="+- f238 0 f237"/>
                  <a:gd name="f243" fmla="*/ f240 1 f2"/>
                  <a:gd name="f244" fmla="*/ f242 1 10000"/>
                  <a:gd name="f245" fmla="*/ f241 1 10001"/>
                  <a:gd name="f246" fmla="*/ 2147483646 f242 1"/>
                  <a:gd name="f247" fmla="*/ 2147483646 f241 1"/>
                  <a:gd name="f248" fmla="*/ 0 f241 1"/>
                  <a:gd name="f249" fmla="*/ 0 f242 1"/>
                  <a:gd name="f250" fmla="+- f243 0 f1"/>
                  <a:gd name="f251" fmla="*/ f246 1 10000"/>
                  <a:gd name="f252" fmla="*/ f247 1 10001"/>
                  <a:gd name="f253" fmla="*/ f248 1 10001"/>
                  <a:gd name="f254" fmla="*/ f249 1 10000"/>
                  <a:gd name="f255" fmla="*/ 0 1 f244"/>
                  <a:gd name="f256" fmla="*/ f238 1 f244"/>
                  <a:gd name="f257" fmla="*/ 0 1 f245"/>
                  <a:gd name="f258" fmla="*/ f239 1 f245"/>
                  <a:gd name="f259" fmla="*/ f251 1 f244"/>
                  <a:gd name="f260" fmla="*/ f252 1 f245"/>
                  <a:gd name="f261" fmla="*/ f253 1 f245"/>
                  <a:gd name="f262" fmla="*/ f254 1 f244"/>
                  <a:gd name="f263" fmla="*/ f255 f235 1"/>
                  <a:gd name="f264" fmla="*/ f256 f235 1"/>
                  <a:gd name="f265" fmla="*/ f258 f236 1"/>
                  <a:gd name="f266" fmla="*/ f257 f236 1"/>
                  <a:gd name="f267" fmla="*/ f259 f235 1"/>
                  <a:gd name="f268" fmla="*/ f260 f236 1"/>
                  <a:gd name="f269" fmla="*/ f261 f236 1"/>
                  <a:gd name="f270" fmla="*/ f262 f23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9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70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  <a:cxn ang="f250">
                    <a:pos x="f267" y="f268"/>
                  </a:cxn>
                </a:cxnLst>
                <a:rect l="f263" t="f266" r="f264" b="f265"/>
                <a:pathLst>
                  <a:path w="10000" h="10001">
                    <a:moveTo>
                      <a:pt x="f8" y="f9"/>
                    </a:moveTo>
                    <a:cubicBezTo>
                      <a:pt x="f10" y="f11"/>
                      <a:pt x="f12" y="f13"/>
                      <a:pt x="f14" y="f15"/>
                    </a:cubicBez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6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8" y="f29"/>
                    </a:lnTo>
                    <a:cubicBezTo>
                      <a:pt x="f10" y="f30"/>
                      <a:pt x="f12" y="f31"/>
                      <a:pt x="f14" y="f32"/>
                    </a:cubicBez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5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1"/>
                    </a:lnTo>
                    <a:cubicBezTo>
                      <a:pt x="f45" y="f41"/>
                      <a:pt x="f46" y="f47"/>
                      <a:pt x="f45" y="f41"/>
                    </a:cubicBezTo>
                    <a:cubicBezTo>
                      <a:pt x="f48" y="f49"/>
                      <a:pt x="f50" y="f51"/>
                      <a:pt x="f50" y="f51"/>
                    </a:cubicBezTo>
                    <a:cubicBezTo>
                      <a:pt x="f52" y="f53"/>
                      <a:pt x="f54" y="f55"/>
                      <a:pt x="f56" y="f57"/>
                    </a:cubicBezTo>
                    <a:cubicBezTo>
                      <a:pt x="f58" y="f59"/>
                      <a:pt x="f60" y="f61"/>
                      <a:pt x="f60" y="f61"/>
                    </a:cubicBezTo>
                    <a:lnTo>
                      <a:pt x="f62" y="f32"/>
                    </a:lnTo>
                    <a:lnTo>
                      <a:pt x="f62" y="f63"/>
                    </a:lnTo>
                    <a:lnTo>
                      <a:pt x="f64" y="f21"/>
                    </a:lnTo>
                    <a:lnTo>
                      <a:pt x="f65" y="f66"/>
                    </a:lnTo>
                    <a:cubicBezTo>
                      <a:pt x="f67" y="f68"/>
                      <a:pt x="f69" y="f70"/>
                      <a:pt x="f71" y="f72"/>
                    </a:cubicBezTo>
                    <a:lnTo>
                      <a:pt x="f73" y="f74"/>
                    </a:lnTo>
                    <a:lnTo>
                      <a:pt x="f75" y="f76"/>
                    </a:lnTo>
                    <a:lnTo>
                      <a:pt x="f75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73" y="f84"/>
                    </a:lnTo>
                    <a:lnTo>
                      <a:pt x="f85" y="f86"/>
                    </a:lnTo>
                    <a:lnTo>
                      <a:pt x="f5" y="f87"/>
                    </a:lnTo>
                    <a:cubicBezTo>
                      <a:pt x="f88" y="f89"/>
                      <a:pt x="f90" y="f91"/>
                      <a:pt x="f92" y="f93"/>
                    </a:cubicBezTo>
                    <a:cubicBezTo>
                      <a:pt x="f94" y="f95"/>
                      <a:pt x="f96" y="f97"/>
                      <a:pt x="f98" y="f99"/>
                    </a:cubicBezTo>
                    <a:cubicBezTo>
                      <a:pt x="f100" y="f101"/>
                      <a:pt x="f102" y="f103"/>
                      <a:pt x="f104" y="f6"/>
                    </a:cubicBezTo>
                    <a:cubicBezTo>
                      <a:pt x="f105" y="f106"/>
                      <a:pt x="f107" y="f108"/>
                      <a:pt x="f109" y="f110"/>
                    </a:cubicBezTo>
                    <a:cubicBezTo>
                      <a:pt x="f111" y="f112"/>
                      <a:pt x="f113" y="f114"/>
                      <a:pt x="f64" y="f115"/>
                    </a:cubicBezTo>
                    <a:cubicBezTo>
                      <a:pt x="f116" y="f117"/>
                      <a:pt x="f118" y="f119"/>
                      <a:pt x="f120" y="f121"/>
                    </a:cubicBezTo>
                    <a:cubicBezTo>
                      <a:pt x="f122" y="f123"/>
                      <a:pt x="f124" y="f125"/>
                      <a:pt x="f126" y="f127"/>
                    </a:cubicBezTo>
                    <a:cubicBezTo>
                      <a:pt x="f128" y="f129"/>
                      <a:pt x="f130" y="f131"/>
                      <a:pt x="f132" y="f133"/>
                    </a:cubicBezTo>
                    <a:cubicBezTo>
                      <a:pt x="f134" y="f135"/>
                      <a:pt x="f136" y="f137"/>
                      <a:pt x="f138" y="f139"/>
                    </a:cubicBezTo>
                    <a:cubicBezTo>
                      <a:pt x="f140" y="f141"/>
                      <a:pt x="f142" y="f143"/>
                      <a:pt x="f45" y="f144"/>
                    </a:cubicBezTo>
                    <a:cubicBezTo>
                      <a:pt x="f145" y="f146"/>
                      <a:pt x="f147" y="f148"/>
                      <a:pt x="f60" y="f149"/>
                    </a:cubicBezTo>
                    <a:cubicBezTo>
                      <a:pt x="f150" y="f151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77"/>
                    </a:cubicBezTo>
                    <a:cubicBezTo>
                      <a:pt x="f39" y="f179"/>
                      <a:pt x="f180" y="f181"/>
                      <a:pt x="f182" y="f183"/>
                    </a:cubicBezTo>
                    <a:cubicBezTo>
                      <a:pt x="f184" y="f185"/>
                      <a:pt x="f186" y="f187"/>
                      <a:pt x="f188" y="f189"/>
                    </a:cubicBezTo>
                    <a:cubicBezTo>
                      <a:pt x="f190" y="f191"/>
                      <a:pt x="f192" y="f193"/>
                      <a:pt x="f194" y="f76"/>
                    </a:cubicBezTo>
                    <a:cubicBezTo>
                      <a:pt x="f195" y="f196"/>
                      <a:pt x="f197" y="f198"/>
                      <a:pt x="f37" y="f199"/>
                    </a:cubicBezTo>
                    <a:cubicBezTo>
                      <a:pt x="f200" y="f201"/>
                      <a:pt x="f202" y="f203"/>
                      <a:pt x="f204" y="f205"/>
                    </a:cubicBezTo>
                    <a:cubicBezTo>
                      <a:pt x="f206" y="f207"/>
                      <a:pt x="f208" y="f209"/>
                      <a:pt x="f210" y="f211"/>
                    </a:cubicBezTo>
                    <a:cubicBezTo>
                      <a:pt x="f212" y="f213"/>
                      <a:pt x="f214" y="f215"/>
                      <a:pt x="f216" y="f74"/>
                    </a:cubicBezTo>
                    <a:cubicBezTo>
                      <a:pt x="f217" y="f218"/>
                      <a:pt x="f219" y="f220"/>
                      <a:pt x="f221" y="f222"/>
                    </a:cubicBezTo>
                    <a:lnTo>
                      <a:pt x="f216" y="f223"/>
                    </a:lnTo>
                    <a:cubicBezTo>
                      <a:pt x="f16" y="f132"/>
                      <a:pt x="f224" y="f225"/>
                      <a:pt x="f14" y="f226"/>
                    </a:cubicBezTo>
                    <a:cubicBezTo>
                      <a:pt x="f227" y="f228"/>
                      <a:pt x="f229" y="f230"/>
                      <a:pt x="f231" y="f232"/>
                    </a:cubicBezTo>
                    <a:lnTo>
                      <a:pt x="f8" y="f233"/>
                    </a:ln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01" name="Freeform 444">
                <a:extLst>
                  <a:ext uri="{FF2B5EF4-FFF2-40B4-BE49-F238E27FC236}">
                    <a16:creationId xmlns:a16="http://schemas.microsoft.com/office/drawing/2014/main" id="{DCC7F8AA-B985-6300-B2E9-6747B5E7B885}"/>
                  </a:ext>
                </a:extLst>
              </p:cNvPr>
              <p:cNvSpPr/>
              <p:nvPr/>
            </p:nvSpPr>
            <p:spPr>
              <a:xfrm>
                <a:off x="3629674" y="4645161"/>
                <a:ext cx="249960" cy="115677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4463"/>
                  <a:gd name="f7" fmla="val 11339"/>
                  <a:gd name="f8" fmla="val 8188"/>
                  <a:gd name="f9" fmla="val 209"/>
                  <a:gd name="f10" fmla="val 8780"/>
                  <a:gd name="f11" fmla="val 10217"/>
                  <a:gd name="f12" fmla="val 207"/>
                  <a:gd name="f13" fmla="val 10556"/>
                  <a:gd name="f14" fmla="val 264"/>
                  <a:gd name="f15" fmla="val 10640"/>
                  <a:gd name="f16" fmla="val 126"/>
                  <a:gd name="f17" fmla="val 10761"/>
                  <a:gd name="f18" fmla="val 229"/>
                  <a:gd name="f19" fmla="val 10936"/>
                  <a:gd name="f20" fmla="val 271"/>
                  <a:gd name="f21" fmla="val 11461"/>
                  <a:gd name="f22" fmla="val 322"/>
                  <a:gd name="f23" fmla="val 11696"/>
                  <a:gd name="f24" fmla="val 417"/>
                  <a:gd name="f25" fmla="val 11902"/>
                  <a:gd name="f26" fmla="val 494"/>
                  <a:gd name="f27" fmla="val 11642"/>
                  <a:gd name="f28" fmla="val 593"/>
                  <a:gd name="f29" fmla="val 11730"/>
                  <a:gd name="f30" fmla="val 676"/>
                  <a:gd name="f31" fmla="val 11818"/>
                  <a:gd name="f32" fmla="val 759"/>
                  <a:gd name="f33" fmla="val 12063"/>
                  <a:gd name="f34" fmla="val 841"/>
                  <a:gd name="f35" fmla="val 12227"/>
                  <a:gd name="f36" fmla="val 913"/>
                  <a:gd name="f37" fmla="val 12983"/>
                  <a:gd name="f38" fmla="val 1126"/>
                  <a:gd name="f39" fmla="val 12748"/>
                  <a:gd name="f40" fmla="val 1307"/>
                  <a:gd name="f41" fmla="val 12663"/>
                  <a:gd name="f42" fmla="val 1515"/>
                  <a:gd name="f43" fmla="val 11910"/>
                  <a:gd name="f44" fmla="val 1697"/>
                  <a:gd name="f45" fmla="val 11825"/>
                  <a:gd name="f46" fmla="val 1905"/>
                  <a:gd name="f47" fmla="val 10725"/>
                  <a:gd name="f48" fmla="val 2530"/>
                  <a:gd name="f49" fmla="val 10429"/>
                  <a:gd name="f50" fmla="val 2947"/>
                  <a:gd name="f51" fmla="val 10471"/>
                  <a:gd name="f52" fmla="val 3165"/>
                  <a:gd name="f53" fmla="val 10514"/>
                  <a:gd name="f54" fmla="val 3383"/>
                  <a:gd name="f55" fmla="val 3601"/>
                  <a:gd name="f56" fmla="val 10852"/>
                  <a:gd name="f57" fmla="val 3839"/>
                  <a:gd name="f58" fmla="val 10345"/>
                  <a:gd name="f59" fmla="val 11191"/>
                  <a:gd name="f60" fmla="val 4197"/>
                  <a:gd name="f61" fmla="val 11149"/>
                  <a:gd name="f62" fmla="val 4405"/>
                  <a:gd name="f63" fmla="val 11106"/>
                  <a:gd name="f64" fmla="val 4613"/>
                  <a:gd name="f65" fmla="val 11064"/>
                  <a:gd name="f66" fmla="val 4821"/>
                  <a:gd name="f67" fmla="val 10599"/>
                  <a:gd name="f68" fmla="val 5030"/>
                  <a:gd name="f69" fmla="val 9456"/>
                  <a:gd name="f70" fmla="val 5298"/>
                  <a:gd name="f71" fmla="val 8822"/>
                  <a:gd name="f72" fmla="val 6012"/>
                  <a:gd name="f73" fmla="val 8272"/>
                  <a:gd name="f74" fmla="val 6161"/>
                  <a:gd name="f75" fmla="val 8526"/>
                  <a:gd name="f76" fmla="val 6429"/>
                  <a:gd name="f77" fmla="val 8145"/>
                  <a:gd name="f78" fmla="val 7084"/>
                  <a:gd name="f79" fmla="val 7299"/>
                  <a:gd name="f80" fmla="val 7768"/>
                  <a:gd name="f81" fmla="val 7383"/>
                  <a:gd name="f82" fmla="val 8155"/>
                  <a:gd name="f83" fmla="val 7680"/>
                  <a:gd name="f84" fmla="val 8393"/>
                  <a:gd name="f85" fmla="val 7624"/>
                  <a:gd name="f86" fmla="val 8571"/>
                  <a:gd name="f87" fmla="val 7567"/>
                  <a:gd name="f88" fmla="val 8750"/>
                  <a:gd name="f89" fmla="val 7511"/>
                  <a:gd name="f90" fmla="val 8928"/>
                  <a:gd name="f91" fmla="val 7003"/>
                  <a:gd name="f92" fmla="val 9465"/>
                  <a:gd name="f93" fmla="val 10190"/>
                  <a:gd name="f94" fmla="val 10380"/>
                  <a:gd name="f95" fmla="val 10685"/>
                  <a:gd name="f96" fmla="val 10621"/>
                  <a:gd name="f97" fmla="val 15360"/>
                  <a:gd name="f98" fmla="val 10855"/>
                  <a:gd name="f99" fmla="val 14311"/>
                  <a:gd name="f100" fmla="val 11050"/>
                  <a:gd name="f101" fmla="val 11744"/>
                  <a:gd name="f102" fmla="val 11422"/>
                  <a:gd name="f103" fmla="val 9928"/>
                  <a:gd name="f104" fmla="val 11345"/>
                  <a:gd name="f105" fmla="val 8880"/>
                  <a:gd name="f106" fmla="val 11304"/>
                  <a:gd name="f107" fmla="val 3686"/>
                  <a:gd name="f108" fmla="val 10662"/>
                  <a:gd name="f109" fmla="val 9499"/>
                  <a:gd name="f110" fmla="val 1492"/>
                  <a:gd name="f111" fmla="val 8492"/>
                  <a:gd name="f112" fmla="val 2079"/>
                  <a:gd name="f113" fmla="val 7943"/>
                  <a:gd name="f114" fmla="val 4644"/>
                  <a:gd name="f115" fmla="val 6748"/>
                  <a:gd name="f116" fmla="val 4630"/>
                  <a:gd name="f117" fmla="val 6430"/>
                  <a:gd name="f118" fmla="val 2665"/>
                  <a:gd name="f119" fmla="val 7030"/>
                  <a:gd name="f120" fmla="val 2651"/>
                  <a:gd name="f121" fmla="val 6712"/>
                  <a:gd name="f122" fmla="val 4099"/>
                  <a:gd name="f123" fmla="val 5323"/>
                  <a:gd name="f124" fmla="val 5760"/>
                  <a:gd name="f125" fmla="val 4554"/>
                  <a:gd name="f126" fmla="val 5651"/>
                  <a:gd name="f127" fmla="val 3371"/>
                  <a:gd name="f128" fmla="val 6192"/>
                  <a:gd name="f129" fmla="val 4301"/>
                  <a:gd name="f130" fmla="val 6082"/>
                  <a:gd name="f131" fmla="val 3119"/>
                  <a:gd name="f132" fmla="val 7891"/>
                  <a:gd name="f133" fmla="val 1548"/>
                  <a:gd name="f134" fmla="val 8314"/>
                  <a:gd name="f135" fmla="val 982"/>
                  <a:gd name="f136" fmla="+- 0 0 -90"/>
                  <a:gd name="f137" fmla="*/ f3 1 14463"/>
                  <a:gd name="f138" fmla="*/ f4 1 11339"/>
                  <a:gd name="f139" fmla="val f5"/>
                  <a:gd name="f140" fmla="val f6"/>
                  <a:gd name="f141" fmla="val f7"/>
                  <a:gd name="f142" fmla="*/ f136 f0 1"/>
                  <a:gd name="f143" fmla="+- f141 0 f139"/>
                  <a:gd name="f144" fmla="+- f140 0 f139"/>
                  <a:gd name="f145" fmla="*/ f142 1 f2"/>
                  <a:gd name="f146" fmla="*/ f144 1 14463"/>
                  <a:gd name="f147" fmla="*/ f143 1 11339"/>
                  <a:gd name="f148" fmla="*/ 2147483646 f144 1"/>
                  <a:gd name="f149" fmla="*/ 2147483646 f143 1"/>
                  <a:gd name="f150" fmla="*/ 0 f143 1"/>
                  <a:gd name="f151" fmla="*/ 0 f144 1"/>
                  <a:gd name="f152" fmla="+- f145 0 f1"/>
                  <a:gd name="f153" fmla="*/ f148 1 14463"/>
                  <a:gd name="f154" fmla="*/ f149 1 11339"/>
                  <a:gd name="f155" fmla="*/ f150 1 11339"/>
                  <a:gd name="f156" fmla="*/ f151 1 14463"/>
                  <a:gd name="f157" fmla="*/ 0 1 f146"/>
                  <a:gd name="f158" fmla="*/ f140 1 f146"/>
                  <a:gd name="f159" fmla="*/ 0 1 f147"/>
                  <a:gd name="f160" fmla="*/ f141 1 f147"/>
                  <a:gd name="f161" fmla="*/ f153 1 f146"/>
                  <a:gd name="f162" fmla="*/ f154 1 f147"/>
                  <a:gd name="f163" fmla="*/ f155 1 f147"/>
                  <a:gd name="f164" fmla="*/ f156 1 f146"/>
                  <a:gd name="f165" fmla="*/ f157 f137 1"/>
                  <a:gd name="f166" fmla="*/ f158 f137 1"/>
                  <a:gd name="f167" fmla="*/ f160 f138 1"/>
                  <a:gd name="f168" fmla="*/ f159 f138 1"/>
                  <a:gd name="f169" fmla="*/ f161 f137 1"/>
                  <a:gd name="f170" fmla="*/ f162 f138 1"/>
                  <a:gd name="f171" fmla="*/ f163 f138 1"/>
                  <a:gd name="f172" fmla="*/ f164 f13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2">
                    <a:pos x="f169" y="f170"/>
                  </a:cxn>
                  <a:cxn ang="f152">
                    <a:pos x="f169" y="f171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72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  <a:cxn ang="f152">
                    <a:pos x="f169" y="f170"/>
                  </a:cxn>
                </a:cxnLst>
                <a:rect l="f165" t="f168" r="f166" b="f167"/>
                <a:pathLst>
                  <a:path w="14463" h="11339">
                    <a:moveTo>
                      <a:pt x="f8" y="f9"/>
                    </a:moveTo>
                    <a:lnTo>
                      <a:pt x="f10" y="f5"/>
                    </a:lnTo>
                    <a:lnTo>
                      <a:pt x="f11" y="f12"/>
                    </a:lnTo>
                    <a:cubicBezTo>
                      <a:pt x="f13" y="f14"/>
                      <a:pt x="f15" y="f16"/>
                      <a:pt x="f17" y="f18"/>
                    </a:cubicBezTo>
                    <a:cubicBezTo>
                      <a:pt x="f19" y="f20"/>
                      <a:pt x="f21" y="f22"/>
                      <a:pt x="f23" y="f24"/>
                    </a:cubicBezTo>
                    <a:cubicBezTo>
                      <a:pt x="f25" y="f26"/>
                      <a:pt x="f27" y="f28"/>
                      <a:pt x="f29" y="f30"/>
                    </a:cubicBezTo>
                    <a:cubicBezTo>
                      <a:pt x="f31" y="f32"/>
                      <a:pt x="f33" y="f34"/>
                      <a:pt x="f35" y="f36"/>
                    </a:cubicBezTo>
                    <a:lnTo>
                      <a:pt x="f37" y="f38"/>
                    </a:lnTo>
                    <a:lnTo>
                      <a:pt x="f39" y="f40"/>
                    </a:ln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lnTo>
                      <a:pt x="f49" y="f50"/>
                    </a:lnTo>
                    <a:cubicBezTo>
                      <a:pt x="f51" y="f52"/>
                      <a:pt x="f53" y="f54"/>
                      <a:pt x="f13" y="f55"/>
                    </a:cubicBezTo>
                    <a:lnTo>
                      <a:pt x="f56" y="f57"/>
                    </a:lnTo>
                    <a:lnTo>
                      <a:pt x="f58" y="f57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cubicBezTo>
                      <a:pt x="f85" y="f86"/>
                      <a:pt x="f87" y="f88"/>
                      <a:pt x="f89" y="f90"/>
                    </a:cubicBezTo>
                    <a:lnTo>
                      <a:pt x="f91" y="f92"/>
                    </a:lnTo>
                    <a:lnTo>
                      <a:pt x="f93" y="f94"/>
                    </a:lnTo>
                    <a:cubicBezTo>
                      <a:pt x="f95" y="f96"/>
                      <a:pt x="f97" y="f98"/>
                      <a:pt x="f99" y="f100"/>
                    </a:cubicBezTo>
                    <a:cubicBezTo>
                      <a:pt x="f101" y="f102"/>
                      <a:pt x="f103" y="f104"/>
                      <a:pt x="f105" y="f106"/>
                    </a:cubicBezTo>
                    <a:lnTo>
                      <a:pt x="f107" y="f108"/>
                    </a:lnTo>
                    <a:lnTo>
                      <a:pt x="f5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cubicBezTo>
                      <a:pt x="f116" y="f117"/>
                      <a:pt x="f118" y="f119"/>
                      <a:pt x="f120" y="f121"/>
                    </a:cubicBezTo>
                    <a:lnTo>
                      <a:pt x="f122" y="f123"/>
                    </a:lnTo>
                    <a:lnTo>
                      <a:pt x="f124" y="f125"/>
                    </a:lnTo>
                    <a:cubicBezTo>
                      <a:pt x="f126" y="f127"/>
                      <a:pt x="f128" y="f129"/>
                      <a:pt x="f130" y="f131"/>
                    </a:cubicBezTo>
                    <a:lnTo>
                      <a:pt x="f132" y="f133"/>
                    </a:lnTo>
                    <a:lnTo>
                      <a:pt x="f134" y="f135"/>
                    </a:ln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EDF5F9"/>
              </a:solidFill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02" name="Freeform 418">
                <a:extLst>
                  <a:ext uri="{FF2B5EF4-FFF2-40B4-BE49-F238E27FC236}">
                    <a16:creationId xmlns:a16="http://schemas.microsoft.com/office/drawing/2014/main" id="{A737C0E9-835C-6AF6-8B9B-DF6BA67782E9}"/>
                  </a:ext>
                </a:extLst>
              </p:cNvPr>
              <p:cNvSpPr/>
              <p:nvPr/>
            </p:nvSpPr>
            <p:spPr>
              <a:xfrm>
                <a:off x="3711357" y="3983483"/>
                <a:ext cx="343082" cy="27557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3"/>
                  <a:gd name="f7" fmla="val 36"/>
                  <a:gd name="f8" fmla="val 38"/>
                  <a:gd name="f9" fmla="val 21"/>
                  <a:gd name="f10" fmla="val 37"/>
                  <a:gd name="f11" fmla="val 18"/>
                  <a:gd name="f12" fmla="val 39"/>
                  <a:gd name="f13" fmla="val 15"/>
                  <a:gd name="f14" fmla="val 11"/>
                  <a:gd name="f15" fmla="val 42"/>
                  <a:gd name="f16" fmla="val 10"/>
                  <a:gd name="f17" fmla="val 8"/>
                  <a:gd name="f18" fmla="val 32"/>
                  <a:gd name="f19" fmla="val 5"/>
                  <a:gd name="f20" fmla="val 22"/>
                  <a:gd name="f21" fmla="val 6"/>
                  <a:gd name="f22" fmla="val 17"/>
                  <a:gd name="f23" fmla="val 16"/>
                  <a:gd name="f24" fmla="val 3"/>
                  <a:gd name="f25" fmla="val 2"/>
                  <a:gd name="f26" fmla="val 7"/>
                  <a:gd name="f27" fmla="val 1"/>
                  <a:gd name="f28" fmla="val 12"/>
                  <a:gd name="f29" fmla="val 19"/>
                  <a:gd name="f30" fmla="val 20"/>
                  <a:gd name="f31" fmla="val 26"/>
                  <a:gd name="f32" fmla="val 33"/>
                  <a:gd name="f33" fmla="val 30"/>
                  <a:gd name="f34" fmla="val 29"/>
                  <a:gd name="f35" fmla="val 25"/>
                  <a:gd name="f36" fmla="val 34"/>
                  <a:gd name="f37" fmla="val 23"/>
                  <a:gd name="f38" fmla="+- 0 0 -90"/>
                  <a:gd name="f39" fmla="*/ f3 1 43"/>
                  <a:gd name="f40" fmla="*/ f4 1 36"/>
                  <a:gd name="f41" fmla="val f5"/>
                  <a:gd name="f42" fmla="val f6"/>
                  <a:gd name="f43" fmla="val f7"/>
                  <a:gd name="f44" fmla="*/ f38 f0 1"/>
                  <a:gd name="f45" fmla="+- f43 0 f41"/>
                  <a:gd name="f46" fmla="+- f42 0 f41"/>
                  <a:gd name="f47" fmla="*/ f44 1 f2"/>
                  <a:gd name="f48" fmla="*/ f46 1 43"/>
                  <a:gd name="f49" fmla="*/ f45 1 36"/>
                  <a:gd name="f50" fmla="*/ 2147483646 f46 1"/>
                  <a:gd name="f51" fmla="*/ 2147483646 f45 1"/>
                  <a:gd name="f52" fmla="*/ 0 f45 1"/>
                  <a:gd name="f53" fmla="*/ 0 f46 1"/>
                  <a:gd name="f54" fmla="+- f47 0 f1"/>
                  <a:gd name="f55" fmla="*/ f50 1 43"/>
                  <a:gd name="f56" fmla="*/ f51 1 36"/>
                  <a:gd name="f57" fmla="*/ f52 1 36"/>
                  <a:gd name="f58" fmla="*/ f53 1 43"/>
                  <a:gd name="f59" fmla="*/ 0 1 f48"/>
                  <a:gd name="f60" fmla="*/ f42 1 f48"/>
                  <a:gd name="f61" fmla="*/ 0 1 f49"/>
                  <a:gd name="f62" fmla="*/ f43 1 f49"/>
                  <a:gd name="f63" fmla="*/ f55 1 f48"/>
                  <a:gd name="f64" fmla="*/ f56 1 f49"/>
                  <a:gd name="f65" fmla="*/ f57 1 f49"/>
                  <a:gd name="f66" fmla="*/ f58 1 f48"/>
                  <a:gd name="f67" fmla="*/ f59 f39 1"/>
                  <a:gd name="f68" fmla="*/ f60 f39 1"/>
                  <a:gd name="f69" fmla="*/ f62 f40 1"/>
                  <a:gd name="f70" fmla="*/ f61 f40 1"/>
                  <a:gd name="f71" fmla="*/ f63 f39 1"/>
                  <a:gd name="f72" fmla="*/ f64 f40 1"/>
                  <a:gd name="f73" fmla="*/ f65 f40 1"/>
                  <a:gd name="f74" fmla="*/ f66 f3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3"/>
                  </a:cxn>
                  <a:cxn ang="f54">
                    <a:pos x="f71" y="f72"/>
                  </a:cxn>
                  <a:cxn ang="f54">
                    <a:pos x="f74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  <a:cxn ang="f54">
                    <a:pos x="f71" y="f72"/>
                  </a:cxn>
                </a:cxnLst>
                <a:rect l="f67" t="f70" r="f68" b="f69"/>
                <a:pathLst>
                  <a:path w="43" h="36">
                    <a:moveTo>
                      <a:pt x="f8" y="f9"/>
                    </a:moveTo>
                    <a:cubicBezTo>
                      <a:pt x="f10" y="f11"/>
                      <a:pt x="f10" y="f11"/>
                      <a:pt x="f10" y="f11"/>
                    </a:cubicBezTo>
                    <a:cubicBezTo>
                      <a:pt x="f12" y="f13"/>
                      <a:pt x="f12" y="f13"/>
                      <a:pt x="f12" y="f13"/>
                    </a:cubicBezTo>
                    <a:cubicBezTo>
                      <a:pt x="f6" y="f14"/>
                      <a:pt x="f6" y="f14"/>
                      <a:pt x="f6" y="f14"/>
                    </a:cubicBezTo>
                    <a:cubicBezTo>
                      <a:pt x="f15" y="f14"/>
                      <a:pt x="f15" y="f14"/>
                      <a:pt x="f15" y="f14"/>
                    </a:cubicBezTo>
                    <a:cubicBezTo>
                      <a:pt x="f12" y="f16"/>
                      <a:pt x="f12" y="f16"/>
                      <a:pt x="f12" y="f16"/>
                    </a:cubicBezTo>
                    <a:cubicBezTo>
                      <a:pt x="f8" y="f17"/>
                      <a:pt x="f8" y="f17"/>
                      <a:pt x="f8" y="f17"/>
                    </a:cubicBezTo>
                    <a:cubicBezTo>
                      <a:pt x="f18" y="f19"/>
                      <a:pt x="f18" y="f19"/>
                      <a:pt x="f18" y="f19"/>
                    </a:cubicBezTo>
                    <a:cubicBezTo>
                      <a:pt x="f20" y="f21"/>
                      <a:pt x="f20" y="f21"/>
                      <a:pt x="f20" y="f21"/>
                    </a:cubicBezTo>
                    <a:cubicBezTo>
                      <a:pt x="f22" y="f19"/>
                      <a:pt x="f22" y="f19"/>
                      <a:pt x="f22" y="f19"/>
                    </a:cubicBezTo>
                    <a:cubicBezTo>
                      <a:pt x="f23" y="f24"/>
                      <a:pt x="f23" y="f24"/>
                      <a:pt x="f23" y="f24"/>
                    </a:cubicBezTo>
                    <a:cubicBezTo>
                      <a:pt x="f14" y="f25"/>
                      <a:pt x="f14" y="f25"/>
                      <a:pt x="f14" y="f25"/>
                    </a:cubicBezTo>
                    <a:cubicBezTo>
                      <a:pt x="f14" y="f25"/>
                      <a:pt x="f26" y="f24"/>
                      <a:pt x="f21" y="f24"/>
                    </a:cubicBezTo>
                    <a:cubicBezTo>
                      <a:pt x="f19" y="f24"/>
                      <a:pt x="f19" y="f27"/>
                      <a:pt x="f19" y="f5"/>
                    </a:cubicBezTo>
                    <a:cubicBezTo>
                      <a:pt x="f27" y="f25"/>
                      <a:pt x="f27" y="f25"/>
                      <a:pt x="f27" y="f25"/>
                    </a:cubicBezTo>
                    <a:cubicBezTo>
                      <a:pt x="f5" y="f16"/>
                      <a:pt x="f5" y="f16"/>
                      <a:pt x="f5" y="f16"/>
                    </a:cubicBezTo>
                    <a:cubicBezTo>
                      <a:pt x="f25" y="f13"/>
                      <a:pt x="f25" y="f13"/>
                      <a:pt x="f25" y="f13"/>
                    </a:cubicBezTo>
                    <a:cubicBezTo>
                      <a:pt x="f28" y="f29"/>
                      <a:pt x="f28" y="f29"/>
                      <a:pt x="f28" y="f29"/>
                    </a:cubicBezTo>
                    <a:cubicBezTo>
                      <a:pt x="f22" y="f30"/>
                      <a:pt x="f22" y="f30"/>
                      <a:pt x="f22" y="f30"/>
                    </a:cubicBezTo>
                    <a:cubicBezTo>
                      <a:pt x="f23" y="f20"/>
                      <a:pt x="f23" y="f20"/>
                      <a:pt x="f23" y="f20"/>
                    </a:cubicBezTo>
                    <a:cubicBezTo>
                      <a:pt x="f11" y="f31"/>
                      <a:pt x="f11" y="f31"/>
                      <a:pt x="f11" y="f31"/>
                    </a:cubicBezTo>
                    <a:cubicBezTo>
                      <a:pt x="f11" y="f32"/>
                      <a:pt x="f11" y="f32"/>
                      <a:pt x="f11" y="f32"/>
                    </a:cubicBezTo>
                    <a:cubicBezTo>
                      <a:pt x="f11" y="f32"/>
                      <a:pt x="f11" y="f32"/>
                      <a:pt x="f11" y="f32"/>
                    </a:cubicBezTo>
                    <a:cubicBezTo>
                      <a:pt x="f9" y="f7"/>
                      <a:pt x="f9" y="f7"/>
                      <a:pt x="f9" y="f7"/>
                    </a:cubicBezTo>
                    <a:cubicBezTo>
                      <a:pt x="f33" y="f32"/>
                      <a:pt x="f33" y="f32"/>
                      <a:pt x="f33" y="f32"/>
                    </a:cubicBezTo>
                    <a:cubicBezTo>
                      <a:pt x="f34" y="f33"/>
                      <a:pt x="f34" y="f33"/>
                      <a:pt x="f34" y="f33"/>
                    </a:cubicBezTo>
                    <a:cubicBezTo>
                      <a:pt x="f31" y="f35"/>
                      <a:pt x="f31" y="f35"/>
                      <a:pt x="f31" y="f35"/>
                    </a:cubicBezTo>
                    <a:cubicBezTo>
                      <a:pt x="f36" y="f35"/>
                      <a:pt x="f36" y="f35"/>
                      <a:pt x="f36" y="f35"/>
                    </a:cubicBezTo>
                    <a:cubicBezTo>
                      <a:pt x="f12" y="f37"/>
                      <a:pt x="f12" y="f37"/>
                      <a:pt x="f12" y="f37"/>
                    </a:cubicBezTo>
                    <a:cubicBezTo>
                      <a:pt x="f8" y="f9"/>
                      <a:pt x="f8" y="f9"/>
                      <a:pt x="f8" y="f9"/>
                    </a:cubicBezTo>
                  </a:path>
                </a:pathLst>
              </a:custGeom>
              <a:noFill/>
              <a:ln w="9528" cap="flat">
                <a:solidFill>
                  <a:srgbClr val="BAD8E8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95" name="Freeform 372">
              <a:extLst>
                <a:ext uri="{FF2B5EF4-FFF2-40B4-BE49-F238E27FC236}">
                  <a16:creationId xmlns:a16="http://schemas.microsoft.com/office/drawing/2014/main" id="{25027739-DF74-1E2F-75C9-031C1B6042C0}"/>
                </a:ext>
              </a:extLst>
            </p:cNvPr>
            <p:cNvSpPr/>
            <p:nvPr/>
          </p:nvSpPr>
          <p:spPr>
            <a:xfrm>
              <a:off x="6102886" y="4896903"/>
              <a:ext cx="410062" cy="34717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1"/>
                <a:gd name="f7" fmla="val 45"/>
                <a:gd name="f8" fmla="val 48"/>
                <a:gd name="f9" fmla="val 1"/>
                <a:gd name="f10" fmla="val 47"/>
                <a:gd name="f11" fmla="val 46"/>
                <a:gd name="f12" fmla="val 2"/>
                <a:gd name="f13" fmla="val 41"/>
                <a:gd name="f14" fmla="val 34"/>
                <a:gd name="f15" fmla="val 5"/>
                <a:gd name="f16" fmla="val 26"/>
                <a:gd name="f17" fmla="val 12"/>
                <a:gd name="f18" fmla="val 22"/>
                <a:gd name="f19" fmla="val 17"/>
                <a:gd name="f20" fmla="val 15"/>
                <a:gd name="f21" fmla="val 14"/>
                <a:gd name="f22" fmla="val 13"/>
                <a:gd name="f23" fmla="val 11"/>
                <a:gd name="f24" fmla="val 9"/>
                <a:gd name="f25" fmla="val 23"/>
                <a:gd name="f26" fmla="val 6"/>
                <a:gd name="f27" fmla="val 24"/>
                <a:gd name="f28" fmla="val 27"/>
                <a:gd name="f29" fmla="val 35"/>
                <a:gd name="f30" fmla="val 39"/>
                <a:gd name="f31" fmla="val 43"/>
                <a:gd name="f32" fmla="val 25"/>
                <a:gd name="f33" fmla="val 42"/>
                <a:gd name="f34" fmla="val 32"/>
                <a:gd name="f35" fmla="val 50"/>
                <a:gd name="f36" fmla="val 19"/>
                <a:gd name="f37" fmla="val 16"/>
                <a:gd name="f38" fmla="val 49"/>
                <a:gd name="f39" fmla="+- 0 0 -90"/>
                <a:gd name="f40" fmla="*/ f3 1 51"/>
                <a:gd name="f41" fmla="*/ f4 1 45"/>
                <a:gd name="f42" fmla="val f5"/>
                <a:gd name="f43" fmla="val f6"/>
                <a:gd name="f44" fmla="val f7"/>
                <a:gd name="f45" fmla="*/ f39 f0 1"/>
                <a:gd name="f46" fmla="+- f44 0 f42"/>
                <a:gd name="f47" fmla="+- f43 0 f42"/>
                <a:gd name="f48" fmla="*/ f45 1 f2"/>
                <a:gd name="f49" fmla="*/ f47 1 51"/>
                <a:gd name="f50" fmla="*/ f46 1 45"/>
                <a:gd name="f51" fmla="*/ 2147483646 f47 1"/>
                <a:gd name="f52" fmla="*/ 2147483646 f46 1"/>
                <a:gd name="f53" fmla="*/ 0 f46 1"/>
                <a:gd name="f54" fmla="*/ 0 f47 1"/>
                <a:gd name="f55" fmla="+- f48 0 f1"/>
                <a:gd name="f56" fmla="*/ f51 1 51"/>
                <a:gd name="f57" fmla="*/ f52 1 45"/>
                <a:gd name="f58" fmla="*/ f53 1 45"/>
                <a:gd name="f59" fmla="*/ f54 1 51"/>
                <a:gd name="f60" fmla="*/ 0 1 f49"/>
                <a:gd name="f61" fmla="*/ f43 1 f49"/>
                <a:gd name="f62" fmla="*/ 0 1 f50"/>
                <a:gd name="f63" fmla="*/ f44 1 f50"/>
                <a:gd name="f64" fmla="*/ f56 1 f49"/>
                <a:gd name="f65" fmla="*/ f57 1 f50"/>
                <a:gd name="f66" fmla="*/ f58 1 f50"/>
                <a:gd name="f67" fmla="*/ f59 1 f49"/>
                <a:gd name="f68" fmla="*/ f60 f40 1"/>
                <a:gd name="f69" fmla="*/ f61 f40 1"/>
                <a:gd name="f70" fmla="*/ f63 f41 1"/>
                <a:gd name="f71" fmla="*/ f62 f41 1"/>
                <a:gd name="f72" fmla="*/ f64 f40 1"/>
                <a:gd name="f73" fmla="*/ f65 f41 1"/>
                <a:gd name="f74" fmla="*/ f66 f41 1"/>
                <a:gd name="f75" fmla="*/ f67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4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5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</a:cxnLst>
              <a:rect l="f68" t="f71" r="f69" b="f70"/>
              <a:pathLst>
                <a:path w="51" h="45">
                  <a:moveTo>
                    <a:pt x="f8" y="f9"/>
                  </a:moveTo>
                  <a:cubicBezTo>
                    <a:pt x="f10" y="f9"/>
                    <a:pt x="f10" y="f9"/>
                    <a:pt x="f10" y="f9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0" y="f9"/>
                    <a:pt x="f10" y="f9"/>
                    <a:pt x="f10" y="f9"/>
                  </a:cubicBezTo>
                  <a:cubicBezTo>
                    <a:pt x="f13" y="f5"/>
                    <a:pt x="f13" y="f5"/>
                    <a:pt x="f13" y="f5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7"/>
                    <a:pt x="f18" y="f17"/>
                    <a:pt x="f18" y="f17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21" y="f20"/>
                    <a:pt x="f21" y="f20"/>
                    <a:pt x="f21" y="f20"/>
                  </a:cubicBezTo>
                  <a:cubicBezTo>
                    <a:pt x="f22" y="f22"/>
                    <a:pt x="f22" y="f22"/>
                    <a:pt x="f22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3" y="f23"/>
                    <a:pt x="f23" y="f23"/>
                    <a:pt x="f23" y="f23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9" y="f18"/>
                    <a:pt x="f9" y="f18"/>
                    <a:pt x="f9" y="f18"/>
                  </a:cubicBezTo>
                  <a:cubicBezTo>
                    <a:pt x="f5" y="f27"/>
                    <a:pt x="f5" y="f27"/>
                    <a:pt x="f5" y="f27"/>
                  </a:cubicBezTo>
                  <a:cubicBezTo>
                    <a:pt x="f12" y="f28"/>
                    <a:pt x="f12" y="f28"/>
                    <a:pt x="f12" y="f28"/>
                  </a:cubicBezTo>
                  <a:cubicBezTo>
                    <a:pt x="f15" y="f29"/>
                    <a:pt x="f15" y="f29"/>
                    <a:pt x="f15" y="f29"/>
                  </a:cubicBezTo>
                  <a:cubicBezTo>
                    <a:pt x="f15" y="f30"/>
                    <a:pt x="f15" y="f30"/>
                    <a:pt x="f15" y="f30"/>
                  </a:cubicBezTo>
                  <a:cubicBezTo>
                    <a:pt x="f24" y="f7"/>
                    <a:pt x="f24" y="f7"/>
                    <a:pt x="f24" y="f7"/>
                  </a:cubicBezTo>
                  <a:cubicBezTo>
                    <a:pt x="f19" y="f31"/>
                    <a:pt x="f19" y="f31"/>
                    <a:pt x="f19" y="f31"/>
                  </a:cubicBezTo>
                  <a:cubicBezTo>
                    <a:pt x="f32" y="f33"/>
                    <a:pt x="f32" y="f33"/>
                    <a:pt x="f32" y="f33"/>
                  </a:cubicBezTo>
                  <a:cubicBezTo>
                    <a:pt x="f34" y="f13"/>
                    <a:pt x="f34" y="f13"/>
                    <a:pt x="f34" y="f13"/>
                  </a:cubicBezTo>
                  <a:cubicBezTo>
                    <a:pt x="f10" y="f32"/>
                    <a:pt x="f10" y="f32"/>
                    <a:pt x="f10" y="f32"/>
                  </a:cubicBezTo>
                  <a:cubicBezTo>
                    <a:pt x="f10" y="f32"/>
                    <a:pt x="f35" y="f36"/>
                    <a:pt x="f6" y="f37"/>
                  </a:cubicBezTo>
                  <a:cubicBezTo>
                    <a:pt x="f6" y="f37"/>
                    <a:pt x="f6" y="f37"/>
                    <a:pt x="f6" y="f37"/>
                  </a:cubicBezTo>
                  <a:cubicBezTo>
                    <a:pt x="f38" y="f37"/>
                    <a:pt x="f38" y="f37"/>
                    <a:pt x="f38" y="f37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6" name="Freeform 321">
              <a:extLst>
                <a:ext uri="{FF2B5EF4-FFF2-40B4-BE49-F238E27FC236}">
                  <a16:creationId xmlns:a16="http://schemas.microsoft.com/office/drawing/2014/main" id="{FE7DA816-FA9C-DA2E-B2EB-C0EE39567607}"/>
                </a:ext>
              </a:extLst>
            </p:cNvPr>
            <p:cNvSpPr/>
            <p:nvPr/>
          </p:nvSpPr>
          <p:spPr>
            <a:xfrm rot="730074">
              <a:off x="5397133" y="3103391"/>
              <a:ext cx="370853" cy="27712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10009"/>
                <a:gd name="f8" fmla="val 9121"/>
                <a:gd name="f9" fmla="val 1479"/>
                <a:gd name="f10" fmla="val 8949"/>
                <a:gd name="f11" fmla="val 1545"/>
                <a:gd name="f12" fmla="val 8960"/>
                <a:gd name="f13" fmla="val 1470"/>
                <a:gd name="f14" fmla="val 8734"/>
                <a:gd name="f15" fmla="val 1437"/>
                <a:gd name="f16" fmla="val 8508"/>
                <a:gd name="f17" fmla="val 1404"/>
                <a:gd name="f18" fmla="val 8010"/>
                <a:gd name="f19" fmla="val 1295"/>
                <a:gd name="f20" fmla="val 7765"/>
                <a:gd name="f21" fmla="val 1279"/>
                <a:gd name="f22" fmla="val 7520"/>
                <a:gd name="f23" fmla="val 1263"/>
                <a:gd name="f24" fmla="val 7390"/>
                <a:gd name="f25" fmla="val 1332"/>
                <a:gd name="f26" fmla="val 7261"/>
                <a:gd name="f27" fmla="val 1342"/>
                <a:gd name="f28" fmla="val 7132"/>
                <a:gd name="f29" fmla="val 1353"/>
                <a:gd name="f30" fmla="val 7098"/>
                <a:gd name="f31" fmla="val 1443"/>
                <a:gd name="f32" fmla="val 6991"/>
                <a:gd name="f33" fmla="val 6884"/>
                <a:gd name="f34" fmla="val 1241"/>
                <a:gd name="f35" fmla="val 6742"/>
                <a:gd name="f36" fmla="val 937"/>
                <a:gd name="f37" fmla="val 6618"/>
                <a:gd name="f38" fmla="val 734"/>
                <a:gd name="f39" fmla="val 5577"/>
                <a:gd name="f40" fmla="val 492"/>
                <a:gd name="f41" fmla="val 4284"/>
                <a:gd name="f42" fmla="val 74"/>
                <a:gd name="f43" fmla="val 3495"/>
                <a:gd name="f44" fmla="val 9"/>
                <a:gd name="f45" fmla="val 2706"/>
                <a:gd name="f46" fmla="val -56"/>
                <a:gd name="f47" fmla="val 2420"/>
                <a:gd name="f48" fmla="val 231"/>
                <a:gd name="f49" fmla="val 1882"/>
                <a:gd name="f50" fmla="val 342"/>
                <a:gd name="f51" fmla="val 1345"/>
                <a:gd name="f52" fmla="val 806"/>
                <a:gd name="f53" fmla="val 268"/>
                <a:gd name="f54" fmla="val 1009"/>
                <a:gd name="f55" fmla="val 538"/>
                <a:gd name="f56" fmla="val 2676"/>
                <a:gd name="f57" fmla="val 1076"/>
                <a:gd name="f58" fmla="val 2009"/>
                <a:gd name="f59" fmla="val 2151"/>
                <a:gd name="f60" fmla="val 2342"/>
                <a:gd name="f61" fmla="val 2421"/>
                <a:gd name="f62" fmla="val 2688"/>
                <a:gd name="f63" fmla="val 3009"/>
                <a:gd name="f64" fmla="val 2600"/>
                <a:gd name="f65" fmla="val 3342"/>
                <a:gd name="f66" fmla="val 2510"/>
                <a:gd name="f67" fmla="val 3676"/>
                <a:gd name="f68" fmla="val 4009"/>
                <a:gd name="f69" fmla="val 2330"/>
                <a:gd name="f70" fmla="val 4565"/>
                <a:gd name="f71" fmla="val 2241"/>
                <a:gd name="f72" fmla="val 5120"/>
                <a:gd name="f73" fmla="val 5676"/>
                <a:gd name="f74" fmla="val 2062"/>
                <a:gd name="f75" fmla="val 6009"/>
                <a:gd name="f76" fmla="val 1971"/>
                <a:gd name="f77" fmla="val 6343"/>
                <a:gd name="f78" fmla="val 6676"/>
                <a:gd name="f79" fmla="val 7342"/>
                <a:gd name="f80" fmla="val 7482"/>
                <a:gd name="f81" fmla="val 1889"/>
                <a:gd name="f82" fmla="val 7241"/>
                <a:gd name="f83" fmla="val 1884"/>
                <a:gd name="f84" fmla="val 7517"/>
                <a:gd name="f85" fmla="val 1879"/>
                <a:gd name="f86" fmla="val 7793"/>
                <a:gd name="f87" fmla="val 7594"/>
                <a:gd name="f88" fmla="val 7676"/>
                <a:gd name="f89" fmla="val 8009"/>
                <a:gd name="f90" fmla="val 1792"/>
                <a:gd name="f91" fmla="val 8342"/>
                <a:gd name="f92" fmla="val 1703"/>
                <a:gd name="f93" fmla="val 8676"/>
                <a:gd name="f94" fmla="val 1613"/>
                <a:gd name="f95" fmla="val 9009"/>
                <a:gd name="f96" fmla="val 3227"/>
                <a:gd name="f97" fmla="val 4840"/>
                <a:gd name="f98" fmla="val 9342"/>
                <a:gd name="f99" fmla="val 6453"/>
                <a:gd name="f100" fmla="val 8067"/>
                <a:gd name="f101" fmla="val 6342"/>
                <a:gd name="f102" fmla="val 6120"/>
                <a:gd name="f103" fmla="val 7941"/>
                <a:gd name="f104" fmla="val 6082"/>
                <a:gd name="f105" fmla="val 8193"/>
                <a:gd name="f106" fmla="val 5270"/>
                <a:gd name="f107" fmla="val 8503"/>
                <a:gd name="f108" fmla="val 4112"/>
                <a:gd name="f109" fmla="val 8822"/>
                <a:gd name="f110" fmla="val 3908"/>
                <a:gd name="f111" fmla="val 9185"/>
                <a:gd name="f112" fmla="val 9126"/>
                <a:gd name="f113" fmla="val 3756"/>
                <a:gd name="f114" fmla="val 9189"/>
                <a:gd name="f115" fmla="val 3701"/>
                <a:gd name="f116" fmla="val 9252"/>
                <a:gd name="f117" fmla="val 3646"/>
                <a:gd name="f118" fmla="val 9284"/>
                <a:gd name="f119" fmla="val 3569"/>
                <a:gd name="f120" fmla="val 9318"/>
                <a:gd name="f121" fmla="val 3593"/>
                <a:gd name="f122" fmla="val 9388"/>
                <a:gd name="f123" fmla="val 3534"/>
                <a:gd name="f124" fmla="val 9296"/>
                <a:gd name="f125" fmla="val 3577"/>
                <a:gd name="f126" fmla="val 9415"/>
                <a:gd name="f127" fmla="val 3493"/>
                <a:gd name="f128" fmla="val 9534"/>
                <a:gd name="f129" fmla="val 3409"/>
                <a:gd name="f130" fmla="val 9908"/>
                <a:gd name="f131" fmla="val 3137"/>
                <a:gd name="f132" fmla="val 9969"/>
                <a:gd name="f133" fmla="val 2847"/>
                <a:gd name="f134" fmla="val 10030"/>
                <a:gd name="f135" fmla="val 2557"/>
                <a:gd name="f136" fmla="val 10018"/>
                <a:gd name="f137" fmla="val 1949"/>
                <a:gd name="f138" fmla="val 9783"/>
                <a:gd name="f139" fmla="val 1752"/>
                <a:gd name="f140" fmla="val 9774"/>
                <a:gd name="f141" fmla="val 1701"/>
                <a:gd name="f142" fmla="val 9763"/>
                <a:gd name="f143" fmla="val 1649"/>
                <a:gd name="f144" fmla="val 9754"/>
                <a:gd name="f145" fmla="val 1598"/>
                <a:gd name="f146" fmla="val 9738"/>
                <a:gd name="f147" fmla="val 1593"/>
                <a:gd name="f148" fmla="val 9576"/>
                <a:gd name="f149" fmla="val 1599"/>
                <a:gd name="f150" fmla="val 9561"/>
                <a:gd name="f151" fmla="val 1594"/>
                <a:gd name="f152" fmla="+- 0 0 -90"/>
                <a:gd name="f153" fmla="*/ f3 1 10000"/>
                <a:gd name="f154" fmla="*/ f4 1 10009"/>
                <a:gd name="f155" fmla="val f5"/>
                <a:gd name="f156" fmla="val f6"/>
                <a:gd name="f157" fmla="val f7"/>
                <a:gd name="f158" fmla="*/ f152 f0 1"/>
                <a:gd name="f159" fmla="+- f157 0 f155"/>
                <a:gd name="f160" fmla="+- f156 0 f155"/>
                <a:gd name="f161" fmla="*/ f158 1 f2"/>
                <a:gd name="f162" fmla="*/ f160 1 10000"/>
                <a:gd name="f163" fmla="*/ f159 1 10009"/>
                <a:gd name="f164" fmla="*/ 2147483646 f160 1"/>
                <a:gd name="f165" fmla="*/ 2147483646 f159 1"/>
                <a:gd name="f166" fmla="*/ 0 f160 1"/>
                <a:gd name="f167" fmla="+- f161 0 f1"/>
                <a:gd name="f168" fmla="*/ f164 1 10000"/>
                <a:gd name="f169" fmla="*/ f165 1 10009"/>
                <a:gd name="f170" fmla="*/ f166 1 10000"/>
                <a:gd name="f171" fmla="*/ 0 1 f162"/>
                <a:gd name="f172" fmla="*/ f156 1 f162"/>
                <a:gd name="f173" fmla="*/ 0 1 f163"/>
                <a:gd name="f174" fmla="*/ f157 1 f163"/>
                <a:gd name="f175" fmla="*/ f168 1 f162"/>
                <a:gd name="f176" fmla="*/ f169 1 f163"/>
                <a:gd name="f177" fmla="*/ f170 1 f162"/>
                <a:gd name="f178" fmla="*/ f171 f153 1"/>
                <a:gd name="f179" fmla="*/ f172 f153 1"/>
                <a:gd name="f180" fmla="*/ f174 f154 1"/>
                <a:gd name="f181" fmla="*/ f173 f154 1"/>
                <a:gd name="f182" fmla="*/ f175 f153 1"/>
                <a:gd name="f183" fmla="*/ f176 f154 1"/>
                <a:gd name="f184" fmla="*/ f177 f15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4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  <a:cxn ang="f167">
                  <a:pos x="f182" y="f183"/>
                </a:cxn>
              </a:cxnLst>
              <a:rect l="f178" t="f181" r="f179" b="f180"/>
              <a:pathLst>
                <a:path w="10000" h="10009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27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41" y="f42"/>
                    <a:pt x="f43" y="f44"/>
                  </a:cubicBezTo>
                  <a:cubicBezTo>
                    <a:pt x="f45" y="f46"/>
                    <a:pt x="f47" y="f48"/>
                    <a:pt x="f49" y="f50"/>
                  </a:cubicBezTo>
                  <a:lnTo>
                    <a:pt x="f51" y="f44"/>
                  </a:lnTo>
                  <a:lnTo>
                    <a:pt x="f52" y="f50"/>
                  </a:lnTo>
                  <a:cubicBezTo>
                    <a:pt x="f52" y="f50"/>
                    <a:pt x="f53" y="f54"/>
                    <a:pt x="f5" y="f54"/>
                  </a:cubicBezTo>
                  <a:lnTo>
                    <a:pt x="f55" y="f56"/>
                  </a:lnTo>
                  <a:lnTo>
                    <a:pt x="f57" y="f58"/>
                  </a:lnTo>
                  <a:lnTo>
                    <a:pt x="f59" y="f60"/>
                  </a:lnTo>
                  <a:lnTo>
                    <a:pt x="f61" y="f56"/>
                  </a:lnTo>
                  <a:lnTo>
                    <a:pt x="f62" y="f63"/>
                  </a:lnTo>
                  <a:cubicBezTo>
                    <a:pt x="f64" y="f65"/>
                    <a:pt x="f66" y="f67"/>
                    <a:pt x="f61" y="f68"/>
                  </a:cubicBezTo>
                  <a:cubicBezTo>
                    <a:pt x="f69" y="f70"/>
                    <a:pt x="f71" y="f72"/>
                    <a:pt x="f59" y="f73"/>
                  </a:cubicBezTo>
                  <a:cubicBezTo>
                    <a:pt x="f74" y="f75"/>
                    <a:pt x="f76" y="f77"/>
                    <a:pt x="f49" y="f78"/>
                  </a:cubicBezTo>
                  <a:lnTo>
                    <a:pt x="f49" y="f79"/>
                  </a:lnTo>
                  <a:cubicBezTo>
                    <a:pt x="f49" y="f80"/>
                    <a:pt x="f81" y="f82"/>
                    <a:pt x="f83" y="f84"/>
                  </a:cubicBezTo>
                  <a:cubicBezTo>
                    <a:pt x="f85" y="f86"/>
                    <a:pt x="f49" y="f87"/>
                    <a:pt x="f49" y="f88"/>
                  </a:cubicBezTo>
                  <a:lnTo>
                    <a:pt x="f49" y="f89"/>
                  </a:lnTo>
                  <a:cubicBezTo>
                    <a:pt x="f90" y="f91"/>
                    <a:pt x="f92" y="f93"/>
                    <a:pt x="f94" y="f95"/>
                  </a:cubicBezTo>
                  <a:lnTo>
                    <a:pt x="f59" y="f95"/>
                  </a:lnTo>
                  <a:lnTo>
                    <a:pt x="f96" y="f7"/>
                  </a:lnTo>
                  <a:lnTo>
                    <a:pt x="f97" y="f98"/>
                  </a:lnTo>
                  <a:lnTo>
                    <a:pt x="f99" y="f95"/>
                  </a:lnTo>
                  <a:lnTo>
                    <a:pt x="f26" y="f88"/>
                  </a:lnTo>
                  <a:lnTo>
                    <a:pt x="f100" y="f101"/>
                  </a:lnTo>
                  <a:cubicBezTo>
                    <a:pt x="f100" y="f102"/>
                    <a:pt x="f103" y="f104"/>
                    <a:pt x="f100" y="f73"/>
                  </a:cubicBezTo>
                  <a:cubicBezTo>
                    <a:pt x="f105" y="f106"/>
                    <a:pt x="f107" y="f108"/>
                    <a:pt x="f109" y="f110"/>
                  </a:cubicBezTo>
                  <a:cubicBezTo>
                    <a:pt x="f111" y="f67"/>
                    <a:pt x="f112" y="f113"/>
                    <a:pt x="f114" y="f115"/>
                  </a:cubicBezTo>
                  <a:cubicBezTo>
                    <a:pt x="f116" y="f117"/>
                    <a:pt x="f118" y="f119"/>
                    <a:pt x="f120" y="f121"/>
                  </a:cubicBezTo>
                  <a:cubicBezTo>
                    <a:pt x="f122" y="f123"/>
                    <a:pt x="f124" y="f125"/>
                    <a:pt x="f126" y="f127"/>
                  </a:cubicBezTo>
                  <a:cubicBezTo>
                    <a:pt x="f128" y="f129"/>
                    <a:pt x="f130" y="f131"/>
                    <a:pt x="f132" y="f133"/>
                  </a:cubicBezTo>
                  <a:cubicBezTo>
                    <a:pt x="f134" y="f135"/>
                    <a:pt x="f136" y="f137"/>
                    <a:pt x="f138" y="f139"/>
                  </a:cubicBezTo>
                  <a:cubicBezTo>
                    <a:pt x="f140" y="f141"/>
                    <a:pt x="f142" y="f143"/>
                    <a:pt x="f144" y="f145"/>
                  </a:cubicBezTo>
                  <a:cubicBezTo>
                    <a:pt x="f146" y="f147"/>
                    <a:pt x="f148" y="f149"/>
                    <a:pt x="f150" y="f151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7" name="Freeform 322">
              <a:extLst>
                <a:ext uri="{FF2B5EF4-FFF2-40B4-BE49-F238E27FC236}">
                  <a16:creationId xmlns:a16="http://schemas.microsoft.com/office/drawing/2014/main" id="{2DF5E82B-5ACA-823F-DE4D-ACDBB2878500}"/>
                </a:ext>
              </a:extLst>
            </p:cNvPr>
            <p:cNvSpPr/>
            <p:nvPr/>
          </p:nvSpPr>
          <p:spPr>
            <a:xfrm rot="926920">
              <a:off x="5406926" y="3122072"/>
              <a:ext cx="93122" cy="19461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10437"/>
                <a:gd name="f8" fmla="val 7000"/>
                <a:gd name="f9" fmla="val 8110"/>
                <a:gd name="f10" fmla="val 7638"/>
                <a:gd name="f11" fmla="val 7083"/>
                <a:gd name="f12" fmla="val 7334"/>
                <a:gd name="f13" fmla="val 7165"/>
                <a:gd name="f14" fmla="val 7030"/>
                <a:gd name="f15" fmla="val 7248"/>
                <a:gd name="f16" fmla="val 6726"/>
                <a:gd name="f17" fmla="val 8000"/>
                <a:gd name="f18" fmla="val 5748"/>
                <a:gd name="f19" fmla="val 5276"/>
                <a:gd name="f20" fmla="val 8101"/>
                <a:gd name="f21" fmla="val 4899"/>
                <a:gd name="f22" fmla="val 8203"/>
                <a:gd name="f23" fmla="val 4522"/>
                <a:gd name="f24" fmla="val 8304"/>
                <a:gd name="f25" fmla="val 4145"/>
                <a:gd name="f26" fmla="val 9000"/>
                <a:gd name="f27" fmla="val 3386"/>
                <a:gd name="f28" fmla="val 9050"/>
                <a:gd name="f29" fmla="val 3079"/>
                <a:gd name="f30" fmla="val 9101"/>
                <a:gd name="f31" fmla="val 2772"/>
                <a:gd name="f32" fmla="val 9151"/>
                <a:gd name="f33" fmla="val 2465"/>
                <a:gd name="f34" fmla="val 1496"/>
                <a:gd name="f35" fmla="val 1024"/>
                <a:gd name="f36" fmla="val 472"/>
                <a:gd name="f37" fmla="val 5000"/>
                <a:gd name="f38" fmla="val 3000"/>
                <a:gd name="f39" fmla="val 2000"/>
                <a:gd name="f40" fmla="val 1235"/>
                <a:gd name="f41" fmla="val 1429"/>
                <a:gd name="f42" fmla="val 2913"/>
                <a:gd name="f43" fmla="val 4803"/>
                <a:gd name="f44" fmla="val 229"/>
                <a:gd name="f45" fmla="val 6206"/>
                <a:gd name="f46" fmla="val 153"/>
                <a:gd name="f47" fmla="val 6526"/>
                <a:gd name="f48" fmla="val 76"/>
                <a:gd name="f49" fmla="val 6845"/>
                <a:gd name="f50" fmla="val 650"/>
                <a:gd name="f51" fmla="val 7719"/>
                <a:gd name="f52" fmla="val 1133"/>
                <a:gd name="f53" fmla="val 10397"/>
                <a:gd name="f54" fmla="val 6483"/>
                <a:gd name="f55" fmla="val 6656"/>
                <a:gd name="f56" fmla="val 7005"/>
                <a:gd name="f57" fmla="val 9867"/>
                <a:gd name="f58" fmla="val 7178"/>
                <a:gd name="f59" fmla="val 9430"/>
                <a:gd name="f60" fmla="val 7119"/>
                <a:gd name="f61" fmla="val 9305"/>
                <a:gd name="f62" fmla="val 7059"/>
                <a:gd name="f63" fmla="val 9180"/>
                <a:gd name="f64" fmla="val 9055"/>
                <a:gd name="f65" fmla="+- 0 0 -90"/>
                <a:gd name="f66" fmla="*/ f3 1 10000"/>
                <a:gd name="f67" fmla="*/ f4 1 10437"/>
                <a:gd name="f68" fmla="val f5"/>
                <a:gd name="f69" fmla="val f6"/>
                <a:gd name="f70" fmla="val f7"/>
                <a:gd name="f71" fmla="*/ f65 f0 1"/>
                <a:gd name="f72" fmla="+- f70 0 f68"/>
                <a:gd name="f73" fmla="+- f69 0 f68"/>
                <a:gd name="f74" fmla="*/ f71 1 f2"/>
                <a:gd name="f75" fmla="*/ f73 1 10000"/>
                <a:gd name="f76" fmla="*/ f72 1 10437"/>
                <a:gd name="f77" fmla="*/ 2147483646 f73 1"/>
                <a:gd name="f78" fmla="*/ 2147483646 f72 1"/>
                <a:gd name="f79" fmla="*/ 0 f72 1"/>
                <a:gd name="f80" fmla="*/ 1652181647 f73 1"/>
                <a:gd name="f81" fmla="*/ 1101414143 f73 1"/>
                <a:gd name="f82" fmla="*/ 680164610 f73 1"/>
                <a:gd name="f83" fmla="*/ 126118672 f73 1"/>
                <a:gd name="f84" fmla="*/ 0 f73 1"/>
                <a:gd name="f85" fmla="*/ 357975358 f73 1"/>
                <a:gd name="f86" fmla="*/ 623990471 f73 1"/>
                <a:gd name="f87" fmla="+- f74 0 f1"/>
                <a:gd name="f88" fmla="*/ f77 1 10000"/>
                <a:gd name="f89" fmla="*/ f78 1 10437"/>
                <a:gd name="f90" fmla="*/ f79 1 10437"/>
                <a:gd name="f91" fmla="*/ f80 1 10000"/>
                <a:gd name="f92" fmla="*/ f81 1 10000"/>
                <a:gd name="f93" fmla="*/ f82 1 10000"/>
                <a:gd name="f94" fmla="*/ f83 1 10000"/>
                <a:gd name="f95" fmla="*/ f84 1 10000"/>
                <a:gd name="f96" fmla="*/ f85 1 10000"/>
                <a:gd name="f97" fmla="*/ f86 1 10000"/>
                <a:gd name="f98" fmla="*/ 0 1 f75"/>
                <a:gd name="f99" fmla="*/ f69 1 f75"/>
                <a:gd name="f100" fmla="*/ 0 1 f76"/>
                <a:gd name="f101" fmla="*/ f70 1 f76"/>
                <a:gd name="f102" fmla="*/ f88 1 f75"/>
                <a:gd name="f103" fmla="*/ f89 1 f76"/>
                <a:gd name="f104" fmla="*/ f90 1 f76"/>
                <a:gd name="f105" fmla="*/ f91 1 f75"/>
                <a:gd name="f106" fmla="*/ f92 1 f75"/>
                <a:gd name="f107" fmla="*/ f93 1 f75"/>
                <a:gd name="f108" fmla="*/ f94 1 f75"/>
                <a:gd name="f109" fmla="*/ f95 1 f75"/>
                <a:gd name="f110" fmla="*/ f96 1 f75"/>
                <a:gd name="f111" fmla="*/ f97 1 f75"/>
                <a:gd name="f112" fmla="*/ f98 f66 1"/>
                <a:gd name="f113" fmla="*/ f99 f66 1"/>
                <a:gd name="f114" fmla="*/ f101 f67 1"/>
                <a:gd name="f115" fmla="*/ f100 f67 1"/>
                <a:gd name="f116" fmla="*/ f102 f66 1"/>
                <a:gd name="f117" fmla="*/ f103 f67 1"/>
                <a:gd name="f118" fmla="*/ f104 f67 1"/>
                <a:gd name="f119" fmla="*/ f105 f66 1"/>
                <a:gd name="f120" fmla="*/ f106 f66 1"/>
                <a:gd name="f121" fmla="*/ f107 f66 1"/>
                <a:gd name="f122" fmla="*/ f108 f66 1"/>
                <a:gd name="f123" fmla="*/ f109 f66 1"/>
                <a:gd name="f124" fmla="*/ f110 f66 1"/>
                <a:gd name="f125" fmla="*/ f111 f6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8"/>
                </a:cxn>
                <a:cxn ang="f87">
                  <a:pos x="f119" y="f117"/>
                </a:cxn>
                <a:cxn ang="f87">
                  <a:pos x="f120" y="f117"/>
                </a:cxn>
                <a:cxn ang="f87">
                  <a:pos x="f121" y="f117"/>
                </a:cxn>
                <a:cxn ang="f87">
                  <a:pos x="f120" y="f117"/>
                </a:cxn>
                <a:cxn ang="f87">
                  <a:pos x="f120" y="f117"/>
                </a:cxn>
                <a:cxn ang="f87">
                  <a:pos x="f122" y="f117"/>
                </a:cxn>
                <a:cxn ang="f87">
                  <a:pos x="f123" y="f117"/>
                </a:cxn>
                <a:cxn ang="f87">
                  <a:pos x="f124" y="f117"/>
                </a:cxn>
                <a:cxn ang="f87">
                  <a:pos x="f120" y="f117"/>
                </a:cxn>
                <a:cxn ang="f87">
                  <a:pos x="f125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  <a:cxn ang="f87">
                  <a:pos x="f116" y="f117"/>
                </a:cxn>
              </a:cxnLst>
              <a:rect l="f112" t="f115" r="f113" b="f114"/>
              <a:pathLst>
                <a:path w="10000" h="10437">
                  <a:moveTo>
                    <a:pt x="f8" y="f9"/>
                  </a:moveTo>
                  <a:lnTo>
                    <a:pt x="f8" y="f10"/>
                  </a:lnTo>
                  <a:cubicBezTo>
                    <a:pt x="f11" y="f12"/>
                    <a:pt x="f13" y="f14"/>
                    <a:pt x="f15" y="f16"/>
                  </a:cubicBezTo>
                  <a:lnTo>
                    <a:pt x="f17" y="f18"/>
                  </a:lnTo>
                  <a:lnTo>
                    <a:pt x="f17" y="f19"/>
                  </a:lnTo>
                  <a:cubicBezTo>
                    <a:pt x="f20" y="f21"/>
                    <a:pt x="f22" y="f23"/>
                    <a:pt x="f24" y="f25"/>
                  </a:cubicBezTo>
                  <a:lnTo>
                    <a:pt x="f26" y="f27"/>
                  </a:lnTo>
                  <a:cubicBezTo>
                    <a:pt x="f28" y="f29"/>
                    <a:pt x="f30" y="f31"/>
                    <a:pt x="f32" y="f33"/>
                  </a:cubicBezTo>
                  <a:lnTo>
                    <a:pt x="f6" y="f34"/>
                  </a:lnTo>
                  <a:lnTo>
                    <a:pt x="f26" y="f35"/>
                  </a:lnTo>
                  <a:lnTo>
                    <a:pt x="f17" y="f36"/>
                  </a:lnTo>
                  <a:lnTo>
                    <a:pt x="f37" y="f5"/>
                  </a:lnTo>
                  <a:lnTo>
                    <a:pt x="f38" y="f36"/>
                  </a:lnTo>
                  <a:lnTo>
                    <a:pt x="f39" y="f35"/>
                  </a:lnTo>
                  <a:lnTo>
                    <a:pt x="f40" y="f41"/>
                  </a:lnTo>
                  <a:lnTo>
                    <a:pt x="f39" y="f42"/>
                  </a:lnTo>
                  <a:lnTo>
                    <a:pt x="f39" y="f43"/>
                  </a:lnTo>
                  <a:lnTo>
                    <a:pt x="f44" y="f45"/>
                  </a:lnTo>
                  <a:cubicBezTo>
                    <a:pt x="f46" y="f47"/>
                    <a:pt x="f48" y="f49"/>
                    <a:pt x="f5" y="f13"/>
                  </a:cubicBezTo>
                  <a:lnTo>
                    <a:pt x="f50" y="f51"/>
                  </a:lnTo>
                  <a:lnTo>
                    <a:pt x="f39" y="f10"/>
                  </a:lnTo>
                  <a:lnTo>
                    <a:pt x="f52" y="f53"/>
                  </a:lnTo>
                  <a:lnTo>
                    <a:pt x="f54" y="f7"/>
                  </a:lnTo>
                  <a:cubicBezTo>
                    <a:pt x="f55" y="f6"/>
                    <a:pt x="f56" y="f57"/>
                    <a:pt x="f58" y="f59"/>
                  </a:cubicBezTo>
                  <a:cubicBezTo>
                    <a:pt x="f60" y="f61"/>
                    <a:pt x="f62" y="f63"/>
                    <a:pt x="f8" y="f64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8" name="Freeform 341">
              <a:extLst>
                <a:ext uri="{FF2B5EF4-FFF2-40B4-BE49-F238E27FC236}">
                  <a16:creationId xmlns:a16="http://schemas.microsoft.com/office/drawing/2014/main" id="{E0027667-FC74-961F-AD81-EA5BBA7CFB00}"/>
                </a:ext>
              </a:extLst>
            </p:cNvPr>
            <p:cNvSpPr/>
            <p:nvPr/>
          </p:nvSpPr>
          <p:spPr>
            <a:xfrm>
              <a:off x="5952586" y="2999075"/>
              <a:ext cx="196047" cy="8251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9583"/>
                <a:gd name="f8" fmla="val 5455"/>
                <a:gd name="f9" fmla="val 3636"/>
                <a:gd name="f10" fmla="val 1818"/>
                <a:gd name="f11" fmla="val 909"/>
                <a:gd name="f12" fmla="val 9167"/>
                <a:gd name="f13" fmla="val 7500"/>
                <a:gd name="f14" fmla="val 7083"/>
                <a:gd name="f15" fmla="val 5833"/>
                <a:gd name="f16" fmla="val 5417"/>
                <a:gd name="f17" fmla="val 4583"/>
                <a:gd name="f18" fmla="val 2727"/>
                <a:gd name="f19" fmla="val 5000"/>
                <a:gd name="f20" fmla="val 4545"/>
                <a:gd name="f21" fmla="val 4167"/>
                <a:gd name="f22" fmla="val 2500"/>
                <a:gd name="f23" fmla="val 6364"/>
                <a:gd name="f24" fmla="val 1667"/>
                <a:gd name="f25" fmla="val 417"/>
                <a:gd name="f26" fmla="val 7273"/>
                <a:gd name="f27" fmla="val 1250"/>
                <a:gd name="f28" fmla="val 9091"/>
                <a:gd name="f29" fmla="val 2083"/>
                <a:gd name="f30" fmla="val 3750"/>
                <a:gd name="f31" fmla="val 8750"/>
                <a:gd name="f32" fmla="val 8182"/>
                <a:gd name="f33" fmla="val 9306"/>
                <a:gd name="f34" fmla="val 9444"/>
                <a:gd name="f35" fmla="+- 0 0 -90"/>
                <a:gd name="f36" fmla="*/ f3 1 10000"/>
                <a:gd name="f37" fmla="*/ f4 1 10000"/>
                <a:gd name="f38" fmla="val f5"/>
                <a:gd name="f39" fmla="val f6"/>
                <a:gd name="f40" fmla="*/ f35 f0 1"/>
                <a:gd name="f41" fmla="+- f39 0 f38"/>
                <a:gd name="f42" fmla="*/ f40 1 f2"/>
                <a:gd name="f43" fmla="*/ f41 1 10000"/>
                <a:gd name="f44" fmla="*/ 2147483646 f41 1"/>
                <a:gd name="f45" fmla="*/ 1938151997 f41 1"/>
                <a:gd name="f46" fmla="*/ 1291877393 f41 1"/>
                <a:gd name="f47" fmla="*/ 645938692 f41 1"/>
                <a:gd name="f48" fmla="*/ 322947012 f41 1"/>
                <a:gd name="f49" fmla="*/ 0 f41 1"/>
                <a:gd name="f50" fmla="*/ 968885712 f41 1"/>
                <a:gd name="f51" fmla="*/ 1614824337 f41 1"/>
                <a:gd name="f52" fmla="+- f42 0 f1"/>
                <a:gd name="f53" fmla="*/ f44 1 10000"/>
                <a:gd name="f54" fmla="*/ f45 1 10000"/>
                <a:gd name="f55" fmla="*/ f46 1 10000"/>
                <a:gd name="f56" fmla="*/ f47 1 10000"/>
                <a:gd name="f57" fmla="*/ f48 1 10000"/>
                <a:gd name="f58" fmla="*/ f49 1 10000"/>
                <a:gd name="f59" fmla="*/ f50 1 10000"/>
                <a:gd name="f60" fmla="*/ f51 1 10000"/>
                <a:gd name="f61" fmla="*/ 0 1 f43"/>
                <a:gd name="f62" fmla="*/ f39 1 f43"/>
                <a:gd name="f63" fmla="*/ f53 1 f43"/>
                <a:gd name="f64" fmla="*/ f54 1 f43"/>
                <a:gd name="f65" fmla="*/ f55 1 f43"/>
                <a:gd name="f66" fmla="*/ f56 1 f43"/>
                <a:gd name="f67" fmla="*/ f57 1 f43"/>
                <a:gd name="f68" fmla="*/ f58 1 f43"/>
                <a:gd name="f69" fmla="*/ f59 1 f43"/>
                <a:gd name="f70" fmla="*/ f60 1 f43"/>
                <a:gd name="f71" fmla="*/ f61 f36 1"/>
                <a:gd name="f72" fmla="*/ f62 f36 1"/>
                <a:gd name="f73" fmla="*/ f62 f37 1"/>
                <a:gd name="f74" fmla="*/ f61 f37 1"/>
                <a:gd name="f75" fmla="*/ f63 f36 1"/>
                <a:gd name="f76" fmla="*/ f64 f37 1"/>
                <a:gd name="f77" fmla="*/ f65 f37 1"/>
                <a:gd name="f78" fmla="*/ f66 f37 1"/>
                <a:gd name="f79" fmla="*/ f67 f37 1"/>
                <a:gd name="f80" fmla="*/ f68 f37 1"/>
                <a:gd name="f81" fmla="*/ f69 f37 1"/>
                <a:gd name="f82" fmla="*/ f70 f37 1"/>
                <a:gd name="f83" fmla="*/ f63 f37 1"/>
                <a:gd name="f84" fmla="*/ f68 f3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2">
                  <a:pos x="f75" y="f76"/>
                </a:cxn>
                <a:cxn ang="f52">
                  <a:pos x="f75" y="f77"/>
                </a:cxn>
                <a:cxn ang="f52">
                  <a:pos x="f75" y="f77"/>
                </a:cxn>
                <a:cxn ang="f52">
                  <a:pos x="f75" y="f78"/>
                </a:cxn>
                <a:cxn ang="f52">
                  <a:pos x="f75" y="f79"/>
                </a:cxn>
                <a:cxn ang="f52">
                  <a:pos x="f75" y="f79"/>
                </a:cxn>
                <a:cxn ang="f52">
                  <a:pos x="f75" y="f80"/>
                </a:cxn>
                <a:cxn ang="f52">
                  <a:pos x="f75" y="f79"/>
                </a:cxn>
                <a:cxn ang="f52">
                  <a:pos x="f75" y="f79"/>
                </a:cxn>
                <a:cxn ang="f52">
                  <a:pos x="f75" y="f78"/>
                </a:cxn>
                <a:cxn ang="f52">
                  <a:pos x="f75" y="f81"/>
                </a:cxn>
                <a:cxn ang="f52">
                  <a:pos x="f75" y="f82"/>
                </a:cxn>
                <a:cxn ang="f52">
                  <a:pos x="f75" y="f76"/>
                </a:cxn>
                <a:cxn ang="f52">
                  <a:pos x="f75" y="f76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84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83"/>
                </a:cxn>
                <a:cxn ang="f52">
                  <a:pos x="f75" y="f76"/>
                </a:cxn>
              </a:cxnLst>
              <a:rect l="f71" t="f74" r="f72" b="f73"/>
              <a:pathLst>
                <a:path w="10000" h="10000">
                  <a:moveTo>
                    <a:pt x="f7" y="f8"/>
                  </a:moveTo>
                  <a:lnTo>
                    <a:pt x="f6" y="f9"/>
                  </a:lnTo>
                  <a:lnTo>
                    <a:pt x="f7" y="f10"/>
                  </a:lnTo>
                  <a:lnTo>
                    <a:pt x="f7" y="f11"/>
                  </a:lnTo>
                  <a:lnTo>
                    <a:pt x="f12" y="f11"/>
                  </a:lnTo>
                  <a:lnTo>
                    <a:pt x="f13" y="f5"/>
                  </a:lnTo>
                  <a:lnTo>
                    <a:pt x="f14" y="f11"/>
                  </a:lnTo>
                  <a:lnTo>
                    <a:pt x="f15" y="f11"/>
                  </a:lnTo>
                  <a:lnTo>
                    <a:pt x="f16" y="f10"/>
                  </a:lnTo>
                  <a:lnTo>
                    <a:pt x="f17" y="f18"/>
                  </a:lnTo>
                  <a:lnTo>
                    <a:pt x="f19" y="f20"/>
                  </a:lnTo>
                  <a:cubicBezTo>
                    <a:pt x="f19" y="f20"/>
                    <a:pt x="f19" y="f8"/>
                    <a:pt x="f17" y="f8"/>
                  </a:cubicBezTo>
                  <a:lnTo>
                    <a:pt x="f21" y="f8"/>
                  </a:lnTo>
                  <a:lnTo>
                    <a:pt x="f22" y="f23"/>
                  </a:lnTo>
                  <a:lnTo>
                    <a:pt x="f24" y="f23"/>
                  </a:lnTo>
                  <a:lnTo>
                    <a:pt x="f25" y="f23"/>
                  </a:lnTo>
                  <a:lnTo>
                    <a:pt x="f5" y="f23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4" y="f6"/>
                  </a:lnTo>
                  <a:lnTo>
                    <a:pt x="f29" y="f28"/>
                  </a:lnTo>
                  <a:lnTo>
                    <a:pt x="f30" y="f28"/>
                  </a:lnTo>
                  <a:lnTo>
                    <a:pt x="f16" y="f6"/>
                  </a:lnTo>
                  <a:lnTo>
                    <a:pt x="f15" y="f6"/>
                  </a:lnTo>
                  <a:lnTo>
                    <a:pt x="f13" y="f6"/>
                  </a:lnTo>
                  <a:lnTo>
                    <a:pt x="f31" y="f32"/>
                  </a:lnTo>
                  <a:lnTo>
                    <a:pt x="f12" y="f32"/>
                  </a:lnTo>
                  <a:cubicBezTo>
                    <a:pt x="f33" y="f26"/>
                    <a:pt x="f34" y="f23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9" name="Freeform 342">
              <a:extLst>
                <a:ext uri="{FF2B5EF4-FFF2-40B4-BE49-F238E27FC236}">
                  <a16:creationId xmlns:a16="http://schemas.microsoft.com/office/drawing/2014/main" id="{D2489B5A-60DB-7835-FE3B-495FD9753A4F}"/>
                </a:ext>
              </a:extLst>
            </p:cNvPr>
            <p:cNvSpPr/>
            <p:nvPr/>
          </p:nvSpPr>
          <p:spPr>
            <a:xfrm rot="471040">
              <a:off x="5616042" y="2896325"/>
              <a:ext cx="313675" cy="28801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43"/>
                <a:gd name="f7" fmla="val 10000"/>
                <a:gd name="f8" fmla="val 9119"/>
                <a:gd name="f9" fmla="val 7195"/>
                <a:gd name="f10" fmla="val 9204"/>
                <a:gd name="f11" fmla="val 7033"/>
                <a:gd name="f12" fmla="val 9249"/>
                <a:gd name="f13" fmla="val 6746"/>
                <a:gd name="f14" fmla="val 9276"/>
                <a:gd name="f15" fmla="val 6559"/>
                <a:gd name="f16" fmla="val 9302"/>
                <a:gd name="f17" fmla="val 6372"/>
                <a:gd name="f18" fmla="val 6235"/>
                <a:gd name="f19" fmla="val 6074"/>
                <a:gd name="f20" fmla="val 9191"/>
                <a:gd name="f21" fmla="val 5911"/>
                <a:gd name="f22" fmla="val 9105"/>
                <a:gd name="f23" fmla="val 5750"/>
                <a:gd name="f24" fmla="val 9020"/>
                <a:gd name="f25" fmla="val 5588"/>
                <a:gd name="f26" fmla="val 8849"/>
                <a:gd name="f27" fmla="val 8579"/>
                <a:gd name="f28" fmla="val 5641"/>
                <a:gd name="f29" fmla="val 8508"/>
                <a:gd name="f30" fmla="val 8437"/>
                <a:gd name="f31" fmla="val 5534"/>
                <a:gd name="f32" fmla="val 8566"/>
                <a:gd name="f33" fmla="val 5375"/>
                <a:gd name="f34" fmla="val 8596"/>
                <a:gd name="f35" fmla="val 5268"/>
                <a:gd name="f36" fmla="val 8822"/>
                <a:gd name="f37" fmla="val 4969"/>
                <a:gd name="f38" fmla="val 9120"/>
                <a:gd name="f39" fmla="val 4562"/>
                <a:gd name="f40" fmla="val 4373"/>
                <a:gd name="f41" fmla="val 9431"/>
                <a:gd name="f42" fmla="val 4183"/>
                <a:gd name="f43" fmla="val 9446"/>
                <a:gd name="f44" fmla="val 4210"/>
                <a:gd name="f45" fmla="val 9531"/>
                <a:gd name="f46" fmla="val 4129"/>
                <a:gd name="f47" fmla="val 3158"/>
                <a:gd name="f48" fmla="val 2672"/>
                <a:gd name="f49" fmla="val 2429"/>
                <a:gd name="f50" fmla="val 8764"/>
                <a:gd name="f51" fmla="val 2186"/>
                <a:gd name="f52" fmla="val 7996"/>
                <a:gd name="f53" fmla="val 1943"/>
                <a:gd name="f54" fmla="val 7741"/>
                <a:gd name="f55" fmla="val 1700"/>
                <a:gd name="f56" fmla="val 7229"/>
                <a:gd name="f57" fmla="val 1457"/>
                <a:gd name="f58" fmla="val 6717"/>
                <a:gd name="f59" fmla="val 1215"/>
                <a:gd name="f60" fmla="val 6461"/>
                <a:gd name="f61" fmla="val 729"/>
                <a:gd name="f62" fmla="val 5950"/>
                <a:gd name="f63" fmla="val 486"/>
                <a:gd name="f64" fmla="val 5694"/>
                <a:gd name="f65" fmla="val 5182"/>
                <a:gd name="f66" fmla="val 243"/>
                <a:gd name="f67" fmla="val 4671"/>
                <a:gd name="f68" fmla="val 4586"/>
                <a:gd name="f69" fmla="val 1296"/>
                <a:gd name="f70" fmla="val 4545"/>
                <a:gd name="f71" fmla="val 1311"/>
                <a:gd name="f72" fmla="val 4415"/>
                <a:gd name="f73" fmla="val 4285"/>
                <a:gd name="f74" fmla="val 1603"/>
                <a:gd name="f75" fmla="val 1996"/>
                <a:gd name="f76" fmla="val 3890"/>
                <a:gd name="f77" fmla="val 2092"/>
                <a:gd name="f78" fmla="val 3651"/>
                <a:gd name="f79" fmla="val 2188"/>
                <a:gd name="f80" fmla="val 3168"/>
                <a:gd name="f81" fmla="val 2108"/>
                <a:gd name="f82" fmla="val 2979"/>
                <a:gd name="f83" fmla="val 2034"/>
                <a:gd name="f84" fmla="val 2790"/>
                <a:gd name="f85" fmla="val 1960"/>
                <a:gd name="f86" fmla="val 2862"/>
                <a:gd name="f87" fmla="val 1718"/>
                <a:gd name="f88" fmla="val 2757"/>
                <a:gd name="f89" fmla="val 1649"/>
                <a:gd name="f90" fmla="val 2652"/>
                <a:gd name="f91" fmla="val 1580"/>
                <a:gd name="f92" fmla="val 2418"/>
                <a:gd name="f93" fmla="val 1522"/>
                <a:gd name="f94" fmla="val 2348"/>
                <a:gd name="f95" fmla="val 1621"/>
                <a:gd name="f96" fmla="val 2279"/>
                <a:gd name="f97" fmla="val 1720"/>
                <a:gd name="f98" fmla="val 2337"/>
                <a:gd name="f99" fmla="val 2029"/>
                <a:gd name="f100" fmla="val 2340"/>
                <a:gd name="f101" fmla="val 2245"/>
                <a:gd name="f102" fmla="val 2343"/>
                <a:gd name="f103" fmla="val 2461"/>
                <a:gd name="f104" fmla="val 2491"/>
                <a:gd name="f105" fmla="val 2803"/>
                <a:gd name="f106" fmla="val 2368"/>
                <a:gd name="f107" fmla="val 2915"/>
                <a:gd name="f108" fmla="val 3027"/>
                <a:gd name="f109" fmla="val 1781"/>
                <a:gd name="f110" fmla="val 2985"/>
                <a:gd name="f111" fmla="val 1601"/>
                <a:gd name="f112" fmla="val 1421"/>
                <a:gd name="f113" fmla="val 2845"/>
                <a:gd name="f114" fmla="val 1442"/>
                <a:gd name="f115" fmla="val 2545"/>
                <a:gd name="f116" fmla="val 1289"/>
                <a:gd name="f117" fmla="val 2497"/>
                <a:gd name="f118" fmla="val 1136"/>
                <a:gd name="f119" fmla="val 2449"/>
                <a:gd name="f120" fmla="val 893"/>
                <a:gd name="f121" fmla="val 2584"/>
                <a:gd name="f122" fmla="val 684"/>
                <a:gd name="f123" fmla="val 2625"/>
                <a:gd name="f124" fmla="val 475"/>
                <a:gd name="f125" fmla="val 2666"/>
                <a:gd name="f126" fmla="val 131"/>
                <a:gd name="f127" fmla="val 2638"/>
                <a:gd name="f128" fmla="val 33"/>
                <a:gd name="f129" fmla="val 2742"/>
                <a:gd name="f130" fmla="val -65"/>
                <a:gd name="f131" fmla="val 2846"/>
                <a:gd name="f132" fmla="val 82"/>
                <a:gd name="f133" fmla="val 3088"/>
                <a:gd name="f134" fmla="val 94"/>
                <a:gd name="f135" fmla="val 3251"/>
                <a:gd name="f136" fmla="val 106"/>
                <a:gd name="f137" fmla="val 3414"/>
                <a:gd name="f138" fmla="val -17"/>
                <a:gd name="f139" fmla="val 3533"/>
                <a:gd name="f140" fmla="val 105"/>
                <a:gd name="f141" fmla="val 3720"/>
                <a:gd name="f142" fmla="val 228"/>
                <a:gd name="f143" fmla="val 3907"/>
                <a:gd name="f144" fmla="val 584"/>
                <a:gd name="f145" fmla="val 4264"/>
                <a:gd name="f146" fmla="val 833"/>
                <a:gd name="f147" fmla="val 1082"/>
                <a:gd name="f148" fmla="val 4481"/>
                <a:gd name="f149" fmla="val 1345"/>
                <a:gd name="f150" fmla="val 1856"/>
                <a:gd name="f151" fmla="val 4616"/>
                <a:gd name="f152" fmla="val 4859"/>
                <a:gd name="f153" fmla="val 2112"/>
                <a:gd name="f154" fmla="val 5345"/>
                <a:gd name="f155" fmla="val 2197"/>
                <a:gd name="f156" fmla="val 2283"/>
                <a:gd name="f157" fmla="val 5831"/>
                <a:gd name="f158" fmla="val 2624"/>
                <a:gd name="f159" fmla="val 6316"/>
                <a:gd name="f160" fmla="val 2696"/>
                <a:gd name="f161" fmla="val 6675"/>
                <a:gd name="f162" fmla="val 7045"/>
                <a:gd name="f163" fmla="val 2551"/>
                <a:gd name="f164" fmla="val 7414"/>
                <a:gd name="f165" fmla="val 2272"/>
                <a:gd name="f166" fmla="val 8240"/>
                <a:gd name="f167" fmla="val 8533"/>
                <a:gd name="f168" fmla="val 2104"/>
                <a:gd name="f169" fmla="val 8826"/>
                <a:gd name="f170" fmla="val 2064"/>
                <a:gd name="f171" fmla="val 8649"/>
                <a:gd name="f172" fmla="val 2118"/>
                <a:gd name="f173" fmla="val 8804"/>
                <a:gd name="f174" fmla="val 2173"/>
                <a:gd name="f175" fmla="val 8958"/>
                <a:gd name="f176" fmla="val 2390"/>
                <a:gd name="f177" fmla="val 9351"/>
                <a:gd name="f178" fmla="val 2516"/>
                <a:gd name="f179" fmla="val 9462"/>
                <a:gd name="f180" fmla="val 2643"/>
                <a:gd name="f181" fmla="val 9574"/>
                <a:gd name="f182" fmla="val 2734"/>
                <a:gd name="f183" fmla="val 9472"/>
                <a:gd name="f184" fmla="val 2880"/>
                <a:gd name="f185" fmla="val 9474"/>
                <a:gd name="f186" fmla="val 3025"/>
                <a:gd name="f187" fmla="val 9476"/>
                <a:gd name="f188" fmla="val 3220"/>
                <a:gd name="f189" fmla="val 3391"/>
                <a:gd name="f190" fmla="val 4159"/>
                <a:gd name="f191" fmla="val 9717"/>
                <a:gd name="f192" fmla="val 5438"/>
                <a:gd name="f193" fmla="val 9960"/>
                <a:gd name="f194" fmla="val 5609"/>
                <a:gd name="f195" fmla="val 5793"/>
                <a:gd name="f196" fmla="val 10051"/>
                <a:gd name="f197" fmla="val 6106"/>
                <a:gd name="f198" fmla="val 9870"/>
                <a:gd name="f199" fmla="val 6222"/>
                <a:gd name="f200" fmla="val 9506"/>
                <a:gd name="f201" fmla="val 6375"/>
                <a:gd name="f202" fmla="val 9413"/>
                <a:gd name="f203" fmla="val 6529"/>
                <a:gd name="f204" fmla="val 9321"/>
                <a:gd name="f205" fmla="val 6594"/>
                <a:gd name="f206" fmla="val 9367"/>
                <a:gd name="f207" fmla="val 6869"/>
                <a:gd name="f208" fmla="val 9401"/>
                <a:gd name="f209" fmla="val 7143"/>
                <a:gd name="f210" fmla="val 9436"/>
                <a:gd name="f211" fmla="val 7722"/>
                <a:gd name="f212" fmla="val 9569"/>
                <a:gd name="f213" fmla="val 8022"/>
                <a:gd name="f214" fmla="val 9625"/>
                <a:gd name="f215" fmla="val 8322"/>
                <a:gd name="f216" fmla="val 9682"/>
                <a:gd name="f217" fmla="val 8393"/>
                <a:gd name="f218" fmla="val 9858"/>
                <a:gd name="f219" fmla="val 8668"/>
                <a:gd name="f220" fmla="val 9743"/>
                <a:gd name="f221" fmla="val 8942"/>
                <a:gd name="f222" fmla="val 9628"/>
                <a:gd name="f223" fmla="val 9580"/>
                <a:gd name="f224" fmla="val 8937"/>
                <a:gd name="f225" fmla="val 9665"/>
                <a:gd name="f226" fmla="val 9079"/>
                <a:gd name="f227" fmla="val 8091"/>
                <a:gd name="f228" fmla="val 9008"/>
                <a:gd name="f229" fmla="val 7886"/>
                <a:gd name="f230" fmla="val 8985"/>
                <a:gd name="f231" fmla="val 7957"/>
                <a:gd name="f232" fmla="val 7836"/>
                <a:gd name="f233" fmla="val 8899"/>
                <a:gd name="f234" fmla="val 7714"/>
                <a:gd name="f235" fmla="val 9114"/>
                <a:gd name="f236" fmla="val 7387"/>
                <a:gd name="f237" fmla="+- 0 0 -90"/>
                <a:gd name="f238" fmla="*/ f3 1 10043"/>
                <a:gd name="f239" fmla="*/ f4 1 10000"/>
                <a:gd name="f240" fmla="val f5"/>
                <a:gd name="f241" fmla="val f6"/>
                <a:gd name="f242" fmla="val f7"/>
                <a:gd name="f243" fmla="*/ f237 f0 1"/>
                <a:gd name="f244" fmla="+- f242 0 f240"/>
                <a:gd name="f245" fmla="+- f241 0 f240"/>
                <a:gd name="f246" fmla="*/ f243 1 f2"/>
                <a:gd name="f247" fmla="*/ f245 1 10043"/>
                <a:gd name="f248" fmla="*/ f244 1 10000"/>
                <a:gd name="f249" fmla="*/ 2147483646 f245 1"/>
                <a:gd name="f250" fmla="*/ 2147483646 f244 1"/>
                <a:gd name="f251" fmla="*/ 0 f244 1"/>
                <a:gd name="f252" fmla="+- f246 0 f1"/>
                <a:gd name="f253" fmla="*/ f249 1 10043"/>
                <a:gd name="f254" fmla="*/ f250 1 10000"/>
                <a:gd name="f255" fmla="*/ f251 1 10000"/>
                <a:gd name="f256" fmla="*/ 0 1 f247"/>
                <a:gd name="f257" fmla="*/ f241 1 f247"/>
                <a:gd name="f258" fmla="*/ 0 1 f248"/>
                <a:gd name="f259" fmla="*/ f242 1 f248"/>
                <a:gd name="f260" fmla="*/ f253 1 f247"/>
                <a:gd name="f261" fmla="*/ f254 1 f248"/>
                <a:gd name="f262" fmla="*/ f255 1 f248"/>
                <a:gd name="f263" fmla="*/ f256 f238 1"/>
                <a:gd name="f264" fmla="*/ f257 f238 1"/>
                <a:gd name="f265" fmla="*/ f259 f239 1"/>
                <a:gd name="f266" fmla="*/ f258 f239 1"/>
                <a:gd name="f267" fmla="*/ f260 f238 1"/>
                <a:gd name="f268" fmla="*/ f261 f239 1"/>
                <a:gd name="f269" fmla="*/ f262 f2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9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  <a:cxn ang="f252">
                  <a:pos x="f267" y="f268"/>
                </a:cxn>
              </a:cxnLst>
              <a:rect l="f263" t="f266" r="f264" b="f265"/>
              <a:pathLst>
                <a:path w="10043" h="10000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4" y="f18"/>
                    <a:pt x="f14" y="f19"/>
                  </a:cubicBezTo>
                  <a:cubicBezTo>
                    <a:pt x="f20" y="f21"/>
                    <a:pt x="f22" y="f23"/>
                    <a:pt x="f24" y="f25"/>
                  </a:cubicBezTo>
                  <a:cubicBezTo>
                    <a:pt x="f26" y="f25"/>
                    <a:pt x="f27" y="f28"/>
                    <a:pt x="f29" y="f25"/>
                  </a:cubicBezTo>
                  <a:cubicBezTo>
                    <a:pt x="f30" y="f31"/>
                    <a:pt x="f32" y="f33"/>
                    <a:pt x="f34" y="f35"/>
                  </a:cubicBezTo>
                  <a:cubicBezTo>
                    <a:pt x="f36" y="f37"/>
                    <a:pt x="f38" y="f39"/>
                    <a:pt x="f14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45" y="f47"/>
                  </a:lnTo>
                  <a:lnTo>
                    <a:pt x="f6" y="f48"/>
                  </a:lnTo>
                  <a:lnTo>
                    <a:pt x="f14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63"/>
                  </a:lnTo>
                  <a:lnTo>
                    <a:pt x="f64" y="f5"/>
                  </a:lnTo>
                  <a:lnTo>
                    <a:pt x="f65" y="f66"/>
                  </a:lnTo>
                  <a:lnTo>
                    <a:pt x="f67" y="f59"/>
                  </a:lnTo>
                  <a:cubicBezTo>
                    <a:pt x="f68" y="f69"/>
                    <a:pt x="f70" y="f71"/>
                    <a:pt x="f72" y="f57"/>
                  </a:cubicBezTo>
                  <a:cubicBezTo>
                    <a:pt x="f73" y="f74"/>
                    <a:pt x="f46" y="f75"/>
                    <a:pt x="f76" y="f77"/>
                  </a:cubicBezTo>
                  <a:cubicBezTo>
                    <a:pt x="f78" y="f79"/>
                    <a:pt x="f80" y="f81"/>
                    <a:pt x="f82" y="f83"/>
                  </a:cubicBezTo>
                  <a:cubicBezTo>
                    <a:pt x="f84" y="f85"/>
                    <a:pt x="f86" y="f87"/>
                    <a:pt x="f88" y="f89"/>
                  </a:cubicBezTo>
                  <a:cubicBezTo>
                    <a:pt x="f90" y="f91"/>
                    <a:pt x="f92" y="f93"/>
                    <a:pt x="f94" y="f95"/>
                  </a:cubicBezTo>
                  <a:cubicBezTo>
                    <a:pt x="f96" y="f97"/>
                    <a:pt x="f98" y="f99"/>
                    <a:pt x="f100" y="f101"/>
                  </a:cubicBezTo>
                  <a:cubicBezTo>
                    <a:pt x="f102" y="f103"/>
                    <a:pt x="f104" y="f105"/>
                    <a:pt x="f106" y="f107"/>
                  </a:cubicBezTo>
                  <a:cubicBezTo>
                    <a:pt x="f101" y="f108"/>
                    <a:pt x="f109" y="f110"/>
                    <a:pt x="f111" y="f107"/>
                  </a:cubicBezTo>
                  <a:cubicBezTo>
                    <a:pt x="f112" y="f113"/>
                    <a:pt x="f114" y="f115"/>
                    <a:pt x="f116" y="f117"/>
                  </a:cubicBezTo>
                  <a:cubicBezTo>
                    <a:pt x="f118" y="f119"/>
                    <a:pt x="f120" y="f121"/>
                    <a:pt x="f122" y="f123"/>
                  </a:cubicBezTo>
                  <a:cubicBezTo>
                    <a:pt x="f124" y="f125"/>
                    <a:pt x="f126" y="f127"/>
                    <a:pt x="f128" y="f129"/>
                  </a:cubicBezTo>
                  <a:cubicBezTo>
                    <a:pt x="f130" y="f131"/>
                    <a:pt x="f132" y="f133"/>
                    <a:pt x="f134" y="f135"/>
                  </a:cubicBezTo>
                  <a:cubicBezTo>
                    <a:pt x="f136" y="f137"/>
                    <a:pt x="f138" y="f139"/>
                    <a:pt x="f140" y="f141"/>
                  </a:cubicBezTo>
                  <a:cubicBezTo>
                    <a:pt x="f142" y="f143"/>
                    <a:pt x="f144" y="f145"/>
                    <a:pt x="f146" y="f40"/>
                  </a:cubicBezTo>
                  <a:cubicBezTo>
                    <a:pt x="f147" y="f148"/>
                    <a:pt x="f149" y="f40"/>
                    <a:pt x="f111" y="f40"/>
                  </a:cubicBezTo>
                  <a:lnTo>
                    <a:pt x="f150" y="f151"/>
                  </a:lnTo>
                  <a:lnTo>
                    <a:pt x="f150" y="f152"/>
                  </a:lnTo>
                  <a:lnTo>
                    <a:pt x="f153" y="f154"/>
                  </a:lnTo>
                  <a:cubicBezTo>
                    <a:pt x="f155" y="f25"/>
                    <a:pt x="f156" y="f157"/>
                    <a:pt x="f106" y="f19"/>
                  </a:cubicBezTo>
                  <a:lnTo>
                    <a:pt x="f158" y="f159"/>
                  </a:lnTo>
                  <a:cubicBezTo>
                    <a:pt x="f158" y="f15"/>
                    <a:pt x="f160" y="f161"/>
                    <a:pt x="f158" y="f162"/>
                  </a:cubicBezTo>
                  <a:cubicBezTo>
                    <a:pt x="f163" y="f164"/>
                    <a:pt x="f165" y="f166"/>
                    <a:pt x="f79" y="f167"/>
                  </a:cubicBezTo>
                  <a:cubicBezTo>
                    <a:pt x="f168" y="f169"/>
                    <a:pt x="f170" y="f171"/>
                    <a:pt x="f172" y="f173"/>
                  </a:cubicBezTo>
                  <a:cubicBezTo>
                    <a:pt x="f174" y="f175"/>
                    <a:pt x="f176" y="f177"/>
                    <a:pt x="f178" y="f179"/>
                  </a:cubicBezTo>
                  <a:cubicBezTo>
                    <a:pt x="f180" y="f181"/>
                    <a:pt x="f182" y="f183"/>
                    <a:pt x="f184" y="f185"/>
                  </a:cubicBezTo>
                  <a:cubicBezTo>
                    <a:pt x="f186" y="f187"/>
                    <a:pt x="f188" y="f185"/>
                    <a:pt x="f189" y="f185"/>
                  </a:cubicBezTo>
                  <a:lnTo>
                    <a:pt x="f190" y="f191"/>
                  </a:lnTo>
                  <a:lnTo>
                    <a:pt x="f67" y="f191"/>
                  </a:lnTo>
                  <a:lnTo>
                    <a:pt x="f192" y="f193"/>
                  </a:lnTo>
                  <a:cubicBezTo>
                    <a:pt x="f194" y="f193"/>
                    <a:pt x="f195" y="f196"/>
                    <a:pt x="f62" y="f193"/>
                  </a:cubicBezTo>
                  <a:cubicBezTo>
                    <a:pt x="f197" y="f198"/>
                    <a:pt x="f199" y="f200"/>
                    <a:pt x="f201" y="f202"/>
                  </a:cubicBezTo>
                  <a:cubicBezTo>
                    <a:pt x="f203" y="f204"/>
                    <a:pt x="f205" y="f206"/>
                    <a:pt x="f207" y="f208"/>
                  </a:cubicBezTo>
                  <a:cubicBezTo>
                    <a:pt x="f209" y="f210"/>
                    <a:pt x="f211" y="f212"/>
                    <a:pt x="f213" y="f214"/>
                  </a:cubicBezTo>
                  <a:cubicBezTo>
                    <a:pt x="f215" y="f216"/>
                    <a:pt x="f217" y="f218"/>
                    <a:pt x="f219" y="f220"/>
                  </a:cubicBezTo>
                  <a:cubicBezTo>
                    <a:pt x="f221" y="f222"/>
                    <a:pt x="f223" y="f224"/>
                    <a:pt x="f225" y="f224"/>
                  </a:cubicBezTo>
                  <a:lnTo>
                    <a:pt x="f226" y="f227"/>
                  </a:lnTo>
                  <a:cubicBezTo>
                    <a:pt x="f228" y="f229"/>
                    <a:pt x="f230" y="f231"/>
                    <a:pt x="f221" y="f232"/>
                  </a:cubicBezTo>
                  <a:cubicBezTo>
                    <a:pt x="f233" y="f234"/>
                    <a:pt x="f235" y="f236"/>
                    <a:pt x="f8" y="f9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0" name="Freeform 343">
              <a:extLst>
                <a:ext uri="{FF2B5EF4-FFF2-40B4-BE49-F238E27FC236}">
                  <a16:creationId xmlns:a16="http://schemas.microsoft.com/office/drawing/2014/main" id="{C0FF2957-9733-A2CF-CAB6-E5EE1D1CB6E9}"/>
                </a:ext>
              </a:extLst>
            </p:cNvPr>
            <p:cNvSpPr/>
            <p:nvPr/>
          </p:nvSpPr>
          <p:spPr>
            <a:xfrm>
              <a:off x="5882342" y="3069128"/>
              <a:ext cx="320204" cy="30981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54"/>
                <a:gd name="f7" fmla="val 87"/>
                <a:gd name="f8" fmla="val 4"/>
                <a:gd name="f9" fmla="val 71"/>
                <a:gd name="f10" fmla="val 54"/>
                <a:gd name="f11" fmla="val 50"/>
                <a:gd name="f12" fmla="val 46"/>
                <a:gd name="f13" fmla="val 37"/>
                <a:gd name="f14" fmla="val 8"/>
                <a:gd name="f15" fmla="val 25"/>
                <a:gd name="f16" fmla="val 12"/>
                <a:gd name="f17" fmla="val 21"/>
                <a:gd name="f18" fmla="val 16"/>
                <a:gd name="f19" fmla="val 33"/>
                <a:gd name="f20" fmla="val 45"/>
                <a:gd name="f21" fmla="val 42"/>
                <a:gd name="f22" fmla="val 78"/>
                <a:gd name="f23" fmla="val 67"/>
                <a:gd name="f24" fmla="val 95"/>
                <a:gd name="f25" fmla="val 96"/>
                <a:gd name="f26" fmla="val 112"/>
                <a:gd name="f27" fmla="val 114"/>
                <a:gd name="f28" fmla="val 126"/>
                <a:gd name="f29" fmla="val 106"/>
                <a:gd name="f30" fmla="val 133"/>
                <a:gd name="f31" fmla="val 120"/>
                <a:gd name="f32" fmla="val 146"/>
                <a:gd name="f33" fmla="val 124"/>
                <a:gd name="f34" fmla="val 104"/>
                <a:gd name="f35" fmla="val 117"/>
                <a:gd name="f36" fmla="val 91"/>
                <a:gd name="f37" fmla="val 58"/>
                <a:gd name="f38" fmla="val 79"/>
                <a:gd name="f39" fmla="val 41"/>
                <a:gd name="f40" fmla="val 83"/>
                <a:gd name="f41" fmla="+- 0 0 -90"/>
                <a:gd name="f42" fmla="*/ f3 1 154"/>
                <a:gd name="f43" fmla="*/ f4 1 154"/>
                <a:gd name="f44" fmla="val f5"/>
                <a:gd name="f45" fmla="val f6"/>
                <a:gd name="f46" fmla="*/ f41 f0 1"/>
                <a:gd name="f47" fmla="+- f45 0 f44"/>
                <a:gd name="f48" fmla="*/ f46 1 f2"/>
                <a:gd name="f49" fmla="*/ f47 1 154"/>
                <a:gd name="f50" fmla="*/ 2147483646 f47 1"/>
                <a:gd name="f51" fmla="*/ 0 f47 1"/>
                <a:gd name="f52" fmla="+- f48 0 f1"/>
                <a:gd name="f53" fmla="*/ f50 1 154"/>
                <a:gd name="f54" fmla="*/ f51 1 154"/>
                <a:gd name="f55" fmla="*/ 0 1 f49"/>
                <a:gd name="f56" fmla="*/ f45 1 f49"/>
                <a:gd name="f57" fmla="*/ f53 1 f49"/>
                <a:gd name="f58" fmla="*/ f54 1 f49"/>
                <a:gd name="f59" fmla="*/ f55 f42 1"/>
                <a:gd name="f60" fmla="*/ f56 f42 1"/>
                <a:gd name="f61" fmla="*/ f56 f43 1"/>
                <a:gd name="f62" fmla="*/ f55 f43 1"/>
                <a:gd name="f63" fmla="*/ f57 f42 1"/>
                <a:gd name="f64" fmla="*/ f57 f43 1"/>
                <a:gd name="f65" fmla="*/ f58 f43 1"/>
                <a:gd name="f66" fmla="*/ f58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2">
                  <a:pos x="f63" y="f64"/>
                </a:cxn>
                <a:cxn ang="f52">
                  <a:pos x="f63" y="f65"/>
                </a:cxn>
                <a:cxn ang="f52">
                  <a:pos x="f63" y="f65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6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  <a:cxn ang="f52">
                  <a:pos x="f63" y="f64"/>
                </a:cxn>
              </a:cxnLst>
              <a:rect l="f59" t="f62" r="f60" b="f61"/>
              <a:pathLst>
                <a:path w="154" h="154">
                  <a:moveTo>
                    <a:pt x="f7" y="f8"/>
                  </a:moveTo>
                  <a:lnTo>
                    <a:pt x="f9" y="f5"/>
                  </a:lnTo>
                  <a:lnTo>
                    <a:pt x="f10" y="f5"/>
                  </a:lnTo>
                  <a:lnTo>
                    <a:pt x="f11" y="f8"/>
                  </a:lnTo>
                  <a:lnTo>
                    <a:pt x="f12" y="f8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4"/>
                  </a:lnTo>
                  <a:lnTo>
                    <a:pt x="f14" y="f18"/>
                  </a:lnTo>
                  <a:lnTo>
                    <a:pt x="f8" y="f18"/>
                  </a:lnTo>
                  <a:lnTo>
                    <a:pt x="f8" y="f15"/>
                  </a:lnTo>
                  <a:lnTo>
                    <a:pt x="f5" y="f19"/>
                  </a:lnTo>
                  <a:lnTo>
                    <a:pt x="f8" y="f20"/>
                  </a:lnTo>
                  <a:lnTo>
                    <a:pt x="f16" y="f10"/>
                  </a:lnTo>
                  <a:lnTo>
                    <a:pt x="f17" y="f20"/>
                  </a:lnTo>
                  <a:lnTo>
                    <a:pt x="f21" y="f10"/>
                  </a:lnTo>
                  <a:lnTo>
                    <a:pt x="f10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6"/>
                  </a:lnTo>
                  <a:lnTo>
                    <a:pt x="f30" y="f30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6" y="f33"/>
                  </a:lnTo>
                  <a:lnTo>
                    <a:pt x="f30" y="f34"/>
                  </a:lnTo>
                  <a:lnTo>
                    <a:pt x="f35" y="f36"/>
                  </a:lnTo>
                  <a:lnTo>
                    <a:pt x="f34" y="f7"/>
                  </a:lnTo>
                  <a:lnTo>
                    <a:pt x="f7" y="f37"/>
                  </a:lnTo>
                  <a:lnTo>
                    <a:pt x="f38" y="f39"/>
                  </a:lnTo>
                  <a:lnTo>
                    <a:pt x="f40" y="f15"/>
                  </a:lnTo>
                  <a:lnTo>
                    <a:pt x="f7" y="f15"/>
                  </a:lnTo>
                  <a:lnTo>
                    <a:pt x="f7" y="f18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1" name="Freeform 345">
              <a:extLst>
                <a:ext uri="{FF2B5EF4-FFF2-40B4-BE49-F238E27FC236}">
                  <a16:creationId xmlns:a16="http://schemas.microsoft.com/office/drawing/2014/main" id="{A443BB93-1C11-B612-6BCC-E72CCD32ED8D}"/>
                </a:ext>
              </a:extLst>
            </p:cNvPr>
            <p:cNvSpPr/>
            <p:nvPr/>
          </p:nvSpPr>
          <p:spPr>
            <a:xfrm>
              <a:off x="5848033" y="2826263"/>
              <a:ext cx="78418" cy="996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6"/>
                <a:gd name="f7" fmla="val 90"/>
                <a:gd name="f8" fmla="val 18"/>
                <a:gd name="f9" fmla="val 72"/>
                <a:gd name="f10" fmla="val 30"/>
                <a:gd name="f11" fmla="val 78"/>
                <a:gd name="f12" fmla="val 36"/>
                <a:gd name="f13" fmla="val 84"/>
                <a:gd name="f14" fmla="val 42"/>
                <a:gd name="f15" fmla="val 48"/>
                <a:gd name="f16" fmla="val 60"/>
                <a:gd name="f17" fmla="val 6"/>
                <a:gd name="f18" fmla="val 54"/>
                <a:gd name="f19" fmla="val 12"/>
                <a:gd name="f20" fmla="val 24"/>
                <a:gd name="f21" fmla="+- 0 0 -90"/>
                <a:gd name="f22" fmla="*/ f3 1 66"/>
                <a:gd name="f23" fmla="*/ f4 1 90"/>
                <a:gd name="f24" fmla="val f5"/>
                <a:gd name="f25" fmla="val f6"/>
                <a:gd name="f26" fmla="val f7"/>
                <a:gd name="f27" fmla="*/ f21 f0 1"/>
                <a:gd name="f28" fmla="+- f26 0 f24"/>
                <a:gd name="f29" fmla="+- f25 0 f24"/>
                <a:gd name="f30" fmla="*/ f27 1 f2"/>
                <a:gd name="f31" fmla="*/ f29 1 66"/>
                <a:gd name="f32" fmla="*/ f28 1 90"/>
                <a:gd name="f33" fmla="*/ 2147483646 f29 1"/>
                <a:gd name="f34" fmla="*/ 2147483646 f28 1"/>
                <a:gd name="f35" fmla="*/ 0 f28 1"/>
                <a:gd name="f36" fmla="*/ 0 f29 1"/>
                <a:gd name="f37" fmla="+- f30 0 f1"/>
                <a:gd name="f38" fmla="*/ f33 1 66"/>
                <a:gd name="f39" fmla="*/ f34 1 90"/>
                <a:gd name="f40" fmla="*/ f35 1 90"/>
                <a:gd name="f41" fmla="*/ f36 1 66"/>
                <a:gd name="f42" fmla="*/ 0 1 f31"/>
                <a:gd name="f43" fmla="*/ f25 1 f31"/>
                <a:gd name="f44" fmla="*/ 0 1 f32"/>
                <a:gd name="f45" fmla="*/ f26 1 f32"/>
                <a:gd name="f46" fmla="*/ f38 1 f31"/>
                <a:gd name="f47" fmla="*/ f39 1 f32"/>
                <a:gd name="f48" fmla="*/ f40 1 f32"/>
                <a:gd name="f49" fmla="*/ f41 1 f31"/>
                <a:gd name="f50" fmla="*/ f42 f22 1"/>
                <a:gd name="f51" fmla="*/ f43 f22 1"/>
                <a:gd name="f52" fmla="*/ f45 f23 1"/>
                <a:gd name="f53" fmla="*/ f44 f23 1"/>
                <a:gd name="f54" fmla="*/ f46 f22 1"/>
                <a:gd name="f55" fmla="*/ f47 f23 1"/>
                <a:gd name="f56" fmla="*/ f48 f23 1"/>
                <a:gd name="f57" fmla="*/ f49 f2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6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7" y="f55"/>
                </a:cxn>
                <a:cxn ang="f37">
                  <a:pos x="f54" y="f55"/>
                </a:cxn>
                <a:cxn ang="f37">
                  <a:pos x="f54" y="f55"/>
                </a:cxn>
              </a:cxnLst>
              <a:rect l="f50" t="f53" r="f51" b="f52"/>
              <a:pathLst>
                <a:path w="66" h="90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7"/>
                  </a:lnTo>
                  <a:lnTo>
                    <a:pt x="f15" y="f11"/>
                  </a:lnTo>
                  <a:lnTo>
                    <a:pt x="f15" y="f16"/>
                  </a:lnTo>
                  <a:lnTo>
                    <a:pt x="f16" y="f15"/>
                  </a:lnTo>
                  <a:lnTo>
                    <a:pt x="f16" y="f10"/>
                  </a:lnTo>
                  <a:lnTo>
                    <a:pt x="f6" y="f8"/>
                  </a:lnTo>
                  <a:lnTo>
                    <a:pt x="f6" y="f17"/>
                  </a:lnTo>
                  <a:lnTo>
                    <a:pt x="f6" y="f5"/>
                  </a:lnTo>
                  <a:lnTo>
                    <a:pt x="f18" y="f17"/>
                  </a:lnTo>
                  <a:lnTo>
                    <a:pt x="f12" y="f19"/>
                  </a:lnTo>
                  <a:lnTo>
                    <a:pt x="f12" y="f10"/>
                  </a:lnTo>
                  <a:lnTo>
                    <a:pt x="f20" y="f8"/>
                  </a:lnTo>
                  <a:lnTo>
                    <a:pt x="f19" y="f18"/>
                  </a:lnTo>
                  <a:lnTo>
                    <a:pt x="f5" y="f6"/>
                  </a:lnTo>
                  <a:lnTo>
                    <a:pt x="f17" y="f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2" name="Freeform 346">
              <a:extLst>
                <a:ext uri="{FF2B5EF4-FFF2-40B4-BE49-F238E27FC236}">
                  <a16:creationId xmlns:a16="http://schemas.microsoft.com/office/drawing/2014/main" id="{753AACD1-C6D2-53E1-6A64-660503314CFE}"/>
                </a:ext>
              </a:extLst>
            </p:cNvPr>
            <p:cNvSpPr/>
            <p:nvPr/>
          </p:nvSpPr>
          <p:spPr>
            <a:xfrm rot="20966199">
              <a:off x="6240118" y="3251286"/>
              <a:ext cx="163366" cy="16035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874"/>
                <a:gd name="f7" fmla="val 10000"/>
                <a:gd name="f8" fmla="val 9677"/>
                <a:gd name="f9" fmla="val 735"/>
                <a:gd name="f10" fmla="val 489"/>
                <a:gd name="f11" fmla="val 9223"/>
                <a:gd name="f12" fmla="val 488"/>
                <a:gd name="f13" fmla="val 8813"/>
                <a:gd name="f14" fmla="val 5802"/>
                <a:gd name="f15" fmla="val 299"/>
                <a:gd name="f16" fmla="val 3889"/>
                <a:gd name="f17" fmla="val 1094"/>
                <a:gd name="f18" fmla="val 1667"/>
                <a:gd name="f19" fmla="val 1588"/>
                <a:gd name="f20" fmla="val 2083"/>
                <a:gd name="f21" fmla="val 1111"/>
                <a:gd name="f22" fmla="val 3073"/>
                <a:gd name="f23" fmla="val 4062"/>
                <a:gd name="f24" fmla="val 5547"/>
                <a:gd name="f25" fmla="val 3333"/>
                <a:gd name="f26" fmla="val 6042"/>
                <a:gd name="f27" fmla="val 2222"/>
                <a:gd name="f28" fmla="val 7031"/>
                <a:gd name="f29" fmla="val 9010"/>
                <a:gd name="f30" fmla="val 4445"/>
                <a:gd name="f31" fmla="val 5555"/>
                <a:gd name="f32" fmla="val 8021"/>
                <a:gd name="f33" fmla="val 7777"/>
                <a:gd name="f34" fmla="val 5052"/>
                <a:gd name="f35" fmla="val 2578"/>
                <a:gd name="f36" fmla="val 9152"/>
                <a:gd name="f37" fmla="val 1778"/>
                <a:gd name="f38" fmla="val 9179"/>
                <a:gd name="f39" fmla="val 1136"/>
                <a:gd name="f40" fmla="val 9413"/>
                <a:gd name="f41" fmla="val 901"/>
                <a:gd name="f42" fmla="+- 0 0 -90"/>
                <a:gd name="f43" fmla="*/ f3 1 9874"/>
                <a:gd name="f44" fmla="*/ f4 1 10000"/>
                <a:gd name="f45" fmla="val f5"/>
                <a:gd name="f46" fmla="val f6"/>
                <a:gd name="f47" fmla="val f7"/>
                <a:gd name="f48" fmla="*/ f42 f0 1"/>
                <a:gd name="f49" fmla="+- f47 0 f45"/>
                <a:gd name="f50" fmla="+- f46 0 f45"/>
                <a:gd name="f51" fmla="*/ f48 1 f2"/>
                <a:gd name="f52" fmla="*/ f50 1 9874"/>
                <a:gd name="f53" fmla="*/ f49 1 10000"/>
                <a:gd name="f54" fmla="*/ 2147483646 f50 1"/>
                <a:gd name="f55" fmla="*/ 2147483646 f49 1"/>
                <a:gd name="f56" fmla="*/ 0 f49 1"/>
                <a:gd name="f57" fmla="*/ 0 f50 1"/>
                <a:gd name="f58" fmla="+- f51 0 f1"/>
                <a:gd name="f59" fmla="*/ f54 1 9874"/>
                <a:gd name="f60" fmla="*/ f55 1 10000"/>
                <a:gd name="f61" fmla="*/ f56 1 10000"/>
                <a:gd name="f62" fmla="*/ f57 1 9874"/>
                <a:gd name="f63" fmla="*/ 0 1 f52"/>
                <a:gd name="f64" fmla="*/ f46 1 f52"/>
                <a:gd name="f65" fmla="*/ 0 1 f53"/>
                <a:gd name="f66" fmla="*/ f47 1 f53"/>
                <a:gd name="f67" fmla="*/ f59 1 f52"/>
                <a:gd name="f68" fmla="*/ f60 1 f53"/>
                <a:gd name="f69" fmla="*/ f61 1 f53"/>
                <a:gd name="f70" fmla="*/ f62 1 f52"/>
                <a:gd name="f71" fmla="*/ f63 f43 1"/>
                <a:gd name="f72" fmla="*/ f64 f43 1"/>
                <a:gd name="f73" fmla="*/ f66 f44 1"/>
                <a:gd name="f74" fmla="*/ f65 f44 1"/>
                <a:gd name="f75" fmla="*/ f67 f43 1"/>
                <a:gd name="f76" fmla="*/ f68 f44 1"/>
                <a:gd name="f77" fmla="*/ f69 f44 1"/>
                <a:gd name="f78" fmla="*/ f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7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8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  <a:cxn ang="f58">
                  <a:pos x="f75" y="f76"/>
                </a:cxn>
              </a:cxnLst>
              <a:rect l="f71" t="f74" r="f72" b="f73"/>
              <a:pathLst>
                <a:path w="9874" h="10000">
                  <a:moveTo>
                    <a:pt x="f8" y="f9"/>
                  </a:moveTo>
                  <a:lnTo>
                    <a:pt x="f6" y="f10"/>
                  </a:lnTo>
                  <a:lnTo>
                    <a:pt x="f11" y="f12"/>
                  </a:lnTo>
                  <a:lnTo>
                    <a:pt x="f13" y="f5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18" y="f20"/>
                  </a:lnTo>
                  <a:lnTo>
                    <a:pt x="f21" y="f22"/>
                  </a:lnTo>
                  <a:lnTo>
                    <a:pt x="f5" y="f23"/>
                  </a:lnTo>
                  <a:lnTo>
                    <a:pt x="f21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7" y="f29"/>
                  </a:lnTo>
                  <a:lnTo>
                    <a:pt x="f30" y="f7"/>
                  </a:lnTo>
                  <a:lnTo>
                    <a:pt x="f31" y="f29"/>
                  </a:lnTo>
                  <a:lnTo>
                    <a:pt x="f31" y="f32"/>
                  </a:lnTo>
                  <a:lnTo>
                    <a:pt x="f33" y="f28"/>
                  </a:lnTo>
                  <a:lnTo>
                    <a:pt x="f31" y="f34"/>
                  </a:lnTo>
                  <a:lnTo>
                    <a:pt x="f31" y="f23"/>
                  </a:lnTo>
                  <a:lnTo>
                    <a:pt x="f30" y="f35"/>
                  </a:lnTo>
                  <a:lnTo>
                    <a:pt x="f33" y="f20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3" name="Freeform 351">
              <a:extLst>
                <a:ext uri="{FF2B5EF4-FFF2-40B4-BE49-F238E27FC236}">
                  <a16:creationId xmlns:a16="http://schemas.microsoft.com/office/drawing/2014/main" id="{C38D1C99-D1D2-A5CA-3253-57C75B3EB1DF}"/>
                </a:ext>
              </a:extLst>
            </p:cNvPr>
            <p:cNvSpPr/>
            <p:nvPr/>
          </p:nvSpPr>
          <p:spPr>
            <a:xfrm>
              <a:off x="6230317" y="3002184"/>
              <a:ext cx="210750" cy="16503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8952"/>
                <a:gd name="f8" fmla="val 4746"/>
                <a:gd name="f9" fmla="val 9789"/>
                <a:gd name="f10" fmla="val 4438"/>
                <a:gd name="f11" fmla="val 4036"/>
                <a:gd name="f12" fmla="val 10125"/>
                <a:gd name="f13" fmla="val 3229"/>
                <a:gd name="f14" fmla="val 10054"/>
                <a:gd name="f15" fmla="val 3000"/>
                <a:gd name="f16" fmla="val 9628"/>
                <a:gd name="f17" fmla="val 2328"/>
                <a:gd name="f18" fmla="val 9201"/>
                <a:gd name="f19" fmla="val 1655"/>
                <a:gd name="f20" fmla="val 8028"/>
                <a:gd name="f21" fmla="val 776"/>
                <a:gd name="f22" fmla="val 7229"/>
                <a:gd name="f23" fmla="val 6677"/>
                <a:gd name="f24" fmla="val 239"/>
                <a:gd name="f25" fmla="val 6358"/>
                <a:gd name="f26" fmla="val 529"/>
                <a:gd name="f27" fmla="val 5576"/>
                <a:gd name="f28" fmla="val 715"/>
                <a:gd name="f29" fmla="val 4794"/>
                <a:gd name="f30" fmla="val 901"/>
                <a:gd name="f31" fmla="val 3551"/>
                <a:gd name="f32" fmla="val 983"/>
                <a:gd name="f33" fmla="val 2539"/>
                <a:gd name="f34" fmla="val 1118"/>
                <a:gd name="f35" fmla="val 2201"/>
                <a:gd name="f36" fmla="val 1188"/>
                <a:gd name="f37" fmla="val 2730"/>
                <a:gd name="f38" fmla="val 963"/>
                <a:gd name="f39" fmla="val 3268"/>
                <a:gd name="f40" fmla="val 631"/>
                <a:gd name="f41" fmla="val 4031"/>
                <a:gd name="f42" fmla="val 513"/>
                <a:gd name="f43" fmla="val 4343"/>
                <a:gd name="f44" fmla="val 396"/>
                <a:gd name="f45" fmla="val 4654"/>
                <a:gd name="f46" fmla="val 496"/>
                <a:gd name="f47" fmla="val 4524"/>
                <a:gd name="f48" fmla="val 482"/>
                <a:gd name="f49" fmla="val 4603"/>
                <a:gd name="f50" fmla="val 467"/>
                <a:gd name="f51" fmla="val 4681"/>
                <a:gd name="f52" fmla="val 503"/>
                <a:gd name="f53" fmla="val 4723"/>
                <a:gd name="f54" fmla="val 422"/>
                <a:gd name="f55" fmla="val 4817"/>
                <a:gd name="f56" fmla="val 342"/>
                <a:gd name="f57" fmla="val 4911"/>
                <a:gd name="f58" fmla="val -28"/>
                <a:gd name="f59" fmla="val 5153"/>
                <a:gd name="f60" fmla="val 2"/>
                <a:gd name="f61" fmla="val 5165"/>
                <a:gd name="f62" fmla="val 871"/>
                <a:gd name="f63" fmla="val 6361"/>
                <a:gd name="f64" fmla="val 1309"/>
                <a:gd name="f65" fmla="val 7628"/>
                <a:gd name="f66" fmla="val 1789"/>
                <a:gd name="f67" fmla="val 8230"/>
                <a:gd name="f68" fmla="val 2266"/>
                <a:gd name="f69" fmla="val 8832"/>
                <a:gd name="f70" fmla="val 2645"/>
                <a:gd name="f71" fmla="val 8558"/>
                <a:gd name="f72" fmla="val 2875"/>
                <a:gd name="f73" fmla="val 8776"/>
                <a:gd name="f74" fmla="val 3105"/>
                <a:gd name="f75" fmla="val 8994"/>
                <a:gd name="f76" fmla="val 2722"/>
                <a:gd name="f77" fmla="val 9336"/>
                <a:gd name="f78" fmla="val 3174"/>
                <a:gd name="f79" fmla="val 9539"/>
                <a:gd name="f80" fmla="val 3626"/>
                <a:gd name="f81" fmla="val 9742"/>
                <a:gd name="f82" fmla="val 4682"/>
                <a:gd name="f83" fmla="val 10053"/>
                <a:gd name="f84" fmla="val 5588"/>
                <a:gd name="f85" fmla="val 9993"/>
                <a:gd name="f86" fmla="val 6494"/>
                <a:gd name="f87" fmla="val 9933"/>
                <a:gd name="f88" fmla="val 8055"/>
                <a:gd name="f89" fmla="val 9717"/>
                <a:gd name="f90" fmla="val 8615"/>
                <a:gd name="f91" fmla="val 9179"/>
                <a:gd name="f92" fmla="val 9175"/>
                <a:gd name="f93" fmla="val 8641"/>
                <a:gd name="f94" fmla="val 8840"/>
                <a:gd name="f95" fmla="val 7567"/>
                <a:gd name="f96" fmla="val 6761"/>
                <a:gd name="f97" fmla="val 9591"/>
                <a:gd name="f98" fmla="val 6168"/>
                <a:gd name="f99" fmla="val 9555"/>
                <a:gd name="f100" fmla="val 5977"/>
                <a:gd name="f101" fmla="val 9518"/>
                <a:gd name="f102" fmla="val 5787"/>
                <a:gd name="f103" fmla="val 9629"/>
                <a:gd name="f104" fmla="val 5384"/>
                <a:gd name="f105" fmla="val 5149"/>
                <a:gd name="f106" fmla="+- 0 0 -90"/>
                <a:gd name="f107" fmla="*/ f3 1 10000"/>
                <a:gd name="f108" fmla="*/ f4 1 10000"/>
                <a:gd name="f109" fmla="val f5"/>
                <a:gd name="f110" fmla="val f6"/>
                <a:gd name="f111" fmla="*/ f106 f0 1"/>
                <a:gd name="f112" fmla="+- f110 0 f109"/>
                <a:gd name="f113" fmla="*/ f111 1 f2"/>
                <a:gd name="f114" fmla="*/ f112 1 10000"/>
                <a:gd name="f115" fmla="*/ 2147483646 f112 1"/>
                <a:gd name="f116" fmla="*/ 0 f112 1"/>
                <a:gd name="f117" fmla="*/ 147736086 f112 1"/>
                <a:gd name="f118" fmla="+- f113 0 f1"/>
                <a:gd name="f119" fmla="*/ f115 1 10000"/>
                <a:gd name="f120" fmla="*/ f116 1 10000"/>
                <a:gd name="f121" fmla="*/ f117 1 10000"/>
                <a:gd name="f122" fmla="*/ 0 1 f114"/>
                <a:gd name="f123" fmla="*/ f110 1 f114"/>
                <a:gd name="f124" fmla="*/ f119 1 f114"/>
                <a:gd name="f125" fmla="*/ f120 1 f114"/>
                <a:gd name="f126" fmla="*/ f121 1 f114"/>
                <a:gd name="f127" fmla="*/ f122 f107 1"/>
                <a:gd name="f128" fmla="*/ f123 f107 1"/>
                <a:gd name="f129" fmla="*/ f123 f108 1"/>
                <a:gd name="f130" fmla="*/ f122 f108 1"/>
                <a:gd name="f131" fmla="*/ f124 f107 1"/>
                <a:gd name="f132" fmla="*/ f124 f108 1"/>
                <a:gd name="f133" fmla="*/ f125 f108 1"/>
                <a:gd name="f134" fmla="*/ f126 f10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3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4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  <a:cxn ang="f118">
                  <a:pos x="f131" y="f132"/>
                </a:cxn>
              </a:cxnLst>
              <a:rect l="f127" t="f130" r="f128" b="f129"/>
              <a:pathLst>
                <a:path w="10000" h="10000">
                  <a:moveTo>
                    <a:pt x="f7" y="f8"/>
                  </a:moveTo>
                  <a:cubicBezTo>
                    <a:pt x="f7" y="f8"/>
                    <a:pt x="f9" y="f10"/>
                    <a:pt x="f9" y="f11"/>
                  </a:cubicBezTo>
                  <a:cubicBezTo>
                    <a:pt x="f12" y="f13"/>
                    <a:pt x="f14" y="f15"/>
                    <a:pt x="f16" y="f17"/>
                  </a:cubicBezTo>
                  <a:cubicBezTo>
                    <a:pt x="f18" y="f19"/>
                    <a:pt x="f20" y="f21"/>
                    <a:pt x="f22" y="f5"/>
                  </a:cubicBezTo>
                  <a:cubicBezTo>
                    <a:pt x="f23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lnTo>
                    <a:pt x="f35" y="f28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6" y="f67"/>
                  </a:cubicBezTo>
                  <a:cubicBezTo>
                    <a:pt x="f68" y="f69"/>
                    <a:pt x="f70" y="f71"/>
                    <a:pt x="f72" y="f73"/>
                  </a:cubicBezTo>
                  <a:cubicBezTo>
                    <a:pt x="f74" y="f75"/>
                    <a:pt x="f76" y="f77"/>
                    <a:pt x="f78" y="f79"/>
                  </a:cubicBezTo>
                  <a:cubicBezTo>
                    <a:pt x="f80" y="f81"/>
                    <a:pt x="f82" y="f83"/>
                    <a:pt x="f84" y="f85"/>
                  </a:cubicBezTo>
                  <a:cubicBezTo>
                    <a:pt x="f86" y="f87"/>
                    <a:pt x="f88" y="f89"/>
                    <a:pt x="f90" y="f91"/>
                  </a:cubicBezTo>
                  <a:cubicBezTo>
                    <a:pt x="f92" y="f93"/>
                    <a:pt x="f94" y="f95"/>
                    <a:pt x="f7" y="f96"/>
                  </a:cubicBezTo>
                  <a:lnTo>
                    <a:pt x="f16" y="f25"/>
                  </a:lnTo>
                  <a:cubicBezTo>
                    <a:pt x="f97" y="f98"/>
                    <a:pt x="f99" y="f100"/>
                    <a:pt x="f101" y="f102"/>
                  </a:cubicBezTo>
                  <a:cubicBezTo>
                    <a:pt x="f103" y="f104"/>
                    <a:pt x="f94" y="f105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4" name="Freeform 353">
              <a:extLst>
                <a:ext uri="{FF2B5EF4-FFF2-40B4-BE49-F238E27FC236}">
                  <a16:creationId xmlns:a16="http://schemas.microsoft.com/office/drawing/2014/main" id="{3E0B04DA-D4B0-47B1-9D2B-AFE00997B6C5}"/>
                </a:ext>
              </a:extLst>
            </p:cNvPr>
            <p:cNvSpPr/>
            <p:nvPr/>
          </p:nvSpPr>
          <p:spPr>
            <a:xfrm>
              <a:off x="6017938" y="2925896"/>
              <a:ext cx="163366" cy="8096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569"/>
                <a:gd name="f7" fmla="val 10092"/>
                <a:gd name="f8" fmla="val 5925"/>
                <a:gd name="f9" fmla="val 10249"/>
                <a:gd name="f10" fmla="val 5077"/>
                <a:gd name="f11" fmla="val 8682"/>
                <a:gd name="f12" fmla="val 4197"/>
                <a:gd name="f13" fmla="val 7738"/>
                <a:gd name="f14" fmla="val 3333"/>
                <a:gd name="f15" fmla="val 5920"/>
                <a:gd name="f16" fmla="val 1667"/>
                <a:gd name="f17" fmla="val 4102"/>
                <a:gd name="f18" fmla="val 833"/>
                <a:gd name="f19" fmla="val 3193"/>
                <a:gd name="f20" fmla="val 2738"/>
                <a:gd name="f21" fmla="val 1829"/>
                <a:gd name="f22" fmla="val 920"/>
                <a:gd name="f23" fmla="val 2500"/>
                <a:gd name="f24" fmla="val 617"/>
                <a:gd name="f25" fmla="val 2778"/>
                <a:gd name="f26" fmla="val 87"/>
                <a:gd name="f27" fmla="val 3007"/>
                <a:gd name="f28" fmla="val 11"/>
                <a:gd name="f29" fmla="val -65"/>
                <a:gd name="f30" fmla="val 3659"/>
                <a:gd name="f31" fmla="val 248"/>
                <a:gd name="f32" fmla="val 4018"/>
                <a:gd name="f33" fmla="val 466"/>
                <a:gd name="f34" fmla="val 4459"/>
                <a:gd name="f35" fmla="val 684"/>
                <a:gd name="f36" fmla="val 4900"/>
                <a:gd name="f37" fmla="val 1019"/>
                <a:gd name="f38" fmla="val 5333"/>
                <a:gd name="f39" fmla="val 1322"/>
                <a:gd name="f40" fmla="val 5979"/>
                <a:gd name="f41" fmla="val 1625"/>
                <a:gd name="f42" fmla="val 6625"/>
                <a:gd name="f43" fmla="val 2048"/>
                <a:gd name="f44" fmla="val 7802"/>
                <a:gd name="f45" fmla="val 2284"/>
                <a:gd name="f46" fmla="val 8333"/>
                <a:gd name="f47" fmla="val 2520"/>
                <a:gd name="f48" fmla="val 8864"/>
                <a:gd name="f49" fmla="val 2583"/>
                <a:gd name="f50" fmla="val 8874"/>
                <a:gd name="f51" fmla="val 9167"/>
                <a:gd name="f52" fmla="val 2893"/>
                <a:gd name="f53" fmla="val 9460"/>
                <a:gd name="f54" fmla="val 3217"/>
                <a:gd name="f55" fmla="val 4581"/>
                <a:gd name="f56" fmla="val 9994"/>
                <a:gd name="f57" fmla="val 4785"/>
                <a:gd name="f58" fmla="val 9440"/>
                <a:gd name="f59" fmla="val 5654"/>
                <a:gd name="f60" fmla="val 9714"/>
                <a:gd name="f61" fmla="val 5539"/>
                <a:gd name="f62" fmla="val 9160"/>
                <a:gd name="f63" fmla="val 5853"/>
                <a:gd name="f64" fmla="val 9260"/>
                <a:gd name="f65" fmla="val 6250"/>
                <a:gd name="f66" fmla="val 9364"/>
                <a:gd name="f67" fmla="val 6402"/>
                <a:gd name="f68" fmla="val 9410"/>
                <a:gd name="f69" fmla="val 6554"/>
                <a:gd name="f70" fmla="val 9456"/>
                <a:gd name="f71" fmla="val 6377"/>
                <a:gd name="f72" fmla="val 9434"/>
                <a:gd name="f73" fmla="val 6453"/>
                <a:gd name="f74" fmla="val 6529"/>
                <a:gd name="f75" fmla="val 6505"/>
                <a:gd name="f76" fmla="val 9504"/>
                <a:gd name="f77" fmla="val 6723"/>
                <a:gd name="f78" fmla="val 9605"/>
                <a:gd name="f79" fmla="val 6941"/>
                <a:gd name="f80" fmla="val 9707"/>
                <a:gd name="f81" fmla="val 7421"/>
                <a:gd name="f82" fmla="val 10085"/>
                <a:gd name="f83" fmla="val 7759"/>
                <a:gd name="f84" fmla="val 10043"/>
                <a:gd name="f85" fmla="val 8097"/>
                <a:gd name="f86" fmla="val 10001"/>
                <a:gd name="f87" fmla="val 8436"/>
                <a:gd name="f88" fmla="val 9626"/>
                <a:gd name="f89" fmla="val 8753"/>
                <a:gd name="f90" fmla="val 9355"/>
                <a:gd name="f91" fmla="val 9070"/>
                <a:gd name="f92" fmla="val 9084"/>
                <a:gd name="f93" fmla="val 8347"/>
                <a:gd name="f94" fmla="val 9964"/>
                <a:gd name="f95" fmla="val 10391"/>
                <a:gd name="f96" fmla="val 9757"/>
                <a:gd name="f97" fmla="+- 0 0 -90"/>
                <a:gd name="f98" fmla="*/ f3 1 10569"/>
                <a:gd name="f99" fmla="*/ f4 1 10092"/>
                <a:gd name="f100" fmla="val f5"/>
                <a:gd name="f101" fmla="val f6"/>
                <a:gd name="f102" fmla="val f7"/>
                <a:gd name="f103" fmla="*/ f97 f0 1"/>
                <a:gd name="f104" fmla="+- f102 0 f100"/>
                <a:gd name="f105" fmla="+- f101 0 f100"/>
                <a:gd name="f106" fmla="*/ f103 1 f2"/>
                <a:gd name="f107" fmla="*/ f105 1 10569"/>
                <a:gd name="f108" fmla="*/ f104 1 10092"/>
                <a:gd name="f109" fmla="*/ 2147483646 f105 1"/>
                <a:gd name="f110" fmla="*/ 1784266055 f104 1"/>
                <a:gd name="f111" fmla="*/ 1003710399 f104 1"/>
                <a:gd name="f112" fmla="*/ 502000758 f104 1"/>
                <a:gd name="f113" fmla="*/ 0 f104 1"/>
                <a:gd name="f114" fmla="*/ 250834547 f104 1"/>
                <a:gd name="f115" fmla="*/ 752875852 f104 1"/>
                <a:gd name="f116" fmla="*/ 126895188 f105 1"/>
                <a:gd name="f117" fmla="*/ 1342794782 f104 1"/>
                <a:gd name="f118" fmla="*/ 1800525632 f104 1"/>
                <a:gd name="f119" fmla="*/ 2147483646 f104 1"/>
                <a:gd name="f120" fmla="+- f106 0 f1"/>
                <a:gd name="f121" fmla="*/ f109 1 10569"/>
                <a:gd name="f122" fmla="*/ f110 1 10092"/>
                <a:gd name="f123" fmla="*/ f111 1 10092"/>
                <a:gd name="f124" fmla="*/ f112 1 10092"/>
                <a:gd name="f125" fmla="*/ f113 1 10092"/>
                <a:gd name="f126" fmla="*/ f114 1 10092"/>
                <a:gd name="f127" fmla="*/ f115 1 10092"/>
                <a:gd name="f128" fmla="*/ f116 1 10569"/>
                <a:gd name="f129" fmla="*/ f117 1 10092"/>
                <a:gd name="f130" fmla="*/ f118 1 10092"/>
                <a:gd name="f131" fmla="*/ f119 1 10092"/>
                <a:gd name="f132" fmla="*/ 0 1 f107"/>
                <a:gd name="f133" fmla="*/ f101 1 f107"/>
                <a:gd name="f134" fmla="*/ 0 1 f108"/>
                <a:gd name="f135" fmla="*/ f102 1 f108"/>
                <a:gd name="f136" fmla="*/ f121 1 f107"/>
                <a:gd name="f137" fmla="*/ f122 1 f108"/>
                <a:gd name="f138" fmla="*/ f123 1 f108"/>
                <a:gd name="f139" fmla="*/ f124 1 f108"/>
                <a:gd name="f140" fmla="*/ f125 1 f108"/>
                <a:gd name="f141" fmla="*/ f126 1 f108"/>
                <a:gd name="f142" fmla="*/ f127 1 f108"/>
                <a:gd name="f143" fmla="*/ f128 1 f107"/>
                <a:gd name="f144" fmla="*/ f129 1 f108"/>
                <a:gd name="f145" fmla="*/ f130 1 f108"/>
                <a:gd name="f146" fmla="*/ f131 1 f108"/>
                <a:gd name="f147" fmla="*/ f132 f98 1"/>
                <a:gd name="f148" fmla="*/ f133 f98 1"/>
                <a:gd name="f149" fmla="*/ f135 f99 1"/>
                <a:gd name="f150" fmla="*/ f134 f99 1"/>
                <a:gd name="f151" fmla="*/ f136 f98 1"/>
                <a:gd name="f152" fmla="*/ f137 f99 1"/>
                <a:gd name="f153" fmla="*/ f138 f99 1"/>
                <a:gd name="f154" fmla="*/ f139 f99 1"/>
                <a:gd name="f155" fmla="*/ f140 f99 1"/>
                <a:gd name="f156" fmla="*/ f141 f99 1"/>
                <a:gd name="f157" fmla="*/ f142 f99 1"/>
                <a:gd name="f158" fmla="*/ f143 f98 1"/>
                <a:gd name="f159" fmla="*/ f144 f99 1"/>
                <a:gd name="f160" fmla="*/ f145 f99 1"/>
                <a:gd name="f161" fmla="*/ f146 f9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0">
                  <a:pos x="f151" y="f152"/>
                </a:cxn>
                <a:cxn ang="f120">
                  <a:pos x="f151" y="f153"/>
                </a:cxn>
                <a:cxn ang="f120">
                  <a:pos x="f151" y="f154"/>
                </a:cxn>
                <a:cxn ang="f120">
                  <a:pos x="f151" y="f155"/>
                </a:cxn>
                <a:cxn ang="f120">
                  <a:pos x="f151" y="f156"/>
                </a:cxn>
                <a:cxn ang="f120">
                  <a:pos x="f151" y="f155"/>
                </a:cxn>
                <a:cxn ang="f120">
                  <a:pos x="f151" y="f156"/>
                </a:cxn>
                <a:cxn ang="f120">
                  <a:pos x="f151" y="f154"/>
                </a:cxn>
                <a:cxn ang="f120">
                  <a:pos x="f151" y="f157"/>
                </a:cxn>
                <a:cxn ang="f120">
                  <a:pos x="f158" y="f153"/>
                </a:cxn>
                <a:cxn ang="f120">
                  <a:pos x="f151" y="f159"/>
                </a:cxn>
                <a:cxn ang="f120">
                  <a:pos x="f151" y="f160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  <a:cxn ang="f120">
                  <a:pos x="f151" y="f161"/>
                </a:cxn>
              </a:cxnLst>
              <a:rect l="f147" t="f150" r="f148" b="f149"/>
              <a:pathLst>
                <a:path w="10569" h="10092">
                  <a:moveTo>
                    <a:pt x="f6" y="f8"/>
                  </a:moveTo>
                  <a:cubicBezTo>
                    <a:pt x="f9" y="f10"/>
                    <a:pt x="f11" y="f12"/>
                    <a:pt x="f13" y="f14"/>
                  </a:cubicBezTo>
                  <a:lnTo>
                    <a:pt x="f15" y="f16"/>
                  </a:lnTo>
                  <a:lnTo>
                    <a:pt x="f17" y="f5"/>
                  </a:lnTo>
                  <a:lnTo>
                    <a:pt x="f17" y="f18"/>
                  </a:lnTo>
                  <a:lnTo>
                    <a:pt x="f19" y="f5"/>
                  </a:lnTo>
                  <a:lnTo>
                    <a:pt x="f20" y="f18"/>
                  </a:lnTo>
                  <a:lnTo>
                    <a:pt x="f21" y="f16"/>
                  </a:lnTo>
                  <a:lnTo>
                    <a:pt x="f22" y="f23"/>
                  </a:lnTo>
                  <a:cubicBezTo>
                    <a:pt x="f24" y="f25"/>
                    <a:pt x="f26" y="f27"/>
                    <a:pt x="f28" y="f14"/>
                  </a:cubicBez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20" y="f51"/>
                  </a:cubicBezTo>
                  <a:cubicBezTo>
                    <a:pt x="f52" y="f53"/>
                    <a:pt x="f54" y="f7"/>
                    <a:pt x="f54" y="f7"/>
                  </a:cubicBezTo>
                  <a:cubicBezTo>
                    <a:pt x="f55" y="f7"/>
                    <a:pt x="f36" y="f56"/>
                    <a:pt x="f36" y="f56"/>
                  </a:cubicBezTo>
                  <a:cubicBezTo>
                    <a:pt x="f57" y="f58"/>
                    <a:pt x="f59" y="f60"/>
                    <a:pt x="f61" y="f62"/>
                  </a:cubicBez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73" y="f72"/>
                  </a:cubicBezTo>
                  <a:cubicBezTo>
                    <a:pt x="f74" y="f72"/>
                    <a:pt x="f75" y="f76"/>
                    <a:pt x="f77" y="f78"/>
                  </a:cubicBezTo>
                  <a:cubicBezTo>
                    <a:pt x="f79" y="f80"/>
                    <a:pt x="f81" y="f82"/>
                    <a:pt x="f83" y="f84"/>
                  </a:cubicBezTo>
                  <a:cubicBezTo>
                    <a:pt x="f85" y="f86"/>
                    <a:pt x="f87" y="f88"/>
                    <a:pt x="f89" y="f90"/>
                  </a:cubicBezTo>
                  <a:cubicBezTo>
                    <a:pt x="f91" y="f92"/>
                    <a:pt x="f93" y="f94"/>
                    <a:pt x="f95" y="f96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5" name="Freeform 354">
              <a:extLst>
                <a:ext uri="{FF2B5EF4-FFF2-40B4-BE49-F238E27FC236}">
                  <a16:creationId xmlns:a16="http://schemas.microsoft.com/office/drawing/2014/main" id="{F661D7D4-EF02-68A3-B344-14ED2D6D134D}"/>
                </a:ext>
              </a:extLst>
            </p:cNvPr>
            <p:cNvSpPr/>
            <p:nvPr/>
          </p:nvSpPr>
          <p:spPr>
            <a:xfrm>
              <a:off x="6133930" y="3009975"/>
              <a:ext cx="142134" cy="9341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980"/>
                <a:gd name="f7" fmla="val 10000"/>
                <a:gd name="f8" fmla="val 7338"/>
                <a:gd name="f9" fmla="val 6885"/>
                <a:gd name="f10" fmla="val 506"/>
                <a:gd name="f11" fmla="val 6535"/>
                <a:gd name="f12" fmla="val 1151"/>
                <a:gd name="f13" fmla="val 5980"/>
                <a:gd name="f14" fmla="val 1519"/>
                <a:gd name="f15" fmla="val 5426"/>
                <a:gd name="f16" fmla="val 1887"/>
                <a:gd name="f17" fmla="val 4670"/>
                <a:gd name="f18" fmla="val 1978"/>
                <a:gd name="f19" fmla="val 4015"/>
                <a:gd name="f20" fmla="val 2207"/>
                <a:gd name="f21" fmla="val 2540"/>
                <a:gd name="f22" fmla="val 2895"/>
                <a:gd name="f23" fmla="val 2950"/>
                <a:gd name="f24" fmla="val 2822"/>
                <a:gd name="f25" fmla="val 2130"/>
                <a:gd name="f26" fmla="val 2968"/>
                <a:gd name="f27" fmla="val 1557"/>
                <a:gd name="f28" fmla="val 2645"/>
                <a:gd name="f29" fmla="val 1066"/>
                <a:gd name="f30" fmla="val 1958"/>
                <a:gd name="f31" fmla="val 1230"/>
                <a:gd name="f32" fmla="val 2051"/>
                <a:gd name="f33" fmla="val 902"/>
                <a:gd name="f34" fmla="val 2363"/>
                <a:gd name="f35" fmla="val 574"/>
                <a:gd name="f36" fmla="val 3582"/>
                <a:gd name="f37" fmla="val 409"/>
                <a:gd name="f38" fmla="val 4270"/>
                <a:gd name="f39" fmla="val 174"/>
                <a:gd name="f40" fmla="val 5254"/>
                <a:gd name="f41" fmla="val 82"/>
                <a:gd name="f42" fmla="val 5646"/>
                <a:gd name="f43" fmla="val -10"/>
                <a:gd name="f44" fmla="val 6038"/>
                <a:gd name="f45" fmla="val -16"/>
                <a:gd name="f46" fmla="val 5749"/>
                <a:gd name="f47" fmla="val 22"/>
                <a:gd name="f48" fmla="val 5937"/>
                <a:gd name="f49" fmla="val 60"/>
                <a:gd name="f50" fmla="val 6125"/>
                <a:gd name="f51" fmla="val 42"/>
                <a:gd name="f52" fmla="val 6197"/>
                <a:gd name="f53" fmla="val 312"/>
                <a:gd name="f54" fmla="val 6773"/>
                <a:gd name="f55" fmla="val 583"/>
                <a:gd name="f56" fmla="val 7349"/>
                <a:gd name="f57" fmla="val 1094"/>
                <a:gd name="f58" fmla="val 8858"/>
                <a:gd name="f59" fmla="val 1644"/>
                <a:gd name="f60" fmla="val 9396"/>
                <a:gd name="f61" fmla="val 2194"/>
                <a:gd name="f62" fmla="val 9934"/>
                <a:gd name="f63" fmla="val 3153"/>
                <a:gd name="f64" fmla="val 9997"/>
                <a:gd name="f65" fmla="val 3610"/>
                <a:gd name="f66" fmla="val 4068"/>
                <a:gd name="f67" fmla="val 10003"/>
                <a:gd name="f68" fmla="val 3989"/>
                <a:gd name="f69" fmla="val 9657"/>
                <a:gd name="f70" fmla="val 4389"/>
                <a:gd name="f71" fmla="val 9418"/>
                <a:gd name="f72" fmla="val 4788"/>
                <a:gd name="f73" fmla="val 9179"/>
                <a:gd name="f74" fmla="val 5720"/>
                <a:gd name="f75" fmla="val 8707"/>
                <a:gd name="f76" fmla="val 6009"/>
                <a:gd name="f77" fmla="val 8564"/>
                <a:gd name="f78" fmla="val 6298"/>
                <a:gd name="f79" fmla="val 8421"/>
                <a:gd name="f80" fmla="val 5883"/>
                <a:gd name="f81" fmla="val 8706"/>
                <a:gd name="f82" fmla="val 6124"/>
                <a:gd name="f83" fmla="val 6364"/>
                <a:gd name="f84" fmla="val 8422"/>
                <a:gd name="f85" fmla="val 7069"/>
                <a:gd name="f86" fmla="val 8310"/>
                <a:gd name="f87" fmla="val 7455"/>
                <a:gd name="f88" fmla="val 7709"/>
                <a:gd name="f89" fmla="val 7841"/>
                <a:gd name="f90" fmla="val 7109"/>
                <a:gd name="f91" fmla="val 8111"/>
                <a:gd name="f92" fmla="val 5875"/>
                <a:gd name="f93" fmla="val 8438"/>
                <a:gd name="f94" fmla="val 4958"/>
                <a:gd name="f95" fmla="val 8929"/>
                <a:gd name="f96" fmla="val 3812"/>
                <a:gd name="f97" fmla="val 9701"/>
                <a:gd name="f98" fmla="val 2324"/>
                <a:gd name="f99" fmla="val 9913"/>
                <a:gd name="f100" fmla="val 10125"/>
                <a:gd name="f101" fmla="val 713"/>
                <a:gd name="f102" fmla="val 9778"/>
                <a:gd name="f103" fmla="val 589"/>
                <a:gd name="f104" fmla="val 9710"/>
                <a:gd name="f105" fmla="val 125"/>
                <a:gd name="f106" fmla="val 9128"/>
                <a:gd name="f107" fmla="val 332"/>
                <a:gd name="f108" fmla="+- 0 0 -90"/>
                <a:gd name="f109" fmla="*/ f3 1 9980"/>
                <a:gd name="f110" fmla="*/ f4 1 10000"/>
                <a:gd name="f111" fmla="val f5"/>
                <a:gd name="f112" fmla="val f6"/>
                <a:gd name="f113" fmla="val f7"/>
                <a:gd name="f114" fmla="*/ f108 f0 1"/>
                <a:gd name="f115" fmla="+- f113 0 f111"/>
                <a:gd name="f116" fmla="+- f112 0 f111"/>
                <a:gd name="f117" fmla="*/ f114 1 f2"/>
                <a:gd name="f118" fmla="*/ f116 1 9980"/>
                <a:gd name="f119" fmla="*/ f115 1 10000"/>
                <a:gd name="f120" fmla="*/ 2147483646 f116 1"/>
                <a:gd name="f121" fmla="*/ 0 f115 1"/>
                <a:gd name="f122" fmla="*/ 1146309471 f115 1"/>
                <a:gd name="f123" fmla="*/ 1665489132 f115 1"/>
                <a:gd name="f124" fmla="*/ 2147483646 f115 1"/>
                <a:gd name="f125" fmla="*/ 1996026625 f115 1"/>
                <a:gd name="f126" fmla="*/ 579158307 f116 1"/>
                <a:gd name="f127" fmla="*/ 155334902 f116 1"/>
                <a:gd name="f128" fmla="*/ 94320627 f115 1"/>
                <a:gd name="f129" fmla="*/ 250572289 f115 1"/>
                <a:gd name="f130" fmla="+- f117 0 f1"/>
                <a:gd name="f131" fmla="*/ f120 1 9980"/>
                <a:gd name="f132" fmla="*/ f121 1 10000"/>
                <a:gd name="f133" fmla="*/ f122 1 10000"/>
                <a:gd name="f134" fmla="*/ f123 1 10000"/>
                <a:gd name="f135" fmla="*/ f124 1 10000"/>
                <a:gd name="f136" fmla="*/ f125 1 10000"/>
                <a:gd name="f137" fmla="*/ f126 1 9980"/>
                <a:gd name="f138" fmla="*/ f127 1 9980"/>
                <a:gd name="f139" fmla="*/ f128 1 10000"/>
                <a:gd name="f140" fmla="*/ f129 1 10000"/>
                <a:gd name="f141" fmla="*/ 0 1 f118"/>
                <a:gd name="f142" fmla="*/ f112 1 f118"/>
                <a:gd name="f143" fmla="*/ 0 1 f119"/>
                <a:gd name="f144" fmla="*/ f113 1 f119"/>
                <a:gd name="f145" fmla="*/ f131 1 f118"/>
                <a:gd name="f146" fmla="*/ f132 1 f119"/>
                <a:gd name="f147" fmla="*/ f133 1 f119"/>
                <a:gd name="f148" fmla="*/ f134 1 f119"/>
                <a:gd name="f149" fmla="*/ f135 1 f119"/>
                <a:gd name="f150" fmla="*/ f136 1 f119"/>
                <a:gd name="f151" fmla="*/ f137 1 f118"/>
                <a:gd name="f152" fmla="*/ f138 1 f118"/>
                <a:gd name="f153" fmla="*/ f139 1 f119"/>
                <a:gd name="f154" fmla="*/ f140 1 f119"/>
                <a:gd name="f155" fmla="*/ f141 f109 1"/>
                <a:gd name="f156" fmla="*/ f142 f109 1"/>
                <a:gd name="f157" fmla="*/ f144 f110 1"/>
                <a:gd name="f158" fmla="*/ f143 f110 1"/>
                <a:gd name="f159" fmla="*/ f145 f109 1"/>
                <a:gd name="f160" fmla="*/ f146 f110 1"/>
                <a:gd name="f161" fmla="*/ f147 f110 1"/>
                <a:gd name="f162" fmla="*/ f148 f110 1"/>
                <a:gd name="f163" fmla="*/ f149 f110 1"/>
                <a:gd name="f164" fmla="*/ f150 f110 1"/>
                <a:gd name="f165" fmla="*/ f151 f109 1"/>
                <a:gd name="f166" fmla="*/ f152 f109 1"/>
                <a:gd name="f167" fmla="*/ f153 f110 1"/>
                <a:gd name="f168" fmla="*/ f154 f1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30">
                  <a:pos x="f159" y="f160"/>
                </a:cxn>
                <a:cxn ang="f130">
                  <a:pos x="f159" y="f161"/>
                </a:cxn>
                <a:cxn ang="f130">
                  <a:pos x="f159" y="f162"/>
                </a:cxn>
                <a:cxn ang="f130">
                  <a:pos x="f159" y="f163"/>
                </a:cxn>
                <a:cxn ang="f130">
                  <a:pos x="f159" y="f164"/>
                </a:cxn>
                <a:cxn ang="f130">
                  <a:pos x="f159" y="f162"/>
                </a:cxn>
                <a:cxn ang="f130">
                  <a:pos x="f159" y="f163"/>
                </a:cxn>
                <a:cxn ang="f130">
                  <a:pos x="f165" y="f163"/>
                </a:cxn>
                <a:cxn ang="f130">
                  <a:pos x="f166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3"/>
                </a:cxn>
                <a:cxn ang="f130">
                  <a:pos x="f159" y="f161"/>
                </a:cxn>
                <a:cxn ang="f130">
                  <a:pos x="f159" y="f167"/>
                </a:cxn>
                <a:cxn ang="f130">
                  <a:pos x="f159" y="f168"/>
                </a:cxn>
                <a:cxn ang="f130">
                  <a:pos x="f159" y="f160"/>
                </a:cxn>
              </a:cxnLst>
              <a:rect l="f155" t="f158" r="f156" b="f157"/>
              <a:pathLst>
                <a:path w="9980" h="10000">
                  <a:moveTo>
                    <a:pt x="f8" y="f5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20"/>
                  </a:cubicBezTo>
                  <a:cubicBezTo>
                    <a:pt x="f21" y="f22"/>
                    <a:pt x="f23" y="f24"/>
                    <a:pt x="f21" y="f22"/>
                  </a:cubicBezTo>
                  <a:cubicBezTo>
                    <a:pt x="f25" y="f26"/>
                    <a:pt x="f27" y="f28"/>
                    <a:pt x="f27" y="f28"/>
                  </a:cubicBezTo>
                  <a:cubicBezTo>
                    <a:pt x="f29" y="f30"/>
                    <a:pt x="f31" y="f32"/>
                    <a:pt x="f29" y="f20"/>
                  </a:cubicBezTo>
                  <a:cubicBezTo>
                    <a:pt x="f33" y="f34"/>
                    <a:pt x="f35" y="f36"/>
                    <a:pt x="f35" y="f36"/>
                  </a:cubicBezTo>
                  <a:cubicBezTo>
                    <a:pt x="f37" y="f38"/>
                    <a:pt x="f39" y="f40"/>
                    <a:pt x="f41" y="f42"/>
                  </a:cubicBezTo>
                  <a:cubicBezTo>
                    <a:pt x="f43" y="f44"/>
                    <a:pt x="f45" y="f46"/>
                    <a:pt x="f47" y="f48"/>
                  </a:cubicBezTo>
                  <a:cubicBezTo>
                    <a:pt x="f49" y="f50"/>
                    <a:pt x="f51" y="f52"/>
                    <a:pt x="f53" y="f54"/>
                  </a:cubicBezTo>
                  <a:cubicBezTo>
                    <a:pt x="f55" y="f56"/>
                    <a:pt x="f57" y="f58"/>
                    <a:pt x="f59" y="f60"/>
                  </a:cubicBezTo>
                  <a:cubicBezTo>
                    <a:pt x="f61" y="f62"/>
                    <a:pt x="f63" y="f64"/>
                    <a:pt x="f65" y="f7"/>
                  </a:cubicBezTo>
                  <a:cubicBezTo>
                    <a:pt x="f66" y="f67"/>
                    <a:pt x="f68" y="f69"/>
                    <a:pt x="f70" y="f71"/>
                  </a:cubicBezTo>
                  <a:cubicBezTo>
                    <a:pt x="f72" y="f73"/>
                    <a:pt x="f74" y="f75"/>
                    <a:pt x="f76" y="f77"/>
                  </a:cubicBezTo>
                  <a:cubicBezTo>
                    <a:pt x="f78" y="f79"/>
                    <a:pt x="f80" y="f81"/>
                    <a:pt x="f82" y="f77"/>
                  </a:cubicBezTo>
                  <a:cubicBezTo>
                    <a:pt x="f83" y="f84"/>
                    <a:pt x="f85" y="f86"/>
                    <a:pt x="f87" y="f88"/>
                  </a:cubicBezTo>
                  <a:cubicBezTo>
                    <a:pt x="f89" y="f90"/>
                    <a:pt x="f91" y="f92"/>
                    <a:pt x="f93" y="f94"/>
                  </a:cubicBezTo>
                  <a:cubicBezTo>
                    <a:pt x="f95" y="f96"/>
                    <a:pt x="f97" y="f98"/>
                    <a:pt x="f99" y="f14"/>
                  </a:cubicBezTo>
                  <a:cubicBezTo>
                    <a:pt x="f100" y="f101"/>
                    <a:pt x="f102" y="f103"/>
                    <a:pt x="f104" y="f105"/>
                  </a:cubicBezTo>
                  <a:lnTo>
                    <a:pt x="f106" y="f107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6" name="Freeform 355">
              <a:extLst>
                <a:ext uri="{FF2B5EF4-FFF2-40B4-BE49-F238E27FC236}">
                  <a16:creationId xmlns:a16="http://schemas.microsoft.com/office/drawing/2014/main" id="{DC15209E-0E9A-6BA1-1B6E-8498F2BD0484}"/>
                </a:ext>
              </a:extLst>
            </p:cNvPr>
            <p:cNvSpPr/>
            <p:nvPr/>
          </p:nvSpPr>
          <p:spPr>
            <a:xfrm>
              <a:off x="6138831" y="2971049"/>
              <a:ext cx="137233" cy="68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9595"/>
                <a:gd name="f8" fmla="val 6210"/>
                <a:gd name="f9" fmla="val 584"/>
                <a:gd name="f10" fmla="val 5554"/>
                <a:gd name="f11" fmla="val 325"/>
                <a:gd name="f12" fmla="val 5389"/>
                <a:gd name="f13" fmla="val 258"/>
                <a:gd name="f14" fmla="val 5013"/>
                <a:gd name="f15" fmla="val 93"/>
                <a:gd name="f16" fmla="val 4637"/>
                <a:gd name="f17" fmla="val -72"/>
                <a:gd name="f18" fmla="val 4318"/>
                <a:gd name="f19" fmla="val 17"/>
                <a:gd name="f20" fmla="val 3953"/>
                <a:gd name="f21" fmla="val 99"/>
                <a:gd name="f22" fmla="val 2823"/>
                <a:gd name="f23" fmla="val 2259"/>
                <a:gd name="f24" fmla="val 2806"/>
                <a:gd name="f25" fmla="val 5029"/>
                <a:gd name="f26" fmla="val 565"/>
                <a:gd name="f27" fmla="val 7251"/>
                <a:gd name="f28" fmla="val 979"/>
                <a:gd name="f29" fmla="val 8586"/>
                <a:gd name="f30" fmla="val 2018"/>
                <a:gd name="f31" fmla="val 4432"/>
                <a:gd name="f32" fmla="val 8261"/>
                <a:gd name="f33" fmla="val 6240"/>
                <a:gd name="f34" fmla="val 7653"/>
                <a:gd name="f35" fmla="val 7130"/>
                <a:gd name="f36" fmla="val 5478"/>
                <a:gd name="f37" fmla="val 9214"/>
                <a:gd name="f38" fmla="val 5927"/>
                <a:gd name="f39" fmla="val 9803"/>
                <a:gd name="f40" fmla="val 4973"/>
                <a:gd name="f41" fmla="val 9735"/>
                <a:gd name="f42" fmla="val 4622"/>
                <a:gd name="f43" fmla="val 9905"/>
                <a:gd name="f44" fmla="val 4270"/>
                <a:gd name="f45" fmla="val 9837"/>
                <a:gd name="f46" fmla="val 3918"/>
                <a:gd name="f47" fmla="val 9758"/>
                <a:gd name="f48" fmla="val 2807"/>
                <a:gd name="f49" fmla="val 10067"/>
                <a:gd name="f50" fmla="val 3265"/>
                <a:gd name="f51" fmla="val 9987"/>
                <a:gd name="f52" fmla="val 2154"/>
                <a:gd name="f53" fmla="val 9527"/>
                <a:gd name="f54" fmla="val 1653"/>
                <a:gd name="f55" fmla="val 9037"/>
                <a:gd name="f56" fmla="val 1714"/>
                <a:gd name="f57" fmla="val 8578"/>
                <a:gd name="f58" fmla="val 1214"/>
                <a:gd name="f59" fmla="val 8542"/>
                <a:gd name="f60" fmla="val 1004"/>
                <a:gd name="f61" fmla="val 8505"/>
                <a:gd name="f62" fmla="val 794"/>
                <a:gd name="f63" fmla="val 8469"/>
                <a:gd name="f64" fmla="+- 0 0 -90"/>
                <a:gd name="f65" fmla="*/ f3 1 10000"/>
                <a:gd name="f66" fmla="*/ f4 1 9595"/>
                <a:gd name="f67" fmla="val f5"/>
                <a:gd name="f68" fmla="val f6"/>
                <a:gd name="f69" fmla="val f7"/>
                <a:gd name="f70" fmla="*/ f64 f0 1"/>
                <a:gd name="f71" fmla="+- f69 0 f67"/>
                <a:gd name="f72" fmla="+- f68 0 f67"/>
                <a:gd name="f73" fmla="*/ f70 1 f2"/>
                <a:gd name="f74" fmla="*/ f72 1 10000"/>
                <a:gd name="f75" fmla="*/ f71 1 9595"/>
                <a:gd name="f76" fmla="*/ 2147483646 f72 1"/>
                <a:gd name="f77" fmla="*/ 85299240 f71 1"/>
                <a:gd name="f78" fmla="*/ 13576773 f71 1"/>
                <a:gd name="f79" fmla="*/ 14455609 f71 1"/>
                <a:gd name="f80" fmla="*/ 409818380 f71 1"/>
                <a:gd name="f81" fmla="*/ 0 f72 1"/>
                <a:gd name="f82" fmla="*/ 734500748 f71 1"/>
                <a:gd name="f83" fmla="*/ 1059017558 f71 1"/>
                <a:gd name="f84" fmla="*/ 1253991381 f71 1"/>
                <a:gd name="f85" fmla="*/ 1401365760 f71 1"/>
                <a:gd name="f86" fmla="*/ 1206535080 f71 1"/>
                <a:gd name="f87" fmla="*/ 1117738892 f71 1"/>
                <a:gd name="f88" fmla="*/ 800069697 f71 1"/>
                <a:gd name="f89" fmla="*/ 865641717 f71 1"/>
                <a:gd name="f90" fmla="*/ 726322096 f71 1"/>
                <a:gd name="f91" fmla="*/ 572221676 f71 1"/>
                <a:gd name="f92" fmla="*/ 314602478 f71 1"/>
                <a:gd name="f93" fmla="*/ 177307990 f71 1"/>
                <a:gd name="f94" fmla="+- f73 0 f1"/>
                <a:gd name="f95" fmla="*/ f76 1 10000"/>
                <a:gd name="f96" fmla="*/ f77 1 9595"/>
                <a:gd name="f97" fmla="*/ f78 1 9595"/>
                <a:gd name="f98" fmla="*/ f79 1 9595"/>
                <a:gd name="f99" fmla="*/ f80 1 9595"/>
                <a:gd name="f100" fmla="*/ f81 1 10000"/>
                <a:gd name="f101" fmla="*/ f82 1 9595"/>
                <a:gd name="f102" fmla="*/ f83 1 9595"/>
                <a:gd name="f103" fmla="*/ f84 1 9595"/>
                <a:gd name="f104" fmla="*/ f85 1 9595"/>
                <a:gd name="f105" fmla="*/ f86 1 9595"/>
                <a:gd name="f106" fmla="*/ f87 1 9595"/>
                <a:gd name="f107" fmla="*/ f88 1 9595"/>
                <a:gd name="f108" fmla="*/ f89 1 9595"/>
                <a:gd name="f109" fmla="*/ f90 1 9595"/>
                <a:gd name="f110" fmla="*/ f91 1 9595"/>
                <a:gd name="f111" fmla="*/ f92 1 9595"/>
                <a:gd name="f112" fmla="*/ f93 1 9595"/>
                <a:gd name="f113" fmla="*/ 0 1 f74"/>
                <a:gd name="f114" fmla="*/ f68 1 f74"/>
                <a:gd name="f115" fmla="*/ 0 1 f75"/>
                <a:gd name="f116" fmla="*/ f69 1 f75"/>
                <a:gd name="f117" fmla="*/ f95 1 f74"/>
                <a:gd name="f118" fmla="*/ f96 1 f75"/>
                <a:gd name="f119" fmla="*/ f97 1 f75"/>
                <a:gd name="f120" fmla="*/ f98 1 f75"/>
                <a:gd name="f121" fmla="*/ f99 1 f75"/>
                <a:gd name="f122" fmla="*/ f100 1 f74"/>
                <a:gd name="f123" fmla="*/ f101 1 f75"/>
                <a:gd name="f124" fmla="*/ f102 1 f75"/>
                <a:gd name="f125" fmla="*/ f103 1 f75"/>
                <a:gd name="f126" fmla="*/ f104 1 f75"/>
                <a:gd name="f127" fmla="*/ f105 1 f75"/>
                <a:gd name="f128" fmla="*/ f106 1 f75"/>
                <a:gd name="f129" fmla="*/ f107 1 f75"/>
                <a:gd name="f130" fmla="*/ f108 1 f75"/>
                <a:gd name="f131" fmla="*/ f109 1 f75"/>
                <a:gd name="f132" fmla="*/ f110 1 f75"/>
                <a:gd name="f133" fmla="*/ f111 1 f75"/>
                <a:gd name="f134" fmla="*/ f112 1 f75"/>
                <a:gd name="f135" fmla="*/ f113 f65 1"/>
                <a:gd name="f136" fmla="*/ f114 f65 1"/>
                <a:gd name="f137" fmla="*/ f116 f66 1"/>
                <a:gd name="f138" fmla="*/ f115 f66 1"/>
                <a:gd name="f139" fmla="*/ f117 f65 1"/>
                <a:gd name="f140" fmla="*/ f118 f66 1"/>
                <a:gd name="f141" fmla="*/ f119 f66 1"/>
                <a:gd name="f142" fmla="*/ f120 f66 1"/>
                <a:gd name="f143" fmla="*/ f121 f66 1"/>
                <a:gd name="f144" fmla="*/ f122 f65 1"/>
                <a:gd name="f145" fmla="*/ f123 f66 1"/>
                <a:gd name="f146" fmla="*/ f124 f66 1"/>
                <a:gd name="f147" fmla="*/ f125 f66 1"/>
                <a:gd name="f148" fmla="*/ f126 f66 1"/>
                <a:gd name="f149" fmla="*/ f127 f66 1"/>
                <a:gd name="f150" fmla="*/ f128 f66 1"/>
                <a:gd name="f151" fmla="*/ f129 f66 1"/>
                <a:gd name="f152" fmla="*/ f130 f66 1"/>
                <a:gd name="f153" fmla="*/ f131 f66 1"/>
                <a:gd name="f154" fmla="*/ f132 f66 1"/>
                <a:gd name="f155" fmla="*/ f133 f66 1"/>
                <a:gd name="f156" fmla="*/ f134 f6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94">
                  <a:pos x="f139" y="f140"/>
                </a:cxn>
                <a:cxn ang="f94">
                  <a:pos x="f139" y="f141"/>
                </a:cxn>
                <a:cxn ang="f94">
                  <a:pos x="f139" y="f142"/>
                </a:cxn>
                <a:cxn ang="f94">
                  <a:pos x="f139" y="f140"/>
                </a:cxn>
                <a:cxn ang="f94">
                  <a:pos x="f139" y="f143"/>
                </a:cxn>
                <a:cxn ang="f94">
                  <a:pos x="f144" y="f145"/>
                </a:cxn>
                <a:cxn ang="f94">
                  <a:pos x="f139" y="f146"/>
                </a:cxn>
                <a:cxn ang="f94">
                  <a:pos x="f139" y="f147"/>
                </a:cxn>
                <a:cxn ang="f94">
                  <a:pos x="f139" y="f148"/>
                </a:cxn>
                <a:cxn ang="f94">
                  <a:pos x="f139" y="f149"/>
                </a:cxn>
                <a:cxn ang="f94">
                  <a:pos x="f139" y="f150"/>
                </a:cxn>
                <a:cxn ang="f94">
                  <a:pos x="f139" y="f151"/>
                </a:cxn>
                <a:cxn ang="f94">
                  <a:pos x="f139" y="f152"/>
                </a:cxn>
                <a:cxn ang="f94">
                  <a:pos x="f139" y="f153"/>
                </a:cxn>
                <a:cxn ang="f94">
                  <a:pos x="f139" y="f154"/>
                </a:cxn>
                <a:cxn ang="f94">
                  <a:pos x="f139" y="f155"/>
                </a:cxn>
                <a:cxn ang="f94">
                  <a:pos x="f139" y="f156"/>
                </a:cxn>
                <a:cxn ang="f94">
                  <a:pos x="f139" y="f140"/>
                </a:cxn>
                <a:cxn ang="f94">
                  <a:pos x="f139" y="f140"/>
                </a:cxn>
              </a:cxnLst>
              <a:rect l="f135" t="f138" r="f136" b="f137"/>
              <a:pathLst>
                <a:path w="10000" h="9595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22" y="f9"/>
                  </a:lnTo>
                  <a:lnTo>
                    <a:pt x="f23" y="f24"/>
                  </a:lnTo>
                  <a:lnTo>
                    <a:pt x="f5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7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63" y="f9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7" name="Freeform 356">
              <a:extLst>
                <a:ext uri="{FF2B5EF4-FFF2-40B4-BE49-F238E27FC236}">
                  <a16:creationId xmlns:a16="http://schemas.microsoft.com/office/drawing/2014/main" id="{2426D677-1612-4CAE-0031-0E9E2D827E5B}"/>
                </a:ext>
              </a:extLst>
            </p:cNvPr>
            <p:cNvSpPr/>
            <p:nvPr/>
          </p:nvSpPr>
          <p:spPr>
            <a:xfrm>
              <a:off x="6292395" y="3148534"/>
              <a:ext cx="187872" cy="13856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3636"/>
                <a:gd name="f8" fmla="val 522"/>
                <a:gd name="f9" fmla="val 909"/>
                <a:gd name="f10" fmla="val 1043"/>
                <a:gd name="f11" fmla="val 455"/>
                <a:gd name="f12" fmla="val 2609"/>
                <a:gd name="f13" fmla="val 530"/>
                <a:gd name="f14" fmla="val 3171"/>
                <a:gd name="f15" fmla="val 604"/>
                <a:gd name="f16" fmla="val 3733"/>
                <a:gd name="f17" fmla="val 679"/>
                <a:gd name="f18" fmla="val 4295"/>
                <a:gd name="f19" fmla="val 4631"/>
                <a:gd name="f20" fmla="val 4968"/>
                <a:gd name="f21" fmla="val 5304"/>
                <a:gd name="f22" fmla="val 6348"/>
                <a:gd name="f23" fmla="val 1598"/>
                <a:gd name="f24" fmla="val 7682"/>
                <a:gd name="f25" fmla="val 2779"/>
                <a:gd name="f26" fmla="val 7328"/>
                <a:gd name="f27" fmla="val 2976"/>
                <a:gd name="f28" fmla="val 7157"/>
                <a:gd name="f29" fmla="val 4110"/>
                <a:gd name="f30" fmla="val 6712"/>
                <a:gd name="f31" fmla="val 4448"/>
                <a:gd name="f32" fmla="val 7069"/>
                <a:gd name="f33" fmla="val 5010"/>
                <a:gd name="f34" fmla="val 7076"/>
                <a:gd name="f35" fmla="val 5007"/>
                <a:gd name="f36" fmla="val 7181"/>
                <a:gd name="f37" fmla="val 5003"/>
                <a:gd name="f38" fmla="val 7286"/>
                <a:gd name="f39" fmla="val 5000"/>
                <a:gd name="f40" fmla="val 7391"/>
                <a:gd name="f41" fmla="val 4545"/>
                <a:gd name="f42" fmla="val 7913"/>
                <a:gd name="f43" fmla="val 6818"/>
                <a:gd name="f44" fmla="val 8435"/>
                <a:gd name="f45" fmla="val 8636"/>
                <a:gd name="f46" fmla="val 9545"/>
                <a:gd name="f47" fmla="val 6870"/>
                <a:gd name="f48" fmla="val 7273"/>
                <a:gd name="f49" fmla="val 5826"/>
                <a:gd name="f50" fmla="val 7121"/>
                <a:gd name="f51" fmla="val 4927"/>
                <a:gd name="f52" fmla="val 6970"/>
                <a:gd name="f53" fmla="val 4029"/>
                <a:gd name="f54" fmla="val 3130"/>
                <a:gd name="f55" fmla="val 5909"/>
                <a:gd name="f56" fmla="+- 0 0 -90"/>
                <a:gd name="f57" fmla="*/ f3 1 10000"/>
                <a:gd name="f58" fmla="*/ f4 1 10000"/>
                <a:gd name="f59" fmla="val f5"/>
                <a:gd name="f60" fmla="val f6"/>
                <a:gd name="f61" fmla="*/ f56 f0 1"/>
                <a:gd name="f62" fmla="+- f60 0 f59"/>
                <a:gd name="f63" fmla="*/ f61 1 f2"/>
                <a:gd name="f64" fmla="*/ f62 1 10000"/>
                <a:gd name="f65" fmla="*/ 2147483646 f62 1"/>
                <a:gd name="f66" fmla="*/ 0 f62 1"/>
                <a:gd name="f67" fmla="+- f63 0 f1"/>
                <a:gd name="f68" fmla="*/ f65 1 10000"/>
                <a:gd name="f69" fmla="*/ f66 1 10000"/>
                <a:gd name="f70" fmla="*/ 0 1 f64"/>
                <a:gd name="f71" fmla="*/ f60 1 f64"/>
                <a:gd name="f72" fmla="*/ f68 1 f64"/>
                <a:gd name="f73" fmla="*/ f69 1 f64"/>
                <a:gd name="f74" fmla="*/ f70 f57 1"/>
                <a:gd name="f75" fmla="*/ f71 f57 1"/>
                <a:gd name="f76" fmla="*/ f71 f58 1"/>
                <a:gd name="f77" fmla="*/ f70 f58 1"/>
                <a:gd name="f78" fmla="*/ f72 f57 1"/>
                <a:gd name="f79" fmla="*/ f72 f58 1"/>
                <a:gd name="f80" fmla="*/ f73 f57 1"/>
                <a:gd name="f81" fmla="*/ f73 f5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80" y="f81"/>
                </a:cxn>
                <a:cxn ang="f67">
                  <a:pos x="f80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79"/>
                </a:cxn>
                <a:cxn ang="f67">
                  <a:pos x="f78" y="f81"/>
                </a:cxn>
                <a:cxn ang="f67">
                  <a:pos x="f78" y="f79"/>
                </a:cxn>
              </a:cxnLst>
              <a:rect l="f74" t="f77" r="f75" b="f76"/>
              <a:pathLst>
                <a:path w="10000" h="10000">
                  <a:moveTo>
                    <a:pt x="f7" y="f8"/>
                  </a:moveTo>
                  <a:lnTo>
                    <a:pt x="f9" y="f8"/>
                  </a:lnTo>
                  <a:lnTo>
                    <a:pt x="f5" y="f5"/>
                  </a:lnTo>
                  <a:lnTo>
                    <a:pt x="f5" y="f10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17" y="f18"/>
                  </a:cubicBezTo>
                  <a:cubicBezTo>
                    <a:pt x="f15" y="f19"/>
                    <a:pt x="f13" y="f20"/>
                    <a:pt x="f11" y="f21"/>
                  </a:cubicBezTo>
                  <a:lnTo>
                    <a:pt x="f9" y="f22"/>
                  </a:lnTo>
                  <a:lnTo>
                    <a:pt x="f23" y="f24"/>
                  </a:lnTo>
                  <a:cubicBezTo>
                    <a:pt x="f25" y="f26"/>
                    <a:pt x="f27" y="f28"/>
                    <a:pt x="f29" y="f30"/>
                  </a:cubicBezTo>
                  <a:lnTo>
                    <a:pt x="f31" y="f32"/>
                  </a:lnTo>
                  <a:lnTo>
                    <a:pt x="f33" y="f34"/>
                  </a:lnTo>
                  <a:cubicBezTo>
                    <a:pt x="f35" y="f36"/>
                    <a:pt x="f37" y="f38"/>
                    <a:pt x="f39" y="f40"/>
                  </a:cubicBezTo>
                  <a:lnTo>
                    <a:pt x="f41" y="f42"/>
                  </a:lnTo>
                  <a:lnTo>
                    <a:pt x="f39" y="f6"/>
                  </a:lnTo>
                  <a:lnTo>
                    <a:pt x="f43" y="f44"/>
                  </a:lnTo>
                  <a:lnTo>
                    <a:pt x="f45" y="f44"/>
                  </a:lnTo>
                  <a:lnTo>
                    <a:pt x="f46" y="f47"/>
                  </a:lnTo>
                  <a:lnTo>
                    <a:pt x="f6" y="f47"/>
                  </a:lnTo>
                  <a:lnTo>
                    <a:pt x="f48" y="f49"/>
                  </a:lnTo>
                  <a:cubicBezTo>
                    <a:pt x="f50" y="f51"/>
                    <a:pt x="f52" y="f53"/>
                    <a:pt x="f43" y="f54"/>
                  </a:cubicBezTo>
                  <a:lnTo>
                    <a:pt x="f45" y="f10"/>
                  </a:lnTo>
                  <a:lnTo>
                    <a:pt x="f55" y="f5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8" name="Freeform 361">
              <a:extLst>
                <a:ext uri="{FF2B5EF4-FFF2-40B4-BE49-F238E27FC236}">
                  <a16:creationId xmlns:a16="http://schemas.microsoft.com/office/drawing/2014/main" id="{23AF8C83-A86F-F547-B7DF-051CCABD64FA}"/>
                </a:ext>
              </a:extLst>
            </p:cNvPr>
            <p:cNvSpPr/>
            <p:nvPr/>
          </p:nvSpPr>
          <p:spPr>
            <a:xfrm>
              <a:off x="5874167" y="3036438"/>
              <a:ext cx="117628" cy="6383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11466"/>
                <a:gd name="f8" fmla="val 7857"/>
                <a:gd name="f9" fmla="val 3477"/>
                <a:gd name="f10" fmla="val 7143"/>
                <a:gd name="f11" fmla="val 2227"/>
                <a:gd name="f12" fmla="val 5714"/>
                <a:gd name="f13" fmla="val 977"/>
                <a:gd name="f14" fmla="val 3641"/>
                <a:gd name="f15" fmla="val 1948"/>
                <a:gd name="f16" fmla="val 3532"/>
                <a:gd name="f17" fmla="val 1206"/>
                <a:gd name="f18" fmla="val 3354"/>
                <a:gd name="f19" fmla="val 742"/>
                <a:gd name="f20" fmla="val 3245"/>
                <a:gd name="f21" fmla="val 2143"/>
                <a:gd name="f22" fmla="val 1878"/>
                <a:gd name="f23" fmla="val 5977"/>
                <a:gd name="f24" fmla="val 8477"/>
                <a:gd name="f25" fmla="val 1429"/>
                <a:gd name="f26" fmla="val 2108"/>
                <a:gd name="f27" fmla="val 2857"/>
                <a:gd name="f28" fmla="val 10977"/>
                <a:gd name="f29" fmla="val 4436"/>
                <a:gd name="f30" fmla="val 9035"/>
                <a:gd name="f31" fmla="val 5256"/>
                <a:gd name="f32" fmla="val 10146"/>
                <a:gd name="f33" fmla="val 9286"/>
                <a:gd name="f34" fmla="val 7227"/>
                <a:gd name="f35" fmla="+- 0 0 -90"/>
                <a:gd name="f36" fmla="*/ f3 1 10000"/>
                <a:gd name="f37" fmla="*/ f4 1 11466"/>
                <a:gd name="f38" fmla="val f5"/>
                <a:gd name="f39" fmla="val f6"/>
                <a:gd name="f40" fmla="val f7"/>
                <a:gd name="f41" fmla="*/ f35 f0 1"/>
                <a:gd name="f42" fmla="+- f40 0 f38"/>
                <a:gd name="f43" fmla="+- f39 0 f38"/>
                <a:gd name="f44" fmla="*/ f41 1 f2"/>
                <a:gd name="f45" fmla="*/ f43 1 10000"/>
                <a:gd name="f46" fmla="*/ f42 1 11466"/>
                <a:gd name="f47" fmla="*/ 2147483646 f43 1"/>
                <a:gd name="f48" fmla="*/ 117523815 f42 1"/>
                <a:gd name="f49" fmla="*/ 75272047 f42 1"/>
                <a:gd name="f50" fmla="*/ 33020432 f42 1"/>
                <a:gd name="f51" fmla="*/ 65841468 f42 1"/>
                <a:gd name="f52" fmla="*/ 0 f42 1"/>
                <a:gd name="f53" fmla="*/ 63477200 f42 1"/>
                <a:gd name="f54" fmla="*/ 0 f43 1"/>
                <a:gd name="f55" fmla="*/ 202027038 f42 1"/>
                <a:gd name="f56" fmla="*/ 286524040 f42 1"/>
                <a:gd name="f57" fmla="*/ 387555188 f42 1"/>
                <a:gd name="f58" fmla="*/ 371027429 f42 1"/>
                <a:gd name="f59" fmla="*/ 305386266 f42 1"/>
                <a:gd name="f60" fmla="*/ 342940248 f42 1"/>
                <a:gd name="f61" fmla="*/ 244272431 f42 1"/>
                <a:gd name="f62" fmla="+- f44 0 f1"/>
                <a:gd name="f63" fmla="*/ f47 1 10000"/>
                <a:gd name="f64" fmla="*/ f48 1 11466"/>
                <a:gd name="f65" fmla="*/ f49 1 11466"/>
                <a:gd name="f66" fmla="*/ f50 1 11466"/>
                <a:gd name="f67" fmla="*/ f51 1 11466"/>
                <a:gd name="f68" fmla="*/ f52 1 11466"/>
                <a:gd name="f69" fmla="*/ f53 1 11466"/>
                <a:gd name="f70" fmla="*/ f54 1 10000"/>
                <a:gd name="f71" fmla="*/ f55 1 11466"/>
                <a:gd name="f72" fmla="*/ f56 1 11466"/>
                <a:gd name="f73" fmla="*/ f57 1 11466"/>
                <a:gd name="f74" fmla="*/ f58 1 11466"/>
                <a:gd name="f75" fmla="*/ f59 1 11466"/>
                <a:gd name="f76" fmla="*/ f60 1 11466"/>
                <a:gd name="f77" fmla="*/ f61 1 11466"/>
                <a:gd name="f78" fmla="*/ 0 1 f45"/>
                <a:gd name="f79" fmla="*/ f39 1 f45"/>
                <a:gd name="f80" fmla="*/ 0 1 f46"/>
                <a:gd name="f81" fmla="*/ f40 1 f46"/>
                <a:gd name="f82" fmla="*/ f63 1 f45"/>
                <a:gd name="f83" fmla="*/ f64 1 f46"/>
                <a:gd name="f84" fmla="*/ f65 1 f46"/>
                <a:gd name="f85" fmla="*/ f66 1 f46"/>
                <a:gd name="f86" fmla="*/ f67 1 f46"/>
                <a:gd name="f87" fmla="*/ f68 1 f46"/>
                <a:gd name="f88" fmla="*/ f69 1 f46"/>
                <a:gd name="f89" fmla="*/ f70 1 f45"/>
                <a:gd name="f90" fmla="*/ f71 1 f46"/>
                <a:gd name="f91" fmla="*/ f72 1 f46"/>
                <a:gd name="f92" fmla="*/ f73 1 f46"/>
                <a:gd name="f93" fmla="*/ f74 1 f46"/>
                <a:gd name="f94" fmla="*/ f75 1 f46"/>
                <a:gd name="f95" fmla="*/ f76 1 f46"/>
                <a:gd name="f96" fmla="*/ f77 1 f46"/>
                <a:gd name="f97" fmla="*/ f78 f36 1"/>
                <a:gd name="f98" fmla="*/ f79 f36 1"/>
                <a:gd name="f99" fmla="*/ f81 f37 1"/>
                <a:gd name="f100" fmla="*/ f80 f37 1"/>
                <a:gd name="f101" fmla="*/ f82 f36 1"/>
                <a:gd name="f102" fmla="*/ f83 f37 1"/>
                <a:gd name="f103" fmla="*/ f84 f37 1"/>
                <a:gd name="f104" fmla="*/ f85 f37 1"/>
                <a:gd name="f105" fmla="*/ f86 f37 1"/>
                <a:gd name="f106" fmla="*/ f87 f37 1"/>
                <a:gd name="f107" fmla="*/ f88 f37 1"/>
                <a:gd name="f108" fmla="*/ f89 f36 1"/>
                <a:gd name="f109" fmla="*/ f90 f37 1"/>
                <a:gd name="f110" fmla="*/ f91 f37 1"/>
                <a:gd name="f111" fmla="*/ f92 f37 1"/>
                <a:gd name="f112" fmla="*/ f93 f37 1"/>
                <a:gd name="f113" fmla="*/ f94 f37 1"/>
                <a:gd name="f114" fmla="*/ f95 f37 1"/>
                <a:gd name="f115" fmla="*/ f96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2">
                  <a:pos x="f101" y="f102"/>
                </a:cxn>
                <a:cxn ang="f62">
                  <a:pos x="f101" y="f103"/>
                </a:cxn>
                <a:cxn ang="f62">
                  <a:pos x="f101" y="f104"/>
                </a:cxn>
                <a:cxn ang="f62">
                  <a:pos x="f101" y="f105"/>
                </a:cxn>
                <a:cxn ang="f62">
                  <a:pos x="f101" y="f106"/>
                </a:cxn>
                <a:cxn ang="f62">
                  <a:pos x="f101" y="f107"/>
                </a:cxn>
                <a:cxn ang="f62">
                  <a:pos x="f108" y="f109"/>
                </a:cxn>
                <a:cxn ang="f62">
                  <a:pos x="f108" y="f110"/>
                </a:cxn>
                <a:cxn ang="f62">
                  <a:pos x="f101" y="f110"/>
                </a:cxn>
                <a:cxn ang="f62">
                  <a:pos x="f101" y="f111"/>
                </a:cxn>
                <a:cxn ang="f62">
                  <a:pos x="f101" y="f112"/>
                </a:cxn>
                <a:cxn ang="f62">
                  <a:pos x="f101" y="f113"/>
                </a:cxn>
                <a:cxn ang="f62">
                  <a:pos x="f101" y="f114"/>
                </a:cxn>
                <a:cxn ang="f62">
                  <a:pos x="f101" y="f110"/>
                </a:cxn>
                <a:cxn ang="f62">
                  <a:pos x="f101" y="f115"/>
                </a:cxn>
                <a:cxn ang="f62">
                  <a:pos x="f101" y="f115"/>
                </a:cxn>
                <a:cxn ang="f62">
                  <a:pos x="f101" y="f109"/>
                </a:cxn>
                <a:cxn ang="f62">
                  <a:pos x="f101" y="f102"/>
                </a:cxn>
              </a:cxnLst>
              <a:rect l="f97" t="f100" r="f98" b="f99"/>
              <a:pathLst>
                <a:path w="10000" h="11466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cubicBezTo>
                    <a:pt x="f16" y="f17"/>
                    <a:pt x="f18" y="f19"/>
                    <a:pt x="f20" y="f5"/>
                  </a:cubicBezTo>
                  <a:lnTo>
                    <a:pt x="f21" y="f22"/>
                  </a:lnTo>
                  <a:lnTo>
                    <a:pt x="f5" y="f23"/>
                  </a:lnTo>
                  <a:lnTo>
                    <a:pt x="f5" y="f24"/>
                  </a:lnTo>
                  <a:lnTo>
                    <a:pt x="f25" y="f24"/>
                  </a:lnTo>
                  <a:lnTo>
                    <a:pt x="f26" y="f7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8" y="f24"/>
                  </a:lnTo>
                  <a:lnTo>
                    <a:pt x="f33" y="f34"/>
                  </a:lnTo>
                  <a:lnTo>
                    <a:pt x="f6" y="f34"/>
                  </a:lnTo>
                  <a:lnTo>
                    <a:pt x="f33" y="f2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9" name="Freeform 363">
              <a:extLst>
                <a:ext uri="{FF2B5EF4-FFF2-40B4-BE49-F238E27FC236}">
                  <a16:creationId xmlns:a16="http://schemas.microsoft.com/office/drawing/2014/main" id="{59D82069-65DD-790C-817E-9879F8F5CC46}"/>
                </a:ext>
              </a:extLst>
            </p:cNvPr>
            <p:cNvSpPr/>
            <p:nvPr/>
          </p:nvSpPr>
          <p:spPr>
            <a:xfrm>
              <a:off x="5815353" y="2893206"/>
              <a:ext cx="73517" cy="7317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56"/>
                <a:gd name="f7" fmla="val 10000"/>
                <a:gd name="f8" fmla="val 2389"/>
                <a:gd name="f9" fmla="val 4571"/>
                <a:gd name="f10" fmla="val 3355"/>
                <a:gd name="f11" fmla="val 6400"/>
                <a:gd name="f12" fmla="val 5288"/>
                <a:gd name="f13" fmla="val 7314"/>
                <a:gd name="f14" fmla="val 7050"/>
                <a:gd name="f15" fmla="val 8496"/>
                <a:gd name="f16" fmla="val 8865"/>
                <a:gd name="f17" fmla="val 8961"/>
                <a:gd name="f18" fmla="val 9105"/>
                <a:gd name="f19" fmla="val 9904"/>
                <a:gd name="f20" fmla="val 8423"/>
                <a:gd name="f21" fmla="val 7528"/>
                <a:gd name="f22" fmla="val 9327"/>
                <a:gd name="f23" fmla="val 5699"/>
                <a:gd name="f24" fmla="val 9382"/>
                <a:gd name="f25" fmla="val 4965"/>
                <a:gd name="f26" fmla="val 10001"/>
                <a:gd name="f27" fmla="val 4016"/>
                <a:gd name="f28" fmla="val 3282"/>
                <a:gd name="f29" fmla="val 8639"/>
                <a:gd name="f30" fmla="val 2368"/>
                <a:gd name="f31" fmla="val 7220"/>
                <a:gd name="f32" fmla="val 1828"/>
                <a:gd name="f33" fmla="val 914"/>
                <a:gd name="f34" fmla="val 457"/>
                <a:gd name="f35" fmla="val 971"/>
                <a:gd name="f36" fmla="val 152"/>
                <a:gd name="f37" fmla="val 1866"/>
                <a:gd name="f38" fmla="val 757"/>
                <a:gd name="f39" fmla="val 2548"/>
                <a:gd name="f40" fmla="val 910"/>
                <a:gd name="f41" fmla="val 3443"/>
                <a:gd name="f42" fmla="+- 0 0 -90"/>
                <a:gd name="f43" fmla="*/ f3 1 10056"/>
                <a:gd name="f44" fmla="*/ f4 1 10000"/>
                <a:gd name="f45" fmla="val f5"/>
                <a:gd name="f46" fmla="val f6"/>
                <a:gd name="f47" fmla="val f7"/>
                <a:gd name="f48" fmla="*/ f42 f0 1"/>
                <a:gd name="f49" fmla="+- f47 0 f45"/>
                <a:gd name="f50" fmla="+- f46 0 f45"/>
                <a:gd name="f51" fmla="*/ f48 1 f2"/>
                <a:gd name="f52" fmla="*/ f50 1 10056"/>
                <a:gd name="f53" fmla="*/ f49 1 10000"/>
                <a:gd name="f54" fmla="*/ 306118187 f50 1"/>
                <a:gd name="f55" fmla="*/ 789654352 f49 1"/>
                <a:gd name="f56" fmla="*/ 429904577 f50 1"/>
                <a:gd name="f57" fmla="*/ 1105629969 f49 1"/>
                <a:gd name="f58" fmla="*/ 677586608 f50 1"/>
                <a:gd name="f59" fmla="*/ 1263521769 f49 1"/>
                <a:gd name="f60" fmla="*/ 903376652 f50 1"/>
                <a:gd name="f61" fmla="*/ 1467713300 f49 1"/>
                <a:gd name="f62" fmla="*/ 1135951392 f50 1"/>
                <a:gd name="f63" fmla="*/ 1727539702 f49 1"/>
                <a:gd name="f64" fmla="*/ 1281375230 f50 1"/>
                <a:gd name="f65" fmla="*/ 1300499113 f49 1"/>
                <a:gd name="f66" fmla="*/ 1195148611 f50 1"/>
                <a:gd name="f67" fmla="*/ 984526451 f49 1"/>
                <a:gd name="f68" fmla="*/ 1288557149 f50 1"/>
                <a:gd name="f69" fmla="*/ 566991022 f49 1"/>
                <a:gd name="f70" fmla="*/ 1106984257 f50 1"/>
                <a:gd name="f71" fmla="*/ 409071324 f49 1"/>
                <a:gd name="f72" fmla="*/ 925159339 f50 1"/>
                <a:gd name="f73" fmla="*/ 315789890 f49 1"/>
                <a:gd name="f74" fmla="*/ 157894755 f49 1"/>
                <a:gd name="f75" fmla="*/ 0 f49 1"/>
                <a:gd name="f76" fmla="*/ 58563422 f50 1"/>
                <a:gd name="f77" fmla="*/ 0 f50 1"/>
                <a:gd name="f78" fmla="*/ 167744178 f49 1"/>
                <a:gd name="f79" fmla="*/ 116604471 f50 1"/>
                <a:gd name="f80" fmla="*/ 594785155 f49 1"/>
                <a:gd name="f81" fmla="+- f51 0 f1"/>
                <a:gd name="f82" fmla="*/ f54 1 10056"/>
                <a:gd name="f83" fmla="*/ f55 1 10000"/>
                <a:gd name="f84" fmla="*/ f56 1 10056"/>
                <a:gd name="f85" fmla="*/ f57 1 10000"/>
                <a:gd name="f86" fmla="*/ f58 1 10056"/>
                <a:gd name="f87" fmla="*/ f59 1 10000"/>
                <a:gd name="f88" fmla="*/ f60 1 10056"/>
                <a:gd name="f89" fmla="*/ f61 1 10000"/>
                <a:gd name="f90" fmla="*/ f62 1 10056"/>
                <a:gd name="f91" fmla="*/ f63 1 10000"/>
                <a:gd name="f92" fmla="*/ f64 1 10056"/>
                <a:gd name="f93" fmla="*/ f65 1 10000"/>
                <a:gd name="f94" fmla="*/ f66 1 10056"/>
                <a:gd name="f95" fmla="*/ f67 1 10000"/>
                <a:gd name="f96" fmla="*/ f68 1 10056"/>
                <a:gd name="f97" fmla="*/ f69 1 10000"/>
                <a:gd name="f98" fmla="*/ f70 1 10056"/>
                <a:gd name="f99" fmla="*/ f71 1 10000"/>
                <a:gd name="f100" fmla="*/ f72 1 10056"/>
                <a:gd name="f101" fmla="*/ f73 1 10000"/>
                <a:gd name="f102" fmla="*/ f74 1 10000"/>
                <a:gd name="f103" fmla="*/ f75 1 10000"/>
                <a:gd name="f104" fmla="*/ f76 1 10056"/>
                <a:gd name="f105" fmla="*/ f77 1 10056"/>
                <a:gd name="f106" fmla="*/ f78 1 10000"/>
                <a:gd name="f107" fmla="*/ f79 1 10056"/>
                <a:gd name="f108" fmla="*/ f80 1 10000"/>
                <a:gd name="f109" fmla="*/ 0 1 f52"/>
                <a:gd name="f110" fmla="*/ f46 1 f52"/>
                <a:gd name="f111" fmla="*/ 0 1 f53"/>
                <a:gd name="f112" fmla="*/ f47 1 f53"/>
                <a:gd name="f113" fmla="*/ f82 1 f52"/>
                <a:gd name="f114" fmla="*/ f83 1 f53"/>
                <a:gd name="f115" fmla="*/ f84 1 f52"/>
                <a:gd name="f116" fmla="*/ f85 1 f53"/>
                <a:gd name="f117" fmla="*/ f86 1 f52"/>
                <a:gd name="f118" fmla="*/ f87 1 f53"/>
                <a:gd name="f119" fmla="*/ f88 1 f52"/>
                <a:gd name="f120" fmla="*/ f89 1 f53"/>
                <a:gd name="f121" fmla="*/ f90 1 f52"/>
                <a:gd name="f122" fmla="*/ f91 1 f53"/>
                <a:gd name="f123" fmla="*/ f92 1 f52"/>
                <a:gd name="f124" fmla="*/ f93 1 f53"/>
                <a:gd name="f125" fmla="*/ f94 1 f52"/>
                <a:gd name="f126" fmla="*/ f95 1 f53"/>
                <a:gd name="f127" fmla="*/ f96 1 f52"/>
                <a:gd name="f128" fmla="*/ f97 1 f53"/>
                <a:gd name="f129" fmla="*/ f98 1 f52"/>
                <a:gd name="f130" fmla="*/ f99 1 f53"/>
                <a:gd name="f131" fmla="*/ f100 1 f52"/>
                <a:gd name="f132" fmla="*/ f101 1 f53"/>
                <a:gd name="f133" fmla="*/ f102 1 f53"/>
                <a:gd name="f134" fmla="*/ f103 1 f53"/>
                <a:gd name="f135" fmla="*/ f104 1 f52"/>
                <a:gd name="f136" fmla="*/ f105 1 f52"/>
                <a:gd name="f137" fmla="*/ f106 1 f53"/>
                <a:gd name="f138" fmla="*/ f107 1 f52"/>
                <a:gd name="f139" fmla="*/ f108 1 f53"/>
                <a:gd name="f140" fmla="*/ f109 f43 1"/>
                <a:gd name="f141" fmla="*/ f110 f43 1"/>
                <a:gd name="f142" fmla="*/ f112 f44 1"/>
                <a:gd name="f143" fmla="*/ f111 f44 1"/>
                <a:gd name="f144" fmla="*/ f113 f43 1"/>
                <a:gd name="f145" fmla="*/ f114 f44 1"/>
                <a:gd name="f146" fmla="*/ f115 f43 1"/>
                <a:gd name="f147" fmla="*/ f116 f44 1"/>
                <a:gd name="f148" fmla="*/ f117 f43 1"/>
                <a:gd name="f149" fmla="*/ f118 f44 1"/>
                <a:gd name="f150" fmla="*/ f119 f43 1"/>
                <a:gd name="f151" fmla="*/ f120 f44 1"/>
                <a:gd name="f152" fmla="*/ f121 f43 1"/>
                <a:gd name="f153" fmla="*/ f122 f44 1"/>
                <a:gd name="f154" fmla="*/ f123 f43 1"/>
                <a:gd name="f155" fmla="*/ f124 f44 1"/>
                <a:gd name="f156" fmla="*/ f125 f43 1"/>
                <a:gd name="f157" fmla="*/ f126 f44 1"/>
                <a:gd name="f158" fmla="*/ f127 f43 1"/>
                <a:gd name="f159" fmla="*/ f128 f44 1"/>
                <a:gd name="f160" fmla="*/ f129 f43 1"/>
                <a:gd name="f161" fmla="*/ f130 f44 1"/>
                <a:gd name="f162" fmla="*/ f131 f43 1"/>
                <a:gd name="f163" fmla="*/ f132 f44 1"/>
                <a:gd name="f164" fmla="*/ f133 f44 1"/>
                <a:gd name="f165" fmla="*/ f134 f44 1"/>
                <a:gd name="f166" fmla="*/ f135 f43 1"/>
                <a:gd name="f167" fmla="*/ f136 f43 1"/>
                <a:gd name="f168" fmla="*/ f137 f44 1"/>
                <a:gd name="f169" fmla="*/ f138 f43 1"/>
                <a:gd name="f170" fmla="*/ f139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1">
                  <a:pos x="f144" y="f145"/>
                </a:cxn>
                <a:cxn ang="f81">
                  <a:pos x="f146" y="f147"/>
                </a:cxn>
                <a:cxn ang="f81">
                  <a:pos x="f148" y="f149"/>
                </a:cxn>
                <a:cxn ang="f81">
                  <a:pos x="f150" y="f151"/>
                </a:cxn>
                <a:cxn ang="f81">
                  <a:pos x="f152" y="f153"/>
                </a:cxn>
                <a:cxn ang="f81">
                  <a:pos x="f154" y="f155"/>
                </a:cxn>
                <a:cxn ang="f81">
                  <a:pos x="f156" y="f157"/>
                </a:cxn>
                <a:cxn ang="f81">
                  <a:pos x="f158" y="f159"/>
                </a:cxn>
                <a:cxn ang="f81">
                  <a:pos x="f160" y="f161"/>
                </a:cxn>
                <a:cxn ang="f81">
                  <a:pos x="f162" y="f163"/>
                </a:cxn>
                <a:cxn ang="f81">
                  <a:pos x="f148" y="f164"/>
                </a:cxn>
                <a:cxn ang="f81">
                  <a:pos x="f146" y="f164"/>
                </a:cxn>
                <a:cxn ang="f81">
                  <a:pos x="f144" y="f165"/>
                </a:cxn>
                <a:cxn ang="f81">
                  <a:pos x="f166" y="f164"/>
                </a:cxn>
                <a:cxn ang="f81">
                  <a:pos x="f167" y="f168"/>
                </a:cxn>
                <a:cxn ang="f81">
                  <a:pos x="f169" y="f170"/>
                </a:cxn>
                <a:cxn ang="f81">
                  <a:pos x="f144" y="f145"/>
                </a:cxn>
              </a:cxnLst>
              <a:rect l="f140" t="f143" r="f141" b="f142"/>
              <a:pathLst>
                <a:path w="10056" h="10000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7"/>
                  </a:lnTo>
                  <a:cubicBezTo>
                    <a:pt x="f17" y="f18"/>
                    <a:pt x="f19" y="f20"/>
                    <a:pt x="f7" y="f21"/>
                  </a:cubicBezTo>
                  <a:lnTo>
                    <a:pt x="f22" y="f23"/>
                  </a:lnTo>
                  <a:cubicBezTo>
                    <a:pt x="f24" y="f25"/>
                    <a:pt x="f26" y="f27"/>
                    <a:pt x="f6" y="f28"/>
                  </a:cubicBezTo>
                  <a:lnTo>
                    <a:pt x="f29" y="f30"/>
                  </a:lnTo>
                  <a:lnTo>
                    <a:pt x="f31" y="f32"/>
                  </a:lnTo>
                  <a:lnTo>
                    <a:pt x="f12" y="f33"/>
                  </a:lnTo>
                  <a:lnTo>
                    <a:pt x="f10" y="f33"/>
                  </a:lnTo>
                  <a:lnTo>
                    <a:pt x="f8" y="f5"/>
                  </a:lnTo>
                  <a:lnTo>
                    <a:pt x="f34" y="f33"/>
                  </a:lnTo>
                  <a:lnTo>
                    <a:pt x="f5" y="f35"/>
                  </a:lnTo>
                  <a:cubicBezTo>
                    <a:pt x="f36" y="f37"/>
                    <a:pt x="f38" y="f39"/>
                    <a:pt x="f40" y="f41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0" name="Freeform 252">
              <a:extLst>
                <a:ext uri="{FF2B5EF4-FFF2-40B4-BE49-F238E27FC236}">
                  <a16:creationId xmlns:a16="http://schemas.microsoft.com/office/drawing/2014/main" id="{14DF60B7-D5CA-4E8B-097E-7E573630EF44}"/>
                </a:ext>
              </a:extLst>
            </p:cNvPr>
            <p:cNvSpPr/>
            <p:nvPr/>
          </p:nvSpPr>
          <p:spPr>
            <a:xfrm rot="21133514">
              <a:off x="6053874" y="3066019"/>
              <a:ext cx="91485" cy="467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12593"/>
                <a:gd name="f7" fmla="val 1229193"/>
                <a:gd name="f8" fmla="val 233280"/>
                <a:gd name="f9" fmla="val 83793"/>
                <a:gd name="f10" fmla="val 1154242"/>
                <a:gd name="f11" fmla="val 1103124"/>
                <a:gd name="f12" fmla="val 314793"/>
                <a:gd name="f13" fmla="val 1792672"/>
                <a:gd name="f14" fmla="val 1124055"/>
                <a:gd name="f15" fmla="val 252554"/>
                <a:gd name="f16" fmla="val 892871"/>
                <a:gd name="f17" fmla="val 224853"/>
                <a:gd name="f18" fmla="val 379360"/>
                <a:gd name="f19" fmla="val 273001"/>
                <a:gd name="f20" fmla="val 148176"/>
                <a:gd name="f21" fmla="val 245300"/>
                <a:gd name="f22" fmla="val 128763"/>
                <a:gd name="f23" fmla="val 242675"/>
                <a:gd name="f24" fmla="+- 0 0 -90"/>
                <a:gd name="f25" fmla="*/ f3 1 1912593"/>
                <a:gd name="f26" fmla="*/ f4 1 1229193"/>
                <a:gd name="f27" fmla="val f5"/>
                <a:gd name="f28" fmla="val f6"/>
                <a:gd name="f29" fmla="val f7"/>
                <a:gd name="f30" fmla="*/ f24 f0 1"/>
                <a:gd name="f31" fmla="+- f29 0 f27"/>
                <a:gd name="f32" fmla="+- f28 0 f27"/>
                <a:gd name="f33" fmla="*/ f30 1 f2"/>
                <a:gd name="f34" fmla="*/ f32 1 1912593"/>
                <a:gd name="f35" fmla="*/ f31 1 1229193"/>
                <a:gd name="f36" fmla="*/ 0 f32 1"/>
                <a:gd name="f37" fmla="*/ 0 f31 1"/>
                <a:gd name="f38" fmla="+- f33 0 f1"/>
                <a:gd name="f39" fmla="*/ f36 1 1912593"/>
                <a:gd name="f40" fmla="*/ f37 1 1229193"/>
                <a:gd name="f41" fmla="*/ 0 1 f34"/>
                <a:gd name="f42" fmla="*/ f28 1 f34"/>
                <a:gd name="f43" fmla="*/ 0 1 f35"/>
                <a:gd name="f44" fmla="*/ f29 1 f35"/>
                <a:gd name="f45" fmla="*/ f39 1 f34"/>
                <a:gd name="f46" fmla="*/ f40 1 f35"/>
                <a:gd name="f47" fmla="*/ f41 f25 1"/>
                <a:gd name="f48" fmla="*/ f42 f25 1"/>
                <a:gd name="f49" fmla="*/ f44 f26 1"/>
                <a:gd name="f50" fmla="*/ f43 f26 1"/>
                <a:gd name="f51" fmla="*/ f45 f25 1"/>
                <a:gd name="f52" fmla="*/ f46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  <a:cxn ang="f38">
                  <a:pos x="f51" y="f52"/>
                </a:cxn>
              </a:cxnLst>
              <a:rect l="f47" t="f50" r="f48" b="f49"/>
              <a:pathLst>
                <a:path w="1912593" h="1229193">
                  <a:moveTo>
                    <a:pt x="f5" y="f8"/>
                  </a:moveTo>
                  <a:lnTo>
                    <a:pt x="f9" y="f10"/>
                  </a:lnTo>
                  <a:lnTo>
                    <a:pt x="f11" y="f7"/>
                  </a:lnTo>
                  <a:lnTo>
                    <a:pt x="f6" y="f12"/>
                  </a:lnTo>
                  <a:lnTo>
                    <a:pt x="f13" y="f5"/>
                  </a:lnTo>
                  <a:lnTo>
                    <a:pt x="f14" y="f15"/>
                  </a:lnTo>
                  <a:cubicBezTo>
                    <a:pt x="f16" y="f17"/>
                    <a:pt x="f18" y="f19"/>
                    <a:pt x="f20" y="f21"/>
                  </a:cubicBezTo>
                  <a:lnTo>
                    <a:pt x="f22" y="f23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1" name="Freeform 253">
              <a:extLst>
                <a:ext uri="{FF2B5EF4-FFF2-40B4-BE49-F238E27FC236}">
                  <a16:creationId xmlns:a16="http://schemas.microsoft.com/office/drawing/2014/main" id="{E1497EEB-1BB6-D963-B7D3-F4D539B0A5A8}"/>
                </a:ext>
              </a:extLst>
            </p:cNvPr>
            <p:cNvSpPr/>
            <p:nvPr/>
          </p:nvSpPr>
          <p:spPr>
            <a:xfrm>
              <a:off x="6058775" y="3075364"/>
              <a:ext cx="147035" cy="14634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644175"/>
                <a:gd name="f7" fmla="val 3780713"/>
                <a:gd name="f8" fmla="val 2018109"/>
                <a:gd name="f9" fmla="val 1131347"/>
                <a:gd name="f10" fmla="val 970851"/>
                <a:gd name="f11" fmla="val 106496"/>
                <a:gd name="f12" fmla="val 992543"/>
                <a:gd name="f13" fmla="val 1285960"/>
                <a:gd name="f14" fmla="val 250657"/>
                <a:gd name="f15" fmla="val 1838746"/>
                <a:gd name="f16" fmla="val 476240"/>
                <a:gd name="f17" fmla="val 1522355"/>
                <a:gd name="f18" fmla="val 637449"/>
                <a:gd name="f19" fmla="val 1360281"/>
                <a:gd name="f20" fmla="val 900975"/>
                <a:gd name="f21" fmla="val 1622129"/>
                <a:gd name="f22" fmla="val 1125827"/>
                <a:gd name="f23" fmla="val 2401618"/>
                <a:gd name="f24" fmla="val 1614428"/>
                <a:gd name="f25" fmla="val 2951232"/>
                <a:gd name="f26" fmla="val 2156362"/>
                <a:gd name="f27" fmla="val 3074631"/>
                <a:gd name="f28" fmla="val 2677783"/>
                <a:gd name="f29" fmla="val 3504219"/>
                <a:gd name="f30" fmla="val 3209460"/>
                <a:gd name="f31" fmla="val 1455611"/>
                <a:gd name="f32" fmla="val 1667100"/>
                <a:gd name="f33" fmla="val 1543203"/>
                <a:gd name="f34" fmla="val 1366330"/>
                <a:gd name="f35" fmla="val 1755414"/>
                <a:gd name="f36" fmla="val 1517198"/>
                <a:gd name="f37" fmla="val 3394079"/>
                <a:gd name="f38" fmla="val 610450"/>
                <a:gd name="f39" fmla="val 3170007"/>
                <a:gd name="f40" fmla="val 750786"/>
                <a:gd name="f41" fmla="val 2480463"/>
                <a:gd name="f42" fmla="val 641709"/>
                <a:gd name="f43" fmla="val 2078068"/>
                <a:gd name="f44" fmla="val 137463"/>
                <a:gd name="f45" fmla="+- 0 0 -90"/>
                <a:gd name="f46" fmla="*/ f3 1 3644175"/>
                <a:gd name="f47" fmla="*/ f4 1 3780713"/>
                <a:gd name="f48" fmla="val f5"/>
                <a:gd name="f49" fmla="val f6"/>
                <a:gd name="f50" fmla="val f7"/>
                <a:gd name="f51" fmla="*/ f45 f0 1"/>
                <a:gd name="f52" fmla="+- f50 0 f48"/>
                <a:gd name="f53" fmla="+- f49 0 f48"/>
                <a:gd name="f54" fmla="*/ f51 1 f2"/>
                <a:gd name="f55" fmla="*/ f53 1 3644175"/>
                <a:gd name="f56" fmla="*/ f52 1 3780713"/>
                <a:gd name="f57" fmla="*/ 0 f53 1"/>
                <a:gd name="f58" fmla="*/ 0 f52 1"/>
                <a:gd name="f59" fmla="+- f54 0 f1"/>
                <a:gd name="f60" fmla="*/ f57 1 3644175"/>
                <a:gd name="f61" fmla="*/ f58 1 3780713"/>
                <a:gd name="f62" fmla="*/ 0 1 f55"/>
                <a:gd name="f63" fmla="*/ f49 1 f55"/>
                <a:gd name="f64" fmla="*/ 0 1 f56"/>
                <a:gd name="f65" fmla="*/ f50 1 f56"/>
                <a:gd name="f66" fmla="*/ f60 1 f55"/>
                <a:gd name="f67" fmla="*/ f61 1 f56"/>
                <a:gd name="f68" fmla="*/ f62 f46 1"/>
                <a:gd name="f69" fmla="*/ f63 f46 1"/>
                <a:gd name="f70" fmla="*/ f65 f47 1"/>
                <a:gd name="f71" fmla="*/ f64 f47 1"/>
                <a:gd name="f72" fmla="*/ f66 f46 1"/>
                <a:gd name="f73" fmla="*/ f67 f4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  <a:cxn ang="f59">
                  <a:pos x="f72" y="f73"/>
                </a:cxn>
              </a:cxnLst>
              <a:rect l="f68" t="f71" r="f69" b="f70"/>
              <a:pathLst>
                <a:path w="3644175" h="3780713">
                  <a:moveTo>
                    <a:pt x="f8" y="f5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5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cubicBezTo>
                    <a:pt x="f26" y="f27"/>
                    <a:pt x="f28" y="f29"/>
                    <a:pt x="f30" y="f7"/>
                  </a:cubicBez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6" y="f21"/>
                  </a:lnTo>
                  <a:lnTo>
                    <a:pt x="f37" y="f38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2" name="Freeform 254">
              <a:extLst>
                <a:ext uri="{FF2B5EF4-FFF2-40B4-BE49-F238E27FC236}">
                  <a16:creationId xmlns:a16="http://schemas.microsoft.com/office/drawing/2014/main" id="{235E5F66-F53C-1231-F7FA-EE1C11C36942}"/>
                </a:ext>
              </a:extLst>
            </p:cNvPr>
            <p:cNvSpPr/>
            <p:nvPr/>
          </p:nvSpPr>
          <p:spPr>
            <a:xfrm>
              <a:off x="6119226" y="3126735"/>
              <a:ext cx="101288" cy="9652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398426"/>
                <a:gd name="f7" fmla="val 2488994"/>
                <a:gd name="f8" fmla="val 2113613"/>
                <a:gd name="f9" fmla="val 269822"/>
                <a:gd name="f10" fmla="val 254833"/>
                <a:gd name="f11" fmla="val 149901"/>
                <a:gd name="f12" fmla="val 74951"/>
                <a:gd name="f13" fmla="val 329783"/>
                <a:gd name="f14" fmla="val 1691048"/>
                <a:gd name="f15" fmla="val 2177788"/>
                <a:gd name="f16" fmla="val 1556144"/>
                <a:gd name="f17" fmla="val 1439055"/>
                <a:gd name="f18" fmla="+- 0 0 -90"/>
                <a:gd name="f19" fmla="*/ f3 1 2398426"/>
                <a:gd name="f20" fmla="*/ f4 1 2488994"/>
                <a:gd name="f21" fmla="val f5"/>
                <a:gd name="f22" fmla="val f6"/>
                <a:gd name="f23" fmla="val f7"/>
                <a:gd name="f24" fmla="*/ f18 f0 1"/>
                <a:gd name="f25" fmla="+- f23 0 f21"/>
                <a:gd name="f26" fmla="+- f22 0 f21"/>
                <a:gd name="f27" fmla="*/ f24 1 f2"/>
                <a:gd name="f28" fmla="*/ f26 1 2398426"/>
                <a:gd name="f29" fmla="*/ f25 1 2488994"/>
                <a:gd name="f30" fmla="*/ 0 f26 1"/>
                <a:gd name="f31" fmla="*/ 0 f25 1"/>
                <a:gd name="f32" fmla="+- f27 0 f1"/>
                <a:gd name="f33" fmla="*/ f30 1 2398426"/>
                <a:gd name="f34" fmla="*/ f31 1 2488994"/>
                <a:gd name="f35" fmla="*/ 0 1 f28"/>
                <a:gd name="f36" fmla="*/ f22 1 f28"/>
                <a:gd name="f37" fmla="*/ 0 1 f29"/>
                <a:gd name="f38" fmla="*/ f23 1 f29"/>
                <a:gd name="f39" fmla="*/ f33 1 f28"/>
                <a:gd name="f40" fmla="*/ f34 1 f29"/>
                <a:gd name="f41" fmla="*/ f35 f19 1"/>
                <a:gd name="f42" fmla="*/ f36 f19 1"/>
                <a:gd name="f43" fmla="*/ f38 f20 1"/>
                <a:gd name="f44" fmla="*/ f37 f20 1"/>
                <a:gd name="f45" fmla="*/ f39 f19 1"/>
                <a:gd name="f46" fmla="*/ f40 f2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  <a:cxn ang="f32">
                  <a:pos x="f45" y="f46"/>
                </a:cxn>
              </a:cxnLst>
              <a:rect l="f41" t="f44" r="f42" b="f43"/>
              <a:pathLst>
                <a:path w="2398426" h="2488994">
                  <a:moveTo>
                    <a:pt x="f8" y="f9"/>
                  </a:moveTo>
                  <a:lnTo>
                    <a:pt x="f10" y="f11"/>
                  </a:lnTo>
                  <a:lnTo>
                    <a:pt x="f12" y="f5"/>
                  </a:lnTo>
                  <a:lnTo>
                    <a:pt x="f5" y="f13"/>
                  </a:lnTo>
                  <a:lnTo>
                    <a:pt x="f14" y="f7"/>
                  </a:lnTo>
                  <a:lnTo>
                    <a:pt x="f15" y="f16"/>
                  </a:lnTo>
                  <a:lnTo>
                    <a:pt x="f6" y="f1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3" name="Freeform 255">
              <a:extLst>
                <a:ext uri="{FF2B5EF4-FFF2-40B4-BE49-F238E27FC236}">
                  <a16:creationId xmlns:a16="http://schemas.microsoft.com/office/drawing/2014/main" id="{790482D7-097A-1DF1-A319-35D389DDEAF7}"/>
                </a:ext>
              </a:extLst>
            </p:cNvPr>
            <p:cNvSpPr/>
            <p:nvPr/>
          </p:nvSpPr>
          <p:spPr>
            <a:xfrm rot="286502">
              <a:off x="6192744" y="3185897"/>
              <a:ext cx="45747" cy="576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59245"/>
                <a:gd name="f7" fmla="val 1506961"/>
                <a:gd name="f8" fmla="val 459998"/>
                <a:gd name="f9" fmla="val 967315"/>
                <a:gd name="f10" fmla="val 599606"/>
                <a:gd name="f11" fmla="val 1259243"/>
                <a:gd name="f12" fmla="val 571259"/>
                <a:gd name="f13" fmla="+- 0 0 -90"/>
                <a:gd name="f14" fmla="*/ f3 1 1259245"/>
                <a:gd name="f15" fmla="*/ f4 1 1506961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1259245"/>
                <a:gd name="f24" fmla="*/ f20 1 1506961"/>
                <a:gd name="f25" fmla="*/ 0 f21 1"/>
                <a:gd name="f26" fmla="*/ 0 f20 1"/>
                <a:gd name="f27" fmla="+- f22 0 f1"/>
                <a:gd name="f28" fmla="*/ f25 1 1259245"/>
                <a:gd name="f29" fmla="*/ f26 1 1506961"/>
                <a:gd name="f30" fmla="*/ 0 1 f23"/>
                <a:gd name="f31" fmla="*/ f17 1 f23"/>
                <a:gd name="f32" fmla="*/ 0 1 f24"/>
                <a:gd name="f33" fmla="*/ f18 1 f24"/>
                <a:gd name="f34" fmla="*/ f28 1 f23"/>
                <a:gd name="f35" fmla="*/ f29 1 f24"/>
                <a:gd name="f36" fmla="*/ f30 f14 1"/>
                <a:gd name="f37" fmla="*/ f31 f14 1"/>
                <a:gd name="f38" fmla="*/ f33 f15 1"/>
                <a:gd name="f39" fmla="*/ f32 f15 1"/>
                <a:gd name="f40" fmla="*/ f34 f14 1"/>
                <a:gd name="f41" fmla="*/ f35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7">
                  <a:pos x="f40" y="f41"/>
                </a:cxn>
                <a:cxn ang="f27">
                  <a:pos x="f40" y="f41"/>
                </a:cxn>
                <a:cxn ang="f27">
                  <a:pos x="f40" y="f41"/>
                </a:cxn>
                <a:cxn ang="f27">
                  <a:pos x="f40" y="f41"/>
                </a:cxn>
                <a:cxn ang="f27">
                  <a:pos x="f40" y="f41"/>
                </a:cxn>
              </a:cxnLst>
              <a:rect l="f36" t="f39" r="f37" b="f38"/>
              <a:pathLst>
                <a:path w="1259245" h="1506961">
                  <a:moveTo>
                    <a:pt x="f8" y="f5"/>
                  </a:moveTo>
                  <a:lnTo>
                    <a:pt x="f5" y="f9"/>
                  </a:lnTo>
                  <a:lnTo>
                    <a:pt x="f10" y="f7"/>
                  </a:lnTo>
                  <a:lnTo>
                    <a:pt x="f11" y="f12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4" name="Freeform 256">
              <a:extLst>
                <a:ext uri="{FF2B5EF4-FFF2-40B4-BE49-F238E27FC236}">
                  <a16:creationId xmlns:a16="http://schemas.microsoft.com/office/drawing/2014/main" id="{BD2701CD-1C65-0269-C8A2-4174C3DE5AF8}"/>
                </a:ext>
              </a:extLst>
            </p:cNvPr>
            <p:cNvSpPr/>
            <p:nvPr/>
          </p:nvSpPr>
          <p:spPr>
            <a:xfrm>
              <a:off x="6194372" y="3086254"/>
              <a:ext cx="73517" cy="560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678899"/>
                <a:gd name="f7" fmla="val 1259174"/>
                <a:gd name="f8" fmla="val 209862"/>
                <a:gd name="f9" fmla="val 1154242"/>
                <a:gd name="f10" fmla="val 1663908"/>
                <a:gd name="f11" fmla="val 899410"/>
                <a:gd name="f12" fmla="val 854439"/>
                <a:gd name="f13" fmla="val 269823"/>
                <a:gd name="f14" fmla="+- 0 0 -90"/>
                <a:gd name="f15" fmla="*/ f3 1 1678899"/>
                <a:gd name="f16" fmla="*/ f4 1 1259174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1678899"/>
                <a:gd name="f25" fmla="*/ f21 1 1259174"/>
                <a:gd name="f26" fmla="*/ 0 f22 1"/>
                <a:gd name="f27" fmla="*/ 0 f21 1"/>
                <a:gd name="f28" fmla="+- f23 0 f1"/>
                <a:gd name="f29" fmla="*/ f26 1 1678899"/>
                <a:gd name="f30" fmla="*/ f27 1 1259174"/>
                <a:gd name="f31" fmla="*/ 0 1 f24"/>
                <a:gd name="f32" fmla="*/ f18 1 f24"/>
                <a:gd name="f33" fmla="*/ 0 1 f25"/>
                <a:gd name="f34" fmla="*/ f19 1 f25"/>
                <a:gd name="f35" fmla="*/ f29 1 f24"/>
                <a:gd name="f36" fmla="*/ f30 1 f25"/>
                <a:gd name="f37" fmla="*/ f31 f15 1"/>
                <a:gd name="f38" fmla="*/ f32 f15 1"/>
                <a:gd name="f39" fmla="*/ f34 f16 1"/>
                <a:gd name="f40" fmla="*/ f33 f16 1"/>
                <a:gd name="f41" fmla="*/ f35 f15 1"/>
                <a:gd name="f42" fmla="*/ f36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</a:cxnLst>
              <a:rect l="f37" t="f40" r="f38" b="f39"/>
              <a:pathLst>
                <a:path w="1678899" h="1259174">
                  <a:moveTo>
                    <a:pt x="f8" y="f9"/>
                  </a:moveTo>
                  <a:lnTo>
                    <a:pt x="f6" y="f7"/>
                  </a:lnTo>
                  <a:lnTo>
                    <a:pt x="f10" y="f11"/>
                  </a:lnTo>
                  <a:lnTo>
                    <a:pt x="f12" y="f5"/>
                  </a:lnTo>
                  <a:lnTo>
                    <a:pt x="f5" y="f1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5" name="Freeform 257">
              <a:extLst>
                <a:ext uri="{FF2B5EF4-FFF2-40B4-BE49-F238E27FC236}">
                  <a16:creationId xmlns:a16="http://schemas.microsoft.com/office/drawing/2014/main" id="{038C84CD-E5D2-14ED-676E-21607E39C3FE}"/>
                </a:ext>
              </a:extLst>
            </p:cNvPr>
            <p:cNvSpPr/>
            <p:nvPr/>
          </p:nvSpPr>
          <p:spPr>
            <a:xfrm>
              <a:off x="6207447" y="3137634"/>
              <a:ext cx="102924" cy="9496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578308"/>
                <a:gd name="f7" fmla="val 2368446"/>
                <a:gd name="f8" fmla="val 254833"/>
                <a:gd name="f9" fmla="val 1154242"/>
                <a:gd name="f10" fmla="val 104931"/>
                <a:gd name="f11" fmla="val 1259173"/>
                <a:gd name="f12" fmla="val 855821"/>
                <a:gd name="f13" fmla="val 1873287"/>
                <a:gd name="f14" fmla="val 1111621"/>
                <a:gd name="f15" fmla="val 1524299"/>
                <a:gd name="f16" fmla="val 1734645"/>
                <a:gd name="f17" fmla="val 2033965"/>
                <a:gd name="f18" fmla="val 1633928"/>
                <a:gd name="f19" fmla="val 2338465"/>
                <a:gd name="f20" fmla="val 2263514"/>
                <a:gd name="f21" fmla="val 1514006"/>
                <a:gd name="f22" fmla="val 2113613"/>
                <a:gd name="f23" fmla="val 224852"/>
                <a:gd name="f24" fmla="val 1439056"/>
                <a:gd name="f25" fmla="val 14990"/>
                <a:gd name="f26" fmla="+- 0 0 -90"/>
                <a:gd name="f27" fmla="*/ f3 1 2578308"/>
                <a:gd name="f28" fmla="*/ f4 1 2368446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2578308"/>
                <a:gd name="f37" fmla="*/ f33 1 2368446"/>
                <a:gd name="f38" fmla="*/ 0 f34 1"/>
                <a:gd name="f39" fmla="*/ 0 f33 1"/>
                <a:gd name="f40" fmla="+- f35 0 f1"/>
                <a:gd name="f41" fmla="*/ f38 1 2578308"/>
                <a:gd name="f42" fmla="*/ f39 1 2368446"/>
                <a:gd name="f43" fmla="*/ 0 1 f36"/>
                <a:gd name="f44" fmla="*/ f30 1 f36"/>
                <a:gd name="f45" fmla="*/ 0 1 f37"/>
                <a:gd name="f46" fmla="*/ f31 1 f37"/>
                <a:gd name="f47" fmla="*/ f41 1 f36"/>
                <a:gd name="f48" fmla="*/ f42 1 f37"/>
                <a:gd name="f49" fmla="*/ f43 f27 1"/>
                <a:gd name="f50" fmla="*/ f44 f27 1"/>
                <a:gd name="f51" fmla="*/ f46 f28 1"/>
                <a:gd name="f52" fmla="*/ f45 f28 1"/>
                <a:gd name="f53" fmla="*/ f47 f27 1"/>
                <a:gd name="f54" fmla="*/ f48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  <a:cxn ang="f40">
                  <a:pos x="f53" y="f54"/>
                </a:cxn>
              </a:cxnLst>
              <a:rect l="f49" t="f52" r="f50" b="f51"/>
              <a:pathLst>
                <a:path w="2578308" h="2368446">
                  <a:moveTo>
                    <a:pt x="f5" y="f5"/>
                  </a:move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7"/>
                  </a:lnTo>
                  <a:lnTo>
                    <a:pt x="f19" y="f20"/>
                  </a:lnTo>
                  <a:lnTo>
                    <a:pt x="f6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6" name="Freeform 258">
              <a:extLst>
                <a:ext uri="{FF2B5EF4-FFF2-40B4-BE49-F238E27FC236}">
                  <a16:creationId xmlns:a16="http://schemas.microsoft.com/office/drawing/2014/main" id="{B7202A22-F1FC-FFEF-587D-8FB809CBE32C}"/>
                </a:ext>
              </a:extLst>
            </p:cNvPr>
            <p:cNvSpPr/>
            <p:nvPr/>
          </p:nvSpPr>
          <p:spPr>
            <a:xfrm>
              <a:off x="6235218" y="3196796"/>
              <a:ext cx="40846" cy="4826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97536"/>
                <a:gd name="f7" fmla="val 1184223"/>
                <a:gd name="f8" fmla="val 482939"/>
                <a:gd name="f9" fmla="val 416160"/>
                <a:gd name="f10" fmla="val 452959"/>
                <a:gd name="f11" fmla="val 1067555"/>
                <a:gd name="f12" fmla="val 824459"/>
                <a:gd name="f13" fmla="val 509666"/>
                <a:gd name="f14" fmla="+- 0 0 -90"/>
                <a:gd name="f15" fmla="*/ f3 1 1097536"/>
                <a:gd name="f16" fmla="*/ f4 1 1184223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1097536"/>
                <a:gd name="f25" fmla="*/ f21 1 1184223"/>
                <a:gd name="f26" fmla="*/ 0 f22 1"/>
                <a:gd name="f27" fmla="*/ 0 f21 1"/>
                <a:gd name="f28" fmla="+- f23 0 f1"/>
                <a:gd name="f29" fmla="*/ f26 1 1097536"/>
                <a:gd name="f30" fmla="*/ f27 1 1184223"/>
                <a:gd name="f31" fmla="*/ 0 1 f24"/>
                <a:gd name="f32" fmla="*/ f18 1 f24"/>
                <a:gd name="f33" fmla="*/ 0 1 f25"/>
                <a:gd name="f34" fmla="*/ f19 1 f25"/>
                <a:gd name="f35" fmla="*/ f29 1 f24"/>
                <a:gd name="f36" fmla="*/ f30 1 f25"/>
                <a:gd name="f37" fmla="*/ f31 f15 1"/>
                <a:gd name="f38" fmla="*/ f32 f15 1"/>
                <a:gd name="f39" fmla="*/ f34 f16 1"/>
                <a:gd name="f40" fmla="*/ f33 f16 1"/>
                <a:gd name="f41" fmla="*/ f35 f15 1"/>
                <a:gd name="f42" fmla="*/ f36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  <a:cxn ang="f28">
                  <a:pos x="f41" y="f42"/>
                </a:cxn>
              </a:cxnLst>
              <a:rect l="f37" t="f40" r="f38" b="f39"/>
              <a:pathLst>
                <a:path w="1097536" h="1184223">
                  <a:moveTo>
                    <a:pt x="f8" y="f5"/>
                  </a:moveTo>
                  <a:lnTo>
                    <a:pt x="f5" y="f9"/>
                  </a:lnTo>
                  <a:lnTo>
                    <a:pt x="f10" y="f7"/>
                  </a:lnTo>
                  <a:lnTo>
                    <a:pt x="f11" y="f12"/>
                  </a:lnTo>
                  <a:lnTo>
                    <a:pt x="f6" y="f13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7" name="Freeform 259">
              <a:extLst>
                <a:ext uri="{FF2B5EF4-FFF2-40B4-BE49-F238E27FC236}">
                  <a16:creationId xmlns:a16="http://schemas.microsoft.com/office/drawing/2014/main" id="{B356DB3A-42DE-1CBD-557E-71812F8F6A38}"/>
                </a:ext>
              </a:extLst>
            </p:cNvPr>
            <p:cNvSpPr/>
            <p:nvPr/>
          </p:nvSpPr>
          <p:spPr>
            <a:xfrm>
              <a:off x="6253195" y="3223268"/>
              <a:ext cx="66979" cy="5916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52882"/>
                <a:gd name="f7" fmla="val 1521018"/>
                <a:gd name="f8" fmla="val 507061"/>
                <a:gd name="f9" fmla="val 1211599"/>
                <a:gd name="f10" fmla="val 435424"/>
                <a:gd name="f11" fmla="val 839449"/>
                <a:gd name="f12" fmla="val 1391481"/>
                <a:gd name="f13" fmla="val 1763339"/>
                <a:gd name="f14" fmla="val 952692"/>
                <a:gd name="f15" fmla="val 743963"/>
                <a:gd name="f16" fmla="val 1756379"/>
                <a:gd name="f17" fmla="val 372784"/>
                <a:gd name="f18" fmla="val 1563372"/>
                <a:gd name="f19" fmla="val 307281"/>
                <a:gd name="f20" fmla="val 1370668"/>
                <a:gd name="f21" fmla="val 644577"/>
                <a:gd name="f22" fmla="val 177278"/>
                <a:gd name="f23" fmla="+- 0 0 -90"/>
                <a:gd name="f24" fmla="*/ f3 1 1852882"/>
                <a:gd name="f25" fmla="*/ f4 1 1521018"/>
                <a:gd name="f26" fmla="val f5"/>
                <a:gd name="f27" fmla="val f6"/>
                <a:gd name="f28" fmla="val f7"/>
                <a:gd name="f29" fmla="*/ f23 f0 1"/>
                <a:gd name="f30" fmla="+- f28 0 f26"/>
                <a:gd name="f31" fmla="+- f27 0 f26"/>
                <a:gd name="f32" fmla="*/ f29 1 f2"/>
                <a:gd name="f33" fmla="*/ f31 1 1852882"/>
                <a:gd name="f34" fmla="*/ f30 1 1521018"/>
                <a:gd name="f35" fmla="*/ 0 f31 1"/>
                <a:gd name="f36" fmla="*/ 0 f30 1"/>
                <a:gd name="f37" fmla="+- f32 0 f1"/>
                <a:gd name="f38" fmla="*/ f35 1 1852882"/>
                <a:gd name="f39" fmla="*/ f36 1 1521018"/>
                <a:gd name="f40" fmla="*/ 0 1 f33"/>
                <a:gd name="f41" fmla="*/ f27 1 f33"/>
                <a:gd name="f42" fmla="*/ 0 1 f34"/>
                <a:gd name="f43" fmla="*/ f28 1 f34"/>
                <a:gd name="f44" fmla="*/ f38 1 f33"/>
                <a:gd name="f45" fmla="*/ f39 1 f34"/>
                <a:gd name="f46" fmla="*/ f40 f24 1"/>
                <a:gd name="f47" fmla="*/ f41 f24 1"/>
                <a:gd name="f48" fmla="*/ f43 f25 1"/>
                <a:gd name="f49" fmla="*/ f42 f25 1"/>
                <a:gd name="f50" fmla="*/ f44 f24 1"/>
                <a:gd name="f51" fmla="*/ f45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  <a:cxn ang="f37">
                  <a:pos x="f50" y="f51"/>
                </a:cxn>
              </a:cxnLst>
              <a:rect l="f46" t="f49" r="f47" b="f48"/>
              <a:pathLst>
                <a:path w="1852882" h="1521018">
                  <a:moveTo>
                    <a:pt x="f5" y="f8"/>
                  </a:moveTo>
                  <a:lnTo>
                    <a:pt x="f5" y="f9"/>
                  </a:lnTo>
                  <a:lnTo>
                    <a:pt x="f10" y="f7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6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5"/>
                  </a:lnTo>
                  <a:lnTo>
                    <a:pt x="f21" y="f22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8" name="Freeform 260">
              <a:extLst>
                <a:ext uri="{FF2B5EF4-FFF2-40B4-BE49-F238E27FC236}">
                  <a16:creationId xmlns:a16="http://schemas.microsoft.com/office/drawing/2014/main" id="{86D20592-87E6-7742-1388-1D638879EF6C}"/>
                </a:ext>
              </a:extLst>
            </p:cNvPr>
            <p:cNvSpPr/>
            <p:nvPr/>
          </p:nvSpPr>
          <p:spPr>
            <a:xfrm>
              <a:off x="6212349" y="3213923"/>
              <a:ext cx="55540" cy="1074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44747"/>
                <a:gd name="f7" fmla="val 900169"/>
                <a:gd name="f8" fmla="val 238385"/>
                <a:gd name="f9" fmla="val 99623"/>
                <a:gd name="f10" fmla="val 298870"/>
                <a:gd name="f11" fmla="val 715154"/>
                <a:gd name="f12" fmla="val 263290"/>
                <a:gd name="f13" fmla="val 327333"/>
                <a:gd name="f14" fmla="val 836125"/>
                <a:gd name="f15" fmla="val 384261"/>
                <a:gd name="f16" fmla="val 683132"/>
                <a:gd name="f17" fmla="val 362913"/>
                <a:gd name="f18" fmla="val 608414"/>
                <a:gd name="f19" fmla="val 576393"/>
                <a:gd name="f20" fmla="val 476769"/>
                <a:gd name="f21" fmla="val 266849"/>
                <a:gd name="f22" fmla="val 185014"/>
                <a:gd name="f23" fmla="+- 0 0 -90"/>
                <a:gd name="f24" fmla="*/ f3 1 444747"/>
                <a:gd name="f25" fmla="*/ f4 1 900169"/>
                <a:gd name="f26" fmla="val f5"/>
                <a:gd name="f27" fmla="val f6"/>
                <a:gd name="f28" fmla="val f7"/>
                <a:gd name="f29" fmla="*/ f23 f0 1"/>
                <a:gd name="f30" fmla="+- f28 0 f26"/>
                <a:gd name="f31" fmla="+- f27 0 f26"/>
                <a:gd name="f32" fmla="*/ f29 1 f2"/>
                <a:gd name="f33" fmla="*/ f31 1 444747"/>
                <a:gd name="f34" fmla="*/ f30 1 900169"/>
                <a:gd name="f35" fmla="*/ 0 f31 1"/>
                <a:gd name="f36" fmla="*/ 1 f30 1"/>
                <a:gd name="f37" fmla="*/ 2 f30 1"/>
                <a:gd name="f38" fmla="*/ 1 f31 1"/>
                <a:gd name="f39" fmla="*/ 3 f30 1"/>
                <a:gd name="f40" fmla="*/ 0 f30 1"/>
                <a:gd name="f41" fmla="+- f32 0 f1"/>
                <a:gd name="f42" fmla="*/ f35 1 444747"/>
                <a:gd name="f43" fmla="*/ f36 1 900169"/>
                <a:gd name="f44" fmla="*/ f37 1 900169"/>
                <a:gd name="f45" fmla="*/ f38 1 444747"/>
                <a:gd name="f46" fmla="*/ f39 1 900169"/>
                <a:gd name="f47" fmla="*/ f40 1 900169"/>
                <a:gd name="f48" fmla="*/ 0 1 f33"/>
                <a:gd name="f49" fmla="*/ f27 1 f33"/>
                <a:gd name="f50" fmla="*/ 0 1 f34"/>
                <a:gd name="f51" fmla="*/ f28 1 f34"/>
                <a:gd name="f52" fmla="*/ f42 1 f33"/>
                <a:gd name="f53" fmla="*/ f43 1 f34"/>
                <a:gd name="f54" fmla="*/ f44 1 f34"/>
                <a:gd name="f55" fmla="*/ f45 1 f33"/>
                <a:gd name="f56" fmla="*/ f46 1 f34"/>
                <a:gd name="f57" fmla="*/ f47 1 f34"/>
                <a:gd name="f58" fmla="*/ f48 f24 1"/>
                <a:gd name="f59" fmla="*/ f49 f24 1"/>
                <a:gd name="f60" fmla="*/ f51 f25 1"/>
                <a:gd name="f61" fmla="*/ f50 f25 1"/>
                <a:gd name="f62" fmla="*/ f52 f24 1"/>
                <a:gd name="f63" fmla="*/ f53 f25 1"/>
                <a:gd name="f64" fmla="*/ f54 f25 1"/>
                <a:gd name="f65" fmla="*/ f55 f24 1"/>
                <a:gd name="f66" fmla="*/ f56 f25 1"/>
                <a:gd name="f67" fmla="*/ f57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62" y="f63"/>
                </a:cxn>
                <a:cxn ang="f41">
                  <a:pos x="f62" y="f63"/>
                </a:cxn>
                <a:cxn ang="f41">
                  <a:pos x="f62" y="f64"/>
                </a:cxn>
                <a:cxn ang="f41">
                  <a:pos x="f65" y="f66"/>
                </a:cxn>
                <a:cxn ang="f41">
                  <a:pos x="f65" y="f66"/>
                </a:cxn>
                <a:cxn ang="f41">
                  <a:pos x="f65" y="f64"/>
                </a:cxn>
                <a:cxn ang="f41">
                  <a:pos x="f65" y="f64"/>
                </a:cxn>
                <a:cxn ang="f41">
                  <a:pos x="f65" y="f64"/>
                </a:cxn>
                <a:cxn ang="f41">
                  <a:pos x="f65" y="f64"/>
                </a:cxn>
                <a:cxn ang="f41">
                  <a:pos x="f65" y="f63"/>
                </a:cxn>
                <a:cxn ang="f41">
                  <a:pos x="f65" y="f67"/>
                </a:cxn>
                <a:cxn ang="f41">
                  <a:pos x="f62" y="f63"/>
                </a:cxn>
              </a:cxnLst>
              <a:rect l="f58" t="f61" r="f59" b="f60"/>
              <a:pathLst>
                <a:path w="444747" h="900169">
                  <a:moveTo>
                    <a:pt x="f5" y="f8"/>
                  </a:moveTo>
                  <a:lnTo>
                    <a:pt x="f9" y="f10"/>
                  </a:lnTo>
                  <a:lnTo>
                    <a:pt x="f9" y="f11"/>
                  </a:lnTo>
                  <a:lnTo>
                    <a:pt x="f12" y="f7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6" y="f19"/>
                  </a:lnTo>
                  <a:lnTo>
                    <a:pt x="f13" y="f20"/>
                  </a:lnTo>
                  <a:lnTo>
                    <a:pt x="f13" y="f21"/>
                  </a:lnTo>
                  <a:lnTo>
                    <a:pt x="f22" y="f5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9" name="Freeform 258">
              <a:extLst>
                <a:ext uri="{FF2B5EF4-FFF2-40B4-BE49-F238E27FC236}">
                  <a16:creationId xmlns:a16="http://schemas.microsoft.com/office/drawing/2014/main" id="{77F5BDE3-112F-0686-6965-6ADF8104E852}"/>
                </a:ext>
              </a:extLst>
            </p:cNvPr>
            <p:cNvSpPr/>
            <p:nvPr/>
          </p:nvSpPr>
          <p:spPr>
            <a:xfrm>
              <a:off x="7047168" y="1428182"/>
              <a:ext cx="449263" cy="54646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36"/>
                <a:gd name="f7" fmla="val 427"/>
                <a:gd name="f8" fmla="val 120"/>
                <a:gd name="f9" fmla="val 96"/>
                <a:gd name="f10" fmla="val 397"/>
                <a:gd name="f11" fmla="val 78"/>
                <a:gd name="f12" fmla="val 325"/>
                <a:gd name="f13" fmla="val 282"/>
                <a:gd name="f14" fmla="val 144"/>
                <a:gd name="f15" fmla="val 192"/>
                <a:gd name="f16" fmla="val 150"/>
                <a:gd name="f17" fmla="val 222"/>
                <a:gd name="f18" fmla="val 114"/>
                <a:gd name="f19" fmla="val 252"/>
                <a:gd name="f20" fmla="val 294"/>
                <a:gd name="f21" fmla="val 72"/>
                <a:gd name="f22" fmla="val 30"/>
                <a:gd name="f23" fmla="val 330"/>
                <a:gd name="f24" fmla="val 6"/>
                <a:gd name="f25" fmla="val 270"/>
                <a:gd name="f26" fmla="val 24"/>
                <a:gd name="f27" fmla="val 42"/>
                <a:gd name="f28" fmla="val 48"/>
                <a:gd name="f29" fmla="val 186"/>
                <a:gd name="f30" fmla="val 174"/>
                <a:gd name="f31" fmla="val 60"/>
                <a:gd name="f32" fmla="val 162"/>
                <a:gd name="f33" fmla="val 126"/>
                <a:gd name="f34" fmla="val 90"/>
                <a:gd name="f35" fmla="val 138"/>
                <a:gd name="f36" fmla="val 84"/>
                <a:gd name="f37" fmla="val 168"/>
                <a:gd name="f38" fmla="val 66"/>
                <a:gd name="f39" fmla="val 216"/>
                <a:gd name="f40" fmla="val 240"/>
                <a:gd name="f41" fmla="val 12"/>
                <a:gd name="f42" fmla="val 295"/>
                <a:gd name="f43" fmla="val 18"/>
                <a:gd name="f44" fmla="val 349"/>
                <a:gd name="f45" fmla="val 391"/>
                <a:gd name="f46" fmla="val 403"/>
                <a:gd name="f47" fmla="val 54"/>
                <a:gd name="f48" fmla="val 415"/>
                <a:gd name="f49" fmla="val 421"/>
                <a:gd name="f50" fmla="+- 0 0 -90"/>
                <a:gd name="f51" fmla="*/ f3 1 336"/>
                <a:gd name="f52" fmla="*/ f4 1 427"/>
                <a:gd name="f53" fmla="val f5"/>
                <a:gd name="f54" fmla="val f6"/>
                <a:gd name="f55" fmla="val f7"/>
                <a:gd name="f56" fmla="*/ f50 f0 1"/>
                <a:gd name="f57" fmla="+- f55 0 f53"/>
                <a:gd name="f58" fmla="+- f54 0 f53"/>
                <a:gd name="f59" fmla="*/ f56 1 f2"/>
                <a:gd name="f60" fmla="*/ f58 1 336"/>
                <a:gd name="f61" fmla="*/ f57 1 427"/>
                <a:gd name="f62" fmla="*/ 2147483646 f58 1"/>
                <a:gd name="f63" fmla="*/ 2147483646 f57 1"/>
                <a:gd name="f64" fmla="*/ 0 f57 1"/>
                <a:gd name="f65" fmla="*/ 0 f58 1"/>
                <a:gd name="f66" fmla="+- f59 0 f1"/>
                <a:gd name="f67" fmla="*/ f62 1 336"/>
                <a:gd name="f68" fmla="*/ f63 1 427"/>
                <a:gd name="f69" fmla="*/ f64 1 427"/>
                <a:gd name="f70" fmla="*/ f65 1 336"/>
                <a:gd name="f71" fmla="*/ 0 1 f60"/>
                <a:gd name="f72" fmla="*/ f54 1 f60"/>
                <a:gd name="f73" fmla="*/ 0 1 f61"/>
                <a:gd name="f74" fmla="*/ f55 1 f61"/>
                <a:gd name="f75" fmla="*/ f67 1 f60"/>
                <a:gd name="f76" fmla="*/ f68 1 f61"/>
                <a:gd name="f77" fmla="*/ f69 1 f61"/>
                <a:gd name="f78" fmla="*/ f70 1 f60"/>
                <a:gd name="f79" fmla="*/ f71 f51 1"/>
                <a:gd name="f80" fmla="*/ f72 f51 1"/>
                <a:gd name="f81" fmla="*/ f74 f52 1"/>
                <a:gd name="f82" fmla="*/ f73 f52 1"/>
                <a:gd name="f83" fmla="*/ f75 f51 1"/>
                <a:gd name="f84" fmla="*/ f76 f52 1"/>
                <a:gd name="f85" fmla="*/ f77 f52 1"/>
                <a:gd name="f86" fmla="*/ f78 f5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5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6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</a:cxnLst>
              <a:rect l="f79" t="f82" r="f80" b="f81"/>
              <a:pathLst>
                <a:path w="336" h="427">
                  <a:moveTo>
                    <a:pt x="f8" y="f7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9" y="f13"/>
                  </a:lnTo>
                  <a:lnTo>
                    <a:pt x="f14" y="f2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9"/>
                  </a:lnTo>
                  <a:lnTo>
                    <a:pt x="f20" y="f21"/>
                  </a:lnTo>
                  <a:lnTo>
                    <a:pt x="f6" y="f22"/>
                  </a:lnTo>
                  <a:lnTo>
                    <a:pt x="f23" y="f24"/>
                  </a:lnTo>
                  <a:lnTo>
                    <a:pt x="f20" y="f5"/>
                  </a:lnTo>
                  <a:lnTo>
                    <a:pt x="f25" y="f26"/>
                  </a:lnTo>
                  <a:lnTo>
                    <a:pt x="f19" y="f27"/>
                  </a:lnTo>
                  <a:lnTo>
                    <a:pt x="f17" y="f28"/>
                  </a:lnTo>
                  <a:lnTo>
                    <a:pt x="f29" y="f28"/>
                  </a:lnTo>
                  <a:lnTo>
                    <a:pt x="f30" y="f31"/>
                  </a:lnTo>
                  <a:lnTo>
                    <a:pt x="f32" y="f11"/>
                  </a:lnTo>
                  <a:lnTo>
                    <a:pt x="f18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29"/>
                  </a:lnTo>
                  <a:lnTo>
                    <a:pt x="f27" y="f39"/>
                  </a:lnTo>
                  <a:lnTo>
                    <a:pt x="f27" y="f40"/>
                  </a:lnTo>
                  <a:lnTo>
                    <a:pt x="f22" y="f25"/>
                  </a:lnTo>
                  <a:lnTo>
                    <a:pt x="f41" y="f42"/>
                  </a:lnTo>
                  <a:lnTo>
                    <a:pt x="f43" y="f12"/>
                  </a:lnTo>
                  <a:lnTo>
                    <a:pt x="f5" y="f44"/>
                  </a:lnTo>
                  <a:lnTo>
                    <a:pt x="f43" y="f45"/>
                  </a:lnTo>
                  <a:lnTo>
                    <a:pt x="f28" y="f46"/>
                  </a:lnTo>
                  <a:lnTo>
                    <a:pt x="f47" y="f48"/>
                  </a:lnTo>
                  <a:lnTo>
                    <a:pt x="f21" y="f49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0" name="Freeform 259">
              <a:extLst>
                <a:ext uri="{FF2B5EF4-FFF2-40B4-BE49-F238E27FC236}">
                  <a16:creationId xmlns:a16="http://schemas.microsoft.com/office/drawing/2014/main" id="{952A50C0-074E-E5B3-AE41-E3F259FB3B91}"/>
                </a:ext>
              </a:extLst>
            </p:cNvPr>
            <p:cNvSpPr/>
            <p:nvPr/>
          </p:nvSpPr>
          <p:spPr>
            <a:xfrm>
              <a:off x="6780877" y="4643130"/>
              <a:ext cx="171541" cy="3393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6"/>
                <a:gd name="f7" fmla="val 265"/>
                <a:gd name="f8" fmla="val 6"/>
                <a:gd name="f9" fmla="val 217"/>
                <a:gd name="f10" fmla="val 193"/>
                <a:gd name="f11" fmla="val 12"/>
                <a:gd name="f12" fmla="val 169"/>
                <a:gd name="f13" fmla="val 24"/>
                <a:gd name="f14" fmla="val 139"/>
                <a:gd name="f15" fmla="val 91"/>
                <a:gd name="f16" fmla="val 30"/>
                <a:gd name="f17" fmla="val 78"/>
                <a:gd name="f18" fmla="val 54"/>
                <a:gd name="f19" fmla="val 60"/>
                <a:gd name="f20" fmla="val 108"/>
                <a:gd name="f21" fmla="val 66"/>
                <a:gd name="f22" fmla="val 253"/>
                <a:gd name="f23" fmla="val 259"/>
                <a:gd name="f24" fmla="val 247"/>
                <a:gd name="f25" fmla="+- 0 0 -90"/>
                <a:gd name="f26" fmla="*/ f3 1 126"/>
                <a:gd name="f27" fmla="*/ f4 1 265"/>
                <a:gd name="f28" fmla="val f5"/>
                <a:gd name="f29" fmla="val f6"/>
                <a:gd name="f30" fmla="val f7"/>
                <a:gd name="f31" fmla="*/ f25 f0 1"/>
                <a:gd name="f32" fmla="+- f30 0 f28"/>
                <a:gd name="f33" fmla="+- f29 0 f28"/>
                <a:gd name="f34" fmla="*/ f31 1 f2"/>
                <a:gd name="f35" fmla="*/ f33 1 126"/>
                <a:gd name="f36" fmla="*/ f32 1 265"/>
                <a:gd name="f37" fmla="*/ 2147483646 f33 1"/>
                <a:gd name="f38" fmla="*/ 2147483646 f32 1"/>
                <a:gd name="f39" fmla="*/ 0 f33 1"/>
                <a:gd name="f40" fmla="*/ 0 f32 1"/>
                <a:gd name="f41" fmla="+- f34 0 f1"/>
                <a:gd name="f42" fmla="*/ f37 1 126"/>
                <a:gd name="f43" fmla="*/ f38 1 265"/>
                <a:gd name="f44" fmla="*/ f39 1 126"/>
                <a:gd name="f45" fmla="*/ f40 1 265"/>
                <a:gd name="f46" fmla="*/ 0 1 f35"/>
                <a:gd name="f47" fmla="*/ f29 1 f35"/>
                <a:gd name="f48" fmla="*/ 0 1 f36"/>
                <a:gd name="f49" fmla="*/ f30 1 f36"/>
                <a:gd name="f50" fmla="*/ f42 1 f35"/>
                <a:gd name="f51" fmla="*/ f43 1 f36"/>
                <a:gd name="f52" fmla="*/ f44 1 f35"/>
                <a:gd name="f53" fmla="*/ f45 1 f36"/>
                <a:gd name="f54" fmla="*/ f46 f26 1"/>
                <a:gd name="f55" fmla="*/ f47 f26 1"/>
                <a:gd name="f56" fmla="*/ f49 f27 1"/>
                <a:gd name="f57" fmla="*/ f48 f27 1"/>
                <a:gd name="f58" fmla="*/ f50 f26 1"/>
                <a:gd name="f59" fmla="*/ f51 f27 1"/>
                <a:gd name="f60" fmla="*/ f52 f26 1"/>
                <a:gd name="f61" fmla="*/ f53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8" y="f59"/>
                </a:cxn>
                <a:cxn ang="f41">
                  <a:pos x="f60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61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</a:cxnLst>
              <a:rect l="f54" t="f57" r="f55" b="f56"/>
              <a:pathLst>
                <a:path w="126" h="265">
                  <a:moveTo>
                    <a:pt x="f8" y="f9"/>
                  </a:moveTo>
                  <a:lnTo>
                    <a:pt x="f5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1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17" y="f13"/>
                  </a:lnTo>
                  <a:lnTo>
                    <a:pt x="f20" y="f5"/>
                  </a:lnTo>
                  <a:lnTo>
                    <a:pt x="f6" y="f13"/>
                  </a:lnTo>
                  <a:lnTo>
                    <a:pt x="f6" y="f21"/>
                  </a:lnTo>
                  <a:lnTo>
                    <a:pt x="f6" y="f15"/>
                  </a:lnTo>
                  <a:lnTo>
                    <a:pt x="f17" y="f22"/>
                  </a:lnTo>
                  <a:lnTo>
                    <a:pt x="f18" y="f23"/>
                  </a:lnTo>
                  <a:lnTo>
                    <a:pt x="f16" y="f7"/>
                  </a:lnTo>
                  <a:lnTo>
                    <a:pt x="f8" y="f2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1" name="Freeform 271">
              <a:extLst>
                <a:ext uri="{FF2B5EF4-FFF2-40B4-BE49-F238E27FC236}">
                  <a16:creationId xmlns:a16="http://schemas.microsoft.com/office/drawing/2014/main" id="{69F70872-5CE5-581D-269A-E22ED13846B0}"/>
                </a:ext>
              </a:extLst>
            </p:cNvPr>
            <p:cNvSpPr/>
            <p:nvPr/>
          </p:nvSpPr>
          <p:spPr>
            <a:xfrm>
              <a:off x="8517496" y="4185418"/>
              <a:ext cx="233620" cy="26000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74"/>
                <a:gd name="f7" fmla="val 204"/>
                <a:gd name="f8" fmla="val 12"/>
                <a:gd name="f9" fmla="val 168"/>
                <a:gd name="f10" fmla="val 144"/>
                <a:gd name="f11" fmla="val 108"/>
                <a:gd name="f12" fmla="val 90"/>
                <a:gd name="f13" fmla="val 36"/>
                <a:gd name="f14" fmla="val 84"/>
                <a:gd name="f15" fmla="val 60"/>
                <a:gd name="f16" fmla="val 66"/>
                <a:gd name="f17" fmla="val 96"/>
                <a:gd name="f18" fmla="val 24"/>
                <a:gd name="f19" fmla="val 138"/>
                <a:gd name="f20" fmla="val 162"/>
                <a:gd name="f21" fmla="val 30"/>
                <a:gd name="f22" fmla="val 156"/>
                <a:gd name="f23" fmla="val 48"/>
                <a:gd name="f24" fmla="val 150"/>
                <a:gd name="f25" fmla="val 120"/>
                <a:gd name="f26" fmla="val 132"/>
                <a:gd name="f27" fmla="val 126"/>
                <a:gd name="f28" fmla="val 114"/>
                <a:gd name="f29" fmla="val 198"/>
                <a:gd name="f30" fmla="val 72"/>
                <a:gd name="f31" fmla="val 192"/>
                <a:gd name="f32" fmla="val 42"/>
                <a:gd name="f33" fmla="+- 0 0 -90"/>
                <a:gd name="f34" fmla="*/ f3 1 174"/>
                <a:gd name="f35" fmla="*/ f4 1 204"/>
                <a:gd name="f36" fmla="val f5"/>
                <a:gd name="f37" fmla="val f6"/>
                <a:gd name="f38" fmla="val f7"/>
                <a:gd name="f39" fmla="*/ f33 f0 1"/>
                <a:gd name="f40" fmla="+- f38 0 f36"/>
                <a:gd name="f41" fmla="+- f37 0 f36"/>
                <a:gd name="f42" fmla="*/ f39 1 f2"/>
                <a:gd name="f43" fmla="*/ f41 1 174"/>
                <a:gd name="f44" fmla="*/ f40 1 204"/>
                <a:gd name="f45" fmla="*/ 2147483646 f41 1"/>
                <a:gd name="f46" fmla="*/ 2147483646 f40 1"/>
                <a:gd name="f47" fmla="*/ 0 f41 1"/>
                <a:gd name="f48" fmla="*/ 0 f40 1"/>
                <a:gd name="f49" fmla="+- f42 0 f1"/>
                <a:gd name="f50" fmla="*/ f45 1 174"/>
                <a:gd name="f51" fmla="*/ f46 1 204"/>
                <a:gd name="f52" fmla="*/ f47 1 174"/>
                <a:gd name="f53" fmla="*/ f48 1 204"/>
                <a:gd name="f54" fmla="*/ 0 1 f43"/>
                <a:gd name="f55" fmla="*/ f37 1 f43"/>
                <a:gd name="f56" fmla="*/ 0 1 f44"/>
                <a:gd name="f57" fmla="*/ f38 1 f44"/>
                <a:gd name="f58" fmla="*/ f50 1 f43"/>
                <a:gd name="f59" fmla="*/ f51 1 f44"/>
                <a:gd name="f60" fmla="*/ f52 1 f43"/>
                <a:gd name="f61" fmla="*/ f53 1 f44"/>
                <a:gd name="f62" fmla="*/ f54 f34 1"/>
                <a:gd name="f63" fmla="*/ f55 f34 1"/>
                <a:gd name="f64" fmla="*/ f57 f35 1"/>
                <a:gd name="f65" fmla="*/ f56 f35 1"/>
                <a:gd name="f66" fmla="*/ f58 f34 1"/>
                <a:gd name="f67" fmla="*/ f59 f35 1"/>
                <a:gd name="f68" fmla="*/ f60 f34 1"/>
                <a:gd name="f69" fmla="*/ f61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9">
                  <a:pos x="f66" y="f67"/>
                </a:cxn>
                <a:cxn ang="f49">
                  <a:pos x="f68" y="f67"/>
                </a:cxn>
                <a:cxn ang="f49">
                  <a:pos x="f68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9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</a:cxnLst>
              <a:rect l="f62" t="f65" r="f63" b="f64"/>
              <a:pathLst>
                <a:path w="174" h="204">
                  <a:moveTo>
                    <a:pt x="f8" y="f9"/>
                  </a:moveTo>
                  <a:lnTo>
                    <a:pt x="f5" y="f10"/>
                  </a:lnTo>
                  <a:lnTo>
                    <a:pt x="f5" y="f11"/>
                  </a:lnTo>
                  <a:lnTo>
                    <a:pt x="f8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5"/>
                  </a:lnTo>
                  <a:lnTo>
                    <a:pt x="f20" y="f8"/>
                  </a:lnTo>
                  <a:lnTo>
                    <a:pt x="f6" y="f21"/>
                  </a:lnTo>
                  <a:lnTo>
                    <a:pt x="f22" y="f23"/>
                  </a:lnTo>
                  <a:lnTo>
                    <a:pt x="f24" y="f16"/>
                  </a:lnTo>
                  <a:lnTo>
                    <a:pt x="f22" y="f12"/>
                  </a:lnTo>
                  <a:lnTo>
                    <a:pt x="f6" y="f11"/>
                  </a:lnTo>
                  <a:lnTo>
                    <a:pt x="f22" y="f25"/>
                  </a:lnTo>
                  <a:lnTo>
                    <a:pt x="f24" y="f26"/>
                  </a:lnTo>
                  <a:lnTo>
                    <a:pt x="f19" y="f24"/>
                  </a:lnTo>
                  <a:lnTo>
                    <a:pt x="f27" y="f9"/>
                  </a:lnTo>
                  <a:lnTo>
                    <a:pt x="f28" y="f29"/>
                  </a:lnTo>
                  <a:lnTo>
                    <a:pt x="f12" y="f7"/>
                  </a:lnTo>
                  <a:lnTo>
                    <a:pt x="f30" y="f31"/>
                  </a:lnTo>
                  <a:lnTo>
                    <a:pt x="f32" y="f31"/>
                  </a:lnTo>
                  <a:lnTo>
                    <a:pt x="f18" y="f3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2" name="Freeform 274">
              <a:extLst>
                <a:ext uri="{FF2B5EF4-FFF2-40B4-BE49-F238E27FC236}">
                  <a16:creationId xmlns:a16="http://schemas.microsoft.com/office/drawing/2014/main" id="{3039E1FE-E140-B2FA-440D-E8FB1FC78EC0}"/>
                </a:ext>
              </a:extLst>
            </p:cNvPr>
            <p:cNvSpPr/>
            <p:nvPr/>
          </p:nvSpPr>
          <p:spPr>
            <a:xfrm>
              <a:off x="8720072" y="4314632"/>
              <a:ext cx="145398" cy="1697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8"/>
                <a:gd name="f7" fmla="val 132"/>
                <a:gd name="f8" fmla="val 12"/>
                <a:gd name="f9" fmla="val 126"/>
                <a:gd name="f10" fmla="val 84"/>
                <a:gd name="f11" fmla="val 6"/>
                <a:gd name="f12" fmla="val 66"/>
                <a:gd name="f13" fmla="val 24"/>
                <a:gd name="f14" fmla="val 36"/>
                <a:gd name="f15" fmla="val 90"/>
                <a:gd name="f16" fmla="val 54"/>
                <a:gd name="f17" fmla="val 42"/>
                <a:gd name="f18" fmla="val 60"/>
                <a:gd name="f19" fmla="val 78"/>
                <a:gd name="f20" fmla="val 102"/>
                <a:gd name="f21" fmla="val 96"/>
                <a:gd name="f22" fmla="val 72"/>
                <a:gd name="f23" fmla="val 114"/>
                <a:gd name="f24" fmla="+- 0 0 -90"/>
                <a:gd name="f25" fmla="*/ f3 1 108"/>
                <a:gd name="f26" fmla="*/ f4 1 132"/>
                <a:gd name="f27" fmla="val f5"/>
                <a:gd name="f28" fmla="val f6"/>
                <a:gd name="f29" fmla="val f7"/>
                <a:gd name="f30" fmla="*/ f24 f0 1"/>
                <a:gd name="f31" fmla="+- f29 0 f27"/>
                <a:gd name="f32" fmla="+- f28 0 f27"/>
                <a:gd name="f33" fmla="*/ f30 1 f2"/>
                <a:gd name="f34" fmla="*/ f32 1 108"/>
                <a:gd name="f35" fmla="*/ f31 1 132"/>
                <a:gd name="f36" fmla="*/ 2147483646 f32 1"/>
                <a:gd name="f37" fmla="*/ 2147483646 f31 1"/>
                <a:gd name="f38" fmla="*/ 0 f32 1"/>
                <a:gd name="f39" fmla="*/ 0 f31 1"/>
                <a:gd name="f40" fmla="+- f33 0 f1"/>
                <a:gd name="f41" fmla="*/ f36 1 108"/>
                <a:gd name="f42" fmla="*/ f37 1 132"/>
                <a:gd name="f43" fmla="*/ f38 1 108"/>
                <a:gd name="f44" fmla="*/ f39 1 132"/>
                <a:gd name="f45" fmla="*/ 0 1 f34"/>
                <a:gd name="f46" fmla="*/ f28 1 f34"/>
                <a:gd name="f47" fmla="*/ 0 1 f35"/>
                <a:gd name="f48" fmla="*/ f29 1 f35"/>
                <a:gd name="f49" fmla="*/ f41 1 f34"/>
                <a:gd name="f50" fmla="*/ f42 1 f35"/>
                <a:gd name="f51" fmla="*/ f43 1 f34"/>
                <a:gd name="f52" fmla="*/ f44 1 f35"/>
                <a:gd name="f53" fmla="*/ f45 f25 1"/>
                <a:gd name="f54" fmla="*/ f46 f25 1"/>
                <a:gd name="f55" fmla="*/ f48 f26 1"/>
                <a:gd name="f56" fmla="*/ f47 f26 1"/>
                <a:gd name="f57" fmla="*/ f49 f25 1"/>
                <a:gd name="f58" fmla="*/ f50 f26 1"/>
                <a:gd name="f59" fmla="*/ f51 f25 1"/>
                <a:gd name="f60" fmla="*/ f52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9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60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</a:cxnLst>
              <a:rect l="f53" t="f56" r="f54" b="f55"/>
              <a:pathLst>
                <a:path w="108" h="132">
                  <a:moveTo>
                    <a:pt x="f8" y="f9"/>
                  </a:moveTo>
                  <a:lnTo>
                    <a:pt x="f8" y="f6"/>
                  </a:lnTo>
                  <a:lnTo>
                    <a:pt x="f5" y="f10"/>
                  </a:lnTo>
                  <a:lnTo>
                    <a:pt x="f11" y="f12"/>
                  </a:lnTo>
                  <a:lnTo>
                    <a:pt x="f13" y="f13"/>
                  </a:lnTo>
                  <a:lnTo>
                    <a:pt x="f14" y="f8"/>
                  </a:lnTo>
                  <a:lnTo>
                    <a:pt x="f12" y="f11"/>
                  </a:lnTo>
                  <a:lnTo>
                    <a:pt x="f6" y="f5"/>
                  </a:lnTo>
                  <a:lnTo>
                    <a:pt x="f6" y="f8"/>
                  </a:lnTo>
                  <a:lnTo>
                    <a:pt x="f15" y="f8"/>
                  </a:lnTo>
                  <a:lnTo>
                    <a:pt x="f16" y="f13"/>
                  </a:lnTo>
                  <a:lnTo>
                    <a:pt x="f17" y="f17"/>
                  </a:lnTo>
                  <a:lnTo>
                    <a:pt x="f10" y="f17"/>
                  </a:lnTo>
                  <a:lnTo>
                    <a:pt x="f15" y="f18"/>
                  </a:lnTo>
                  <a:lnTo>
                    <a:pt x="f19" y="f12"/>
                  </a:lnTo>
                  <a:lnTo>
                    <a:pt x="f12" y="f19"/>
                  </a:lnTo>
                  <a:lnTo>
                    <a:pt x="f15" y="f20"/>
                  </a:lnTo>
                  <a:lnTo>
                    <a:pt x="f21" y="f9"/>
                  </a:lnTo>
                  <a:lnTo>
                    <a:pt x="f22" y="f9"/>
                  </a:lnTo>
                  <a:lnTo>
                    <a:pt x="f16" y="f6"/>
                  </a:lnTo>
                  <a:lnTo>
                    <a:pt x="f14" y="f10"/>
                  </a:lnTo>
                  <a:lnTo>
                    <a:pt x="f14" y="f23"/>
                  </a:lnTo>
                  <a:lnTo>
                    <a:pt x="f14" y="f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3" name="Freeform 275">
              <a:extLst>
                <a:ext uri="{FF2B5EF4-FFF2-40B4-BE49-F238E27FC236}">
                  <a16:creationId xmlns:a16="http://schemas.microsoft.com/office/drawing/2014/main" id="{FD984B22-3869-1D42-9E3B-93D852D43ABB}"/>
                </a:ext>
              </a:extLst>
            </p:cNvPr>
            <p:cNvSpPr/>
            <p:nvPr/>
          </p:nvSpPr>
          <p:spPr>
            <a:xfrm>
              <a:off x="8390065" y="4468854"/>
              <a:ext cx="272829" cy="5916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8"/>
                <a:gd name="f8" fmla="val 1"/>
                <a:gd name="f9" fmla="val 9"/>
                <a:gd name="f10" fmla="val 16"/>
                <a:gd name="f11" fmla="val 20"/>
                <a:gd name="f12" fmla="val 23"/>
                <a:gd name="f13" fmla="val 3"/>
                <a:gd name="f14" fmla="val 31"/>
                <a:gd name="f15" fmla="val 5"/>
                <a:gd name="f16" fmla="val 26"/>
                <a:gd name="f17" fmla="val 7"/>
                <a:gd name="f18" fmla="val 19"/>
                <a:gd name="f19" fmla="val 6"/>
                <a:gd name="f20" fmla="val 10"/>
                <a:gd name="f21" fmla="val 4"/>
                <a:gd name="f22" fmla="+- 0 0 -90"/>
                <a:gd name="f23" fmla="*/ f3 1 34"/>
                <a:gd name="f24" fmla="*/ f4 1 8"/>
                <a:gd name="f25" fmla="val f5"/>
                <a:gd name="f26" fmla="val f6"/>
                <a:gd name="f27" fmla="val f7"/>
                <a:gd name="f28" fmla="*/ f22 f0 1"/>
                <a:gd name="f29" fmla="+- f27 0 f25"/>
                <a:gd name="f30" fmla="+- f26 0 f25"/>
                <a:gd name="f31" fmla="*/ f28 1 f2"/>
                <a:gd name="f32" fmla="*/ f29 1 8"/>
                <a:gd name="f33" fmla="*/ f30 1 34"/>
                <a:gd name="f34" fmla="*/ 0 f30 1"/>
                <a:gd name="f35" fmla="*/ 2147483646 f29 1"/>
                <a:gd name="f36" fmla="*/ 2147483646 f30 1"/>
                <a:gd name="f37" fmla="*/ 0 f29 1"/>
                <a:gd name="f38" fmla="+- f31 0 f1"/>
                <a:gd name="f39" fmla="*/ f34 1 34"/>
                <a:gd name="f40" fmla="*/ f35 1 8"/>
                <a:gd name="f41" fmla="*/ f36 1 34"/>
                <a:gd name="f42" fmla="*/ f37 1 8"/>
                <a:gd name="f43" fmla="*/ 0 1 f33"/>
                <a:gd name="f44" fmla="*/ f26 1 f33"/>
                <a:gd name="f45" fmla="*/ 0 1 f32"/>
                <a:gd name="f46" fmla="*/ f27 1 f32"/>
                <a:gd name="f47" fmla="*/ f39 1 f33"/>
                <a:gd name="f48" fmla="*/ f40 1 f32"/>
                <a:gd name="f49" fmla="*/ f41 1 f33"/>
                <a:gd name="f50" fmla="*/ f42 1 f32"/>
                <a:gd name="f51" fmla="*/ f43 f23 1"/>
                <a:gd name="f52" fmla="*/ f44 f23 1"/>
                <a:gd name="f53" fmla="*/ f46 f24 1"/>
                <a:gd name="f54" fmla="*/ f45 f24 1"/>
                <a:gd name="f55" fmla="*/ f47 f23 1"/>
                <a:gd name="f56" fmla="*/ f48 f24 1"/>
                <a:gd name="f57" fmla="*/ f49 f23 1"/>
                <a:gd name="f58" fmla="*/ f50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5" y="f56"/>
                </a:cxn>
                <a:cxn ang="f38">
                  <a:pos x="f57" y="f58"/>
                </a:cxn>
                <a:cxn ang="f38">
                  <a:pos x="f57" y="f58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7" y="f56"/>
                </a:cxn>
                <a:cxn ang="f38">
                  <a:pos x="f55" y="f56"/>
                </a:cxn>
              </a:cxnLst>
              <a:rect l="f51" t="f54" r="f52" b="f53"/>
              <a:pathLst>
                <a:path w="34" h="8">
                  <a:moveTo>
                    <a:pt x="f5" y="f8"/>
                  </a:moveTo>
                  <a:cubicBezTo>
                    <a:pt x="f9" y="f5"/>
                    <a:pt x="f9" y="f5"/>
                    <a:pt x="f9" y="f5"/>
                  </a:cubicBezTo>
                  <a:cubicBezTo>
                    <a:pt x="f10" y="f5"/>
                    <a:pt x="f10" y="f5"/>
                    <a:pt x="f10" y="f5"/>
                  </a:cubicBezTo>
                  <a:cubicBezTo>
                    <a:pt x="f11" y="f8"/>
                    <a:pt x="f11" y="f8"/>
                    <a:pt x="f11" y="f8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6" y="f7"/>
                    <a:pt x="f6" y="f7"/>
                    <a:pt x="f6" y="f7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18" y="f19"/>
                    <a:pt x="f20" y="f21"/>
                    <a:pt x="f7" y="f21"/>
                  </a:cubicBezTo>
                  <a:cubicBezTo>
                    <a:pt x="f17" y="f13"/>
                    <a:pt x="f5" y="f8"/>
                    <a:pt x="f5" y="f8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4" name="Freeform 277">
              <a:extLst>
                <a:ext uri="{FF2B5EF4-FFF2-40B4-BE49-F238E27FC236}">
                  <a16:creationId xmlns:a16="http://schemas.microsoft.com/office/drawing/2014/main" id="{7DE6DE6C-31EF-36A5-0EFC-1415C8835E9C}"/>
                </a:ext>
              </a:extLst>
            </p:cNvPr>
            <p:cNvSpPr/>
            <p:nvPr/>
          </p:nvSpPr>
          <p:spPr>
            <a:xfrm>
              <a:off x="3389312" y="3791522"/>
              <a:ext cx="284259" cy="7628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5"/>
                <a:gd name="f7" fmla="val 10"/>
                <a:gd name="f8" fmla="val 2"/>
                <a:gd name="f9" fmla="val 1"/>
                <a:gd name="f10" fmla="val 8"/>
                <a:gd name="f11" fmla="val 19"/>
                <a:gd name="f12" fmla="val 26"/>
                <a:gd name="f13" fmla="val 3"/>
                <a:gd name="f14" fmla="val 27"/>
                <a:gd name="f15" fmla="val 5"/>
                <a:gd name="f16" fmla="val 28"/>
                <a:gd name="f17" fmla="val 6"/>
                <a:gd name="f18" fmla="val 30"/>
                <a:gd name="f19" fmla="val 7"/>
                <a:gd name="f20" fmla="val 33"/>
                <a:gd name="f21" fmla="val 9"/>
                <a:gd name="f22" fmla="val 31"/>
                <a:gd name="f23" fmla="val 25"/>
                <a:gd name="f24" fmla="val 23"/>
                <a:gd name="f25" fmla="val 21"/>
                <a:gd name="f26" fmla="val 15"/>
                <a:gd name="f27" fmla="val 4"/>
                <a:gd name="f28" fmla="+- 0 0 -90"/>
                <a:gd name="f29" fmla="*/ f3 1 35"/>
                <a:gd name="f30" fmla="*/ f4 1 10"/>
                <a:gd name="f31" fmla="val f5"/>
                <a:gd name="f32" fmla="val f6"/>
                <a:gd name="f33" fmla="val f7"/>
                <a:gd name="f34" fmla="*/ f28 f0 1"/>
                <a:gd name="f35" fmla="+- f33 0 f31"/>
                <a:gd name="f36" fmla="+- f32 0 f31"/>
                <a:gd name="f37" fmla="*/ f34 1 f2"/>
                <a:gd name="f38" fmla="*/ f35 1 10"/>
                <a:gd name="f39" fmla="*/ f36 1 35"/>
                <a:gd name="f40" fmla="*/ 2147483646 f36 1"/>
                <a:gd name="f41" fmla="*/ 2147483646 f35 1"/>
                <a:gd name="f42" fmla="*/ 0 f35 1"/>
                <a:gd name="f43" fmla="*/ 0 f36 1"/>
                <a:gd name="f44" fmla="+- f37 0 f1"/>
                <a:gd name="f45" fmla="*/ f40 1 35"/>
                <a:gd name="f46" fmla="*/ f41 1 10"/>
                <a:gd name="f47" fmla="*/ f42 1 10"/>
                <a:gd name="f48" fmla="*/ f43 1 35"/>
                <a:gd name="f49" fmla="*/ 0 1 f39"/>
                <a:gd name="f50" fmla="*/ f32 1 f39"/>
                <a:gd name="f51" fmla="*/ 0 1 f38"/>
                <a:gd name="f52" fmla="*/ f33 1 f38"/>
                <a:gd name="f53" fmla="*/ f45 1 f39"/>
                <a:gd name="f54" fmla="*/ f46 1 f38"/>
                <a:gd name="f55" fmla="*/ f47 1 f38"/>
                <a:gd name="f56" fmla="*/ f48 1 f39"/>
                <a:gd name="f57" fmla="*/ f49 f29 1"/>
                <a:gd name="f58" fmla="*/ f50 f29 1"/>
                <a:gd name="f59" fmla="*/ f52 f30 1"/>
                <a:gd name="f60" fmla="*/ f51 f30 1"/>
                <a:gd name="f61" fmla="*/ f53 f29 1"/>
                <a:gd name="f62" fmla="*/ f54 f30 1"/>
                <a:gd name="f63" fmla="*/ f55 f30 1"/>
                <a:gd name="f64" fmla="*/ f56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4">
                  <a:pos x="f61" y="f62"/>
                </a:cxn>
                <a:cxn ang="f44">
                  <a:pos x="f61" y="f63"/>
                </a:cxn>
                <a:cxn ang="f44">
                  <a:pos x="f61" y="f63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4" y="f62"/>
                </a:cxn>
                <a:cxn ang="f44">
                  <a:pos x="f61" y="f62"/>
                </a:cxn>
              </a:cxnLst>
              <a:rect l="f57" t="f60" r="f58" b="f59"/>
              <a:pathLst>
                <a:path w="35" h="10">
                  <a:moveTo>
                    <a:pt x="f8" y="f9"/>
                  </a:moveTo>
                  <a:cubicBezTo>
                    <a:pt x="f10" y="f5"/>
                    <a:pt x="f10" y="f5"/>
                    <a:pt x="f10" y="f5"/>
                  </a:cubicBezTo>
                  <a:cubicBezTo>
                    <a:pt x="f11" y="f5"/>
                    <a:pt x="f11" y="f5"/>
                    <a:pt x="f11" y="f5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2" y="f13"/>
                    <a:pt x="f14" y="f15"/>
                    <a:pt x="f16" y="f17"/>
                  </a:cubicBezTo>
                  <a:cubicBezTo>
                    <a:pt x="f18" y="f19"/>
                    <a:pt x="f20" y="f19"/>
                    <a:pt x="f20" y="f19"/>
                  </a:cubicBezTo>
                  <a:cubicBezTo>
                    <a:pt x="f6" y="f21"/>
                    <a:pt x="f6" y="f21"/>
                    <a:pt x="f6" y="f21"/>
                  </a:cubicBezTo>
                  <a:cubicBezTo>
                    <a:pt x="f6" y="f21"/>
                    <a:pt x="f6" y="f7"/>
                    <a:pt x="f20" y="f7"/>
                  </a:cubicBezTo>
                  <a:cubicBezTo>
                    <a:pt x="f22" y="f7"/>
                    <a:pt x="f23" y="f7"/>
                    <a:pt x="f23" y="f7"/>
                  </a:cubicBezTo>
                  <a:cubicBezTo>
                    <a:pt x="f24" y="f10"/>
                    <a:pt x="f24" y="f10"/>
                    <a:pt x="f24" y="f10"/>
                  </a:cubicBezTo>
                  <a:cubicBezTo>
                    <a:pt x="f25" y="f15"/>
                    <a:pt x="f25" y="f15"/>
                    <a:pt x="f25" y="f1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21" y="f27"/>
                    <a:pt x="f21" y="f27"/>
                    <a:pt x="f21" y="f27"/>
                  </a:cubicBezTo>
                  <a:cubicBezTo>
                    <a:pt x="f15" y="f27"/>
                    <a:pt x="f15" y="f27"/>
                    <a:pt x="f15" y="f27"/>
                  </a:cubicBezTo>
                  <a:cubicBezTo>
                    <a:pt x="f5" y="f13"/>
                    <a:pt x="f5" y="f13"/>
                    <a:pt x="f5" y="f13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5" name="Freeform 278">
              <a:extLst>
                <a:ext uri="{FF2B5EF4-FFF2-40B4-BE49-F238E27FC236}">
                  <a16:creationId xmlns:a16="http://schemas.microsoft.com/office/drawing/2014/main" id="{5A061B10-F384-3D81-665B-422172E8B97A}"/>
                </a:ext>
              </a:extLst>
            </p:cNvPr>
            <p:cNvSpPr/>
            <p:nvPr/>
          </p:nvSpPr>
          <p:spPr>
            <a:xfrm>
              <a:off x="3673581" y="3875592"/>
              <a:ext cx="176442" cy="467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2"/>
                <a:gd name="f7" fmla="val 36"/>
                <a:gd name="f8" fmla="val 24"/>
                <a:gd name="f9" fmla="val 12"/>
                <a:gd name="f10" fmla="val 18"/>
                <a:gd name="f11" fmla="val 30"/>
                <a:gd name="f12" fmla="val 42"/>
                <a:gd name="f13" fmla="val 66"/>
                <a:gd name="f14" fmla="val 84"/>
                <a:gd name="f15" fmla="val 108"/>
                <a:gd name="f16" fmla="val 72"/>
                <a:gd name="f17" fmla="+- 0 0 -90"/>
                <a:gd name="f18" fmla="*/ f3 1 132"/>
                <a:gd name="f19" fmla="*/ f4 1 36"/>
                <a:gd name="f20" fmla="val f5"/>
                <a:gd name="f21" fmla="val f6"/>
                <a:gd name="f22" fmla="val f7"/>
                <a:gd name="f23" fmla="*/ f17 f0 1"/>
                <a:gd name="f24" fmla="+- f22 0 f20"/>
                <a:gd name="f25" fmla="+- f21 0 f20"/>
                <a:gd name="f26" fmla="*/ f23 1 f2"/>
                <a:gd name="f27" fmla="*/ f25 1 132"/>
                <a:gd name="f28" fmla="*/ f24 1 36"/>
                <a:gd name="f29" fmla="*/ 2147483646 f25 1"/>
                <a:gd name="f30" fmla="*/ 0 f24 1"/>
                <a:gd name="f31" fmla="*/ 2147483646 f24 1"/>
                <a:gd name="f32" fmla="*/ 0 f25 1"/>
                <a:gd name="f33" fmla="+- f26 0 f1"/>
                <a:gd name="f34" fmla="*/ f29 1 132"/>
                <a:gd name="f35" fmla="*/ f30 1 36"/>
                <a:gd name="f36" fmla="*/ f31 1 36"/>
                <a:gd name="f37" fmla="*/ f32 1 132"/>
                <a:gd name="f38" fmla="*/ 0 1 f27"/>
                <a:gd name="f39" fmla="*/ f21 1 f27"/>
                <a:gd name="f40" fmla="*/ 0 1 f28"/>
                <a:gd name="f41" fmla="*/ f22 1 f28"/>
                <a:gd name="f42" fmla="*/ f34 1 f27"/>
                <a:gd name="f43" fmla="*/ f35 1 f28"/>
                <a:gd name="f44" fmla="*/ f36 1 f28"/>
                <a:gd name="f45" fmla="*/ f37 1 f27"/>
                <a:gd name="f46" fmla="*/ f38 f18 1"/>
                <a:gd name="f47" fmla="*/ f39 f18 1"/>
                <a:gd name="f48" fmla="*/ f41 f19 1"/>
                <a:gd name="f49" fmla="*/ f40 f19 1"/>
                <a:gd name="f50" fmla="*/ f42 f18 1"/>
                <a:gd name="f51" fmla="*/ f43 f19 1"/>
                <a:gd name="f52" fmla="*/ f44 f19 1"/>
                <a:gd name="f53" fmla="*/ f45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3">
                  <a:pos x="f50" y="f51"/>
                </a:cxn>
                <a:cxn ang="f33">
                  <a:pos x="f50" y="f52"/>
                </a:cxn>
                <a:cxn ang="f33">
                  <a:pos x="f53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1"/>
                </a:cxn>
                <a:cxn ang="f33">
                  <a:pos x="f50" y="f51"/>
                </a:cxn>
              </a:cxnLst>
              <a:rect l="f46" t="f49" r="f47" b="f48"/>
              <a:pathLst>
                <a:path w="132" h="36">
                  <a:moveTo>
                    <a:pt x="f8" y="f5"/>
                  </a:moveTo>
                  <a:lnTo>
                    <a:pt x="f8" y="f9"/>
                  </a:lnTo>
                  <a:lnTo>
                    <a:pt x="f5" y="f10"/>
                  </a:lnTo>
                  <a:lnTo>
                    <a:pt x="f11" y="f11"/>
                  </a:lnTo>
                  <a:lnTo>
                    <a:pt x="f12" y="f7"/>
                  </a:lnTo>
                  <a:lnTo>
                    <a:pt x="f13" y="f7"/>
                  </a:lnTo>
                  <a:lnTo>
                    <a:pt x="f14" y="f8"/>
                  </a:lnTo>
                  <a:lnTo>
                    <a:pt x="f6" y="f11"/>
                  </a:lnTo>
                  <a:lnTo>
                    <a:pt x="f15" y="f10"/>
                  </a:lnTo>
                  <a:lnTo>
                    <a:pt x="f16" y="f5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6" name="Freeform 279">
              <a:extLst>
                <a:ext uri="{FF2B5EF4-FFF2-40B4-BE49-F238E27FC236}">
                  <a16:creationId xmlns:a16="http://schemas.microsoft.com/office/drawing/2014/main" id="{48212BE4-ABF9-2D04-AF3C-CAF77A6ED566}"/>
                </a:ext>
              </a:extLst>
            </p:cNvPr>
            <p:cNvSpPr/>
            <p:nvPr/>
          </p:nvSpPr>
          <p:spPr>
            <a:xfrm>
              <a:off x="6001598" y="3358709"/>
              <a:ext cx="80046" cy="451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0"/>
                <a:gd name="f7" fmla="val 36"/>
                <a:gd name="f8" fmla="val 12"/>
                <a:gd name="f9" fmla="val 6"/>
                <a:gd name="f10" fmla="val 18"/>
                <a:gd name="f11" fmla="val 54"/>
                <a:gd name="f12" fmla="val 30"/>
                <a:gd name="f13" fmla="val 24"/>
                <a:gd name="f14" fmla="+- 0 0 -90"/>
                <a:gd name="f15" fmla="*/ f3 1 60"/>
                <a:gd name="f16" fmla="*/ f4 1 36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60"/>
                <a:gd name="f25" fmla="*/ f21 1 36"/>
                <a:gd name="f26" fmla="*/ 0 f22 1"/>
                <a:gd name="f27" fmla="*/ 2147483646 f21 1"/>
                <a:gd name="f28" fmla="*/ 2147483646 f22 1"/>
                <a:gd name="f29" fmla="*/ 0 f21 1"/>
                <a:gd name="f30" fmla="+- f23 0 f1"/>
                <a:gd name="f31" fmla="*/ f26 1 60"/>
                <a:gd name="f32" fmla="*/ f27 1 36"/>
                <a:gd name="f33" fmla="*/ f28 1 60"/>
                <a:gd name="f34" fmla="*/ f29 1 36"/>
                <a:gd name="f35" fmla="*/ 0 1 f24"/>
                <a:gd name="f36" fmla="*/ f18 1 f24"/>
                <a:gd name="f37" fmla="*/ 0 1 f25"/>
                <a:gd name="f38" fmla="*/ f19 1 f25"/>
                <a:gd name="f39" fmla="*/ f31 1 f24"/>
                <a:gd name="f40" fmla="*/ f32 1 f25"/>
                <a:gd name="f41" fmla="*/ f33 1 f24"/>
                <a:gd name="f42" fmla="*/ f34 1 f25"/>
                <a:gd name="f43" fmla="*/ f35 f15 1"/>
                <a:gd name="f44" fmla="*/ f36 f15 1"/>
                <a:gd name="f45" fmla="*/ f38 f16 1"/>
                <a:gd name="f46" fmla="*/ f37 f16 1"/>
                <a:gd name="f47" fmla="*/ f39 f15 1"/>
                <a:gd name="f48" fmla="*/ f40 f16 1"/>
                <a:gd name="f49" fmla="*/ f41 f15 1"/>
                <a:gd name="f50" fmla="*/ f42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47" y="f48"/>
                </a:cxn>
                <a:cxn ang="f30">
                  <a:pos x="f49" y="f50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9" y="f48"/>
                </a:cxn>
                <a:cxn ang="f30">
                  <a:pos x="f47" y="f48"/>
                </a:cxn>
              </a:cxnLst>
              <a:rect l="f43" t="f46" r="f44" b="f45"/>
              <a:pathLst>
                <a:path w="60" h="36">
                  <a:moveTo>
                    <a:pt x="f5" y="f8"/>
                  </a:moveTo>
                  <a:lnTo>
                    <a:pt x="f7" y="f5"/>
                  </a:lnTo>
                  <a:lnTo>
                    <a:pt x="f6" y="f9"/>
                  </a:lnTo>
                  <a:lnTo>
                    <a:pt x="f6" y="f10"/>
                  </a:lnTo>
                  <a:lnTo>
                    <a:pt x="f11" y="f7"/>
                  </a:lnTo>
                  <a:lnTo>
                    <a:pt x="f12" y="f13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7" name="Freeform 280">
              <a:extLst>
                <a:ext uri="{FF2B5EF4-FFF2-40B4-BE49-F238E27FC236}">
                  <a16:creationId xmlns:a16="http://schemas.microsoft.com/office/drawing/2014/main" id="{26306C54-0D68-0D42-E063-DEC03AB44BB3}"/>
                </a:ext>
              </a:extLst>
            </p:cNvPr>
            <p:cNvSpPr/>
            <p:nvPr/>
          </p:nvSpPr>
          <p:spPr>
            <a:xfrm>
              <a:off x="5911749" y="3271530"/>
              <a:ext cx="32671" cy="6071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48"/>
                <a:gd name="f8" fmla="val 6"/>
                <a:gd name="f9" fmla="val 18"/>
                <a:gd name="f10" fmla="+- 0 0 -90"/>
                <a:gd name="f11" fmla="*/ f3 1 24"/>
                <a:gd name="f12" fmla="*/ f4 1 48"/>
                <a:gd name="f13" fmla="val f5"/>
                <a:gd name="f14" fmla="val f6"/>
                <a:gd name="f15" fmla="val f7"/>
                <a:gd name="f16" fmla="*/ f10 f0 1"/>
                <a:gd name="f17" fmla="+- f15 0 f13"/>
                <a:gd name="f18" fmla="+- f14 0 f13"/>
                <a:gd name="f19" fmla="*/ f16 1 f2"/>
                <a:gd name="f20" fmla="*/ f18 1 24"/>
                <a:gd name="f21" fmla="*/ f17 1 48"/>
                <a:gd name="f22" fmla="*/ 0 f18 1"/>
                <a:gd name="f23" fmla="*/ 2147483646 f17 1"/>
                <a:gd name="f24" fmla="*/ 2147483646 f18 1"/>
                <a:gd name="f25" fmla="*/ 0 f17 1"/>
                <a:gd name="f26" fmla="+- f19 0 f1"/>
                <a:gd name="f27" fmla="*/ f22 1 24"/>
                <a:gd name="f28" fmla="*/ f23 1 48"/>
                <a:gd name="f29" fmla="*/ f24 1 24"/>
                <a:gd name="f30" fmla="*/ f25 1 48"/>
                <a:gd name="f31" fmla="*/ 0 1 f20"/>
                <a:gd name="f32" fmla="*/ f14 1 f20"/>
                <a:gd name="f33" fmla="*/ 0 1 f21"/>
                <a:gd name="f34" fmla="*/ f15 1 f21"/>
                <a:gd name="f35" fmla="*/ f27 1 f20"/>
                <a:gd name="f36" fmla="*/ f28 1 f21"/>
                <a:gd name="f37" fmla="*/ f29 1 f20"/>
                <a:gd name="f38" fmla="*/ f30 1 f21"/>
                <a:gd name="f39" fmla="*/ f31 f11 1"/>
                <a:gd name="f40" fmla="*/ f32 f11 1"/>
                <a:gd name="f41" fmla="*/ f34 f12 1"/>
                <a:gd name="f42" fmla="*/ f33 f12 1"/>
                <a:gd name="f43" fmla="*/ f35 f11 1"/>
                <a:gd name="f44" fmla="*/ f36 f12 1"/>
                <a:gd name="f45" fmla="*/ f37 f11 1"/>
                <a:gd name="f46" fmla="*/ f38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6">
                  <a:pos x="f43" y="f44"/>
                </a:cxn>
                <a:cxn ang="f26">
                  <a:pos x="f45" y="f44"/>
                </a:cxn>
                <a:cxn ang="f26">
                  <a:pos x="f45" y="f46"/>
                </a:cxn>
                <a:cxn ang="f26">
                  <a:pos x="f45" y="f44"/>
                </a:cxn>
                <a:cxn ang="f26">
                  <a:pos x="f45" y="f44"/>
                </a:cxn>
                <a:cxn ang="f26">
                  <a:pos x="f43" y="f44"/>
                </a:cxn>
              </a:cxnLst>
              <a:rect l="f39" t="f42" r="f40" b="f41"/>
              <a:pathLst>
                <a:path w="24" h="48">
                  <a:moveTo>
                    <a:pt x="f5" y="f7"/>
                  </a:moveTo>
                  <a:lnTo>
                    <a:pt x="f8" y="f8"/>
                  </a:lnTo>
                  <a:lnTo>
                    <a:pt x="f9" y="f5"/>
                  </a:lnTo>
                  <a:lnTo>
                    <a:pt x="f6" y="f6"/>
                  </a:lnTo>
                  <a:lnTo>
                    <a:pt x="f6" y="f7"/>
                  </a:lnTo>
                  <a:lnTo>
                    <a:pt x="f5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" name="Freeform 281">
              <a:extLst>
                <a:ext uri="{FF2B5EF4-FFF2-40B4-BE49-F238E27FC236}">
                  <a16:creationId xmlns:a16="http://schemas.microsoft.com/office/drawing/2014/main" id="{7FB9EA25-D2FD-BDC4-D1A2-7B5A23E164BF}"/>
                </a:ext>
              </a:extLst>
            </p:cNvPr>
            <p:cNvSpPr/>
            <p:nvPr/>
          </p:nvSpPr>
          <p:spPr>
            <a:xfrm>
              <a:off x="6071635" y="3222448"/>
              <a:ext cx="40837" cy="467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"/>
                <a:gd name="f7" fmla="val 37"/>
                <a:gd name="f8" fmla="val 12"/>
                <a:gd name="f9" fmla="val 24"/>
                <a:gd name="f10" fmla="+- 0 0 -90"/>
                <a:gd name="f11" fmla="*/ f3 1 30"/>
                <a:gd name="f12" fmla="*/ f4 1 37"/>
                <a:gd name="f13" fmla="val f5"/>
                <a:gd name="f14" fmla="val f6"/>
                <a:gd name="f15" fmla="val f7"/>
                <a:gd name="f16" fmla="*/ f10 f0 1"/>
                <a:gd name="f17" fmla="+- f15 0 f13"/>
                <a:gd name="f18" fmla="+- f14 0 f13"/>
                <a:gd name="f19" fmla="*/ f16 1 f2"/>
                <a:gd name="f20" fmla="*/ f18 1 30"/>
                <a:gd name="f21" fmla="*/ f17 1 37"/>
                <a:gd name="f22" fmla="*/ 0 f18 1"/>
                <a:gd name="f23" fmla="*/ 2147483646 f17 1"/>
                <a:gd name="f24" fmla="*/ 2147483646 f18 1"/>
                <a:gd name="f25" fmla="*/ 0 f17 1"/>
                <a:gd name="f26" fmla="+- f19 0 f1"/>
                <a:gd name="f27" fmla="*/ f22 1 30"/>
                <a:gd name="f28" fmla="*/ f23 1 37"/>
                <a:gd name="f29" fmla="*/ f24 1 30"/>
                <a:gd name="f30" fmla="*/ f25 1 37"/>
                <a:gd name="f31" fmla="*/ 0 1 f20"/>
                <a:gd name="f32" fmla="*/ f14 1 f20"/>
                <a:gd name="f33" fmla="*/ 0 1 f21"/>
                <a:gd name="f34" fmla="*/ f15 1 f21"/>
                <a:gd name="f35" fmla="*/ f27 1 f20"/>
                <a:gd name="f36" fmla="*/ f28 1 f21"/>
                <a:gd name="f37" fmla="*/ f29 1 f20"/>
                <a:gd name="f38" fmla="*/ f30 1 f21"/>
                <a:gd name="f39" fmla="*/ f31 f11 1"/>
                <a:gd name="f40" fmla="*/ f32 f11 1"/>
                <a:gd name="f41" fmla="*/ f34 f12 1"/>
                <a:gd name="f42" fmla="*/ f33 f12 1"/>
                <a:gd name="f43" fmla="*/ f35 f11 1"/>
                <a:gd name="f44" fmla="*/ f36 f12 1"/>
                <a:gd name="f45" fmla="*/ f37 f11 1"/>
                <a:gd name="f46" fmla="*/ f38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6">
                  <a:pos x="f43" y="f44"/>
                </a:cxn>
                <a:cxn ang="f26">
                  <a:pos x="f45" y="f46"/>
                </a:cxn>
                <a:cxn ang="f26">
                  <a:pos x="f45" y="f44"/>
                </a:cxn>
                <a:cxn ang="f26">
                  <a:pos x="f45" y="f44"/>
                </a:cxn>
                <a:cxn ang="f26">
                  <a:pos x="f43" y="f44"/>
                </a:cxn>
              </a:cxnLst>
              <a:rect l="f39" t="f42" r="f40" b="f41"/>
              <a:pathLst>
                <a:path w="30" h="37">
                  <a:moveTo>
                    <a:pt x="f5" y="f8"/>
                  </a:moveTo>
                  <a:lnTo>
                    <a:pt x="f9" y="f5"/>
                  </a:lnTo>
                  <a:lnTo>
                    <a:pt x="f6" y="f9"/>
                  </a:lnTo>
                  <a:lnTo>
                    <a:pt x="f9" y="f7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9" name="Freeform 282">
              <a:extLst>
                <a:ext uri="{FF2B5EF4-FFF2-40B4-BE49-F238E27FC236}">
                  <a16:creationId xmlns:a16="http://schemas.microsoft.com/office/drawing/2014/main" id="{0056F320-423A-4A17-38FF-69F074C6877A}"/>
                </a:ext>
              </a:extLst>
            </p:cNvPr>
            <p:cNvSpPr/>
            <p:nvPr/>
          </p:nvSpPr>
          <p:spPr>
            <a:xfrm>
              <a:off x="6725327" y="3382063"/>
              <a:ext cx="40846" cy="778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"/>
                <a:gd name="f7" fmla="val 6"/>
                <a:gd name="f8" fmla="val 24"/>
                <a:gd name="f9" fmla="+- 0 0 -90"/>
                <a:gd name="f10" fmla="*/ f3 1 30"/>
                <a:gd name="f11" fmla="*/ f4 1 6"/>
                <a:gd name="f12" fmla="val f5"/>
                <a:gd name="f13" fmla="val f6"/>
                <a:gd name="f14" fmla="val f7"/>
                <a:gd name="f15" fmla="*/ f9 f0 1"/>
                <a:gd name="f16" fmla="+- f14 0 f12"/>
                <a:gd name="f17" fmla="+- f13 0 f12"/>
                <a:gd name="f18" fmla="*/ f15 1 f2"/>
                <a:gd name="f19" fmla="*/ f16 1 6"/>
                <a:gd name="f20" fmla="*/ f17 1 30"/>
                <a:gd name="f21" fmla="*/ 2147483646 f17 1"/>
                <a:gd name="f22" fmla="*/ 0 f16 1"/>
                <a:gd name="f23" fmla="*/ 0 f17 1"/>
                <a:gd name="f24" fmla="*/ 2147483646 f16 1"/>
                <a:gd name="f25" fmla="+- f18 0 f1"/>
                <a:gd name="f26" fmla="*/ f21 1 30"/>
                <a:gd name="f27" fmla="*/ f22 1 6"/>
                <a:gd name="f28" fmla="*/ f23 1 30"/>
                <a:gd name="f29" fmla="*/ f24 1 6"/>
                <a:gd name="f30" fmla="*/ 0 1 f20"/>
                <a:gd name="f31" fmla="*/ f13 1 f20"/>
                <a:gd name="f32" fmla="*/ 0 1 f19"/>
                <a:gd name="f33" fmla="*/ f14 1 f19"/>
                <a:gd name="f34" fmla="*/ f26 1 f20"/>
                <a:gd name="f35" fmla="*/ f27 1 f19"/>
                <a:gd name="f36" fmla="*/ f28 1 f20"/>
                <a:gd name="f37" fmla="*/ f29 1 f19"/>
                <a:gd name="f38" fmla="*/ f30 f10 1"/>
                <a:gd name="f39" fmla="*/ f31 f10 1"/>
                <a:gd name="f40" fmla="*/ f33 f11 1"/>
                <a:gd name="f41" fmla="*/ f32 f11 1"/>
                <a:gd name="f42" fmla="*/ f34 f10 1"/>
                <a:gd name="f43" fmla="*/ f35 f11 1"/>
                <a:gd name="f44" fmla="*/ f36 f10 1"/>
                <a:gd name="f45" fmla="*/ f37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">
                  <a:pos x="f42" y="f43"/>
                </a:cxn>
                <a:cxn ang="f25">
                  <a:pos x="f42" y="f43"/>
                </a:cxn>
                <a:cxn ang="f25">
                  <a:pos x="f44" y="f45"/>
                </a:cxn>
                <a:cxn ang="f25">
                  <a:pos x="f42" y="f43"/>
                </a:cxn>
              </a:cxnLst>
              <a:rect l="f38" t="f41" r="f39" b="f40"/>
              <a:pathLst>
                <a:path w="30" h="6">
                  <a:moveTo>
                    <a:pt x="f8" y="f5"/>
                  </a:moveTo>
                  <a:lnTo>
                    <a:pt x="f6" y="f5"/>
                  </a:lnTo>
                  <a:lnTo>
                    <a:pt x="f5" y="f7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0" name="Rectangle 1129">
              <a:extLst>
                <a:ext uri="{FF2B5EF4-FFF2-40B4-BE49-F238E27FC236}">
                  <a16:creationId xmlns:a16="http://schemas.microsoft.com/office/drawing/2014/main" id="{1C75A65E-1FFF-EBE6-413C-646AF77B2C2D}"/>
                </a:ext>
              </a:extLst>
            </p:cNvPr>
            <p:cNvSpPr/>
            <p:nvPr/>
          </p:nvSpPr>
          <p:spPr>
            <a:xfrm>
              <a:off x="6581556" y="3609364"/>
              <a:ext cx="0" cy="3108"/>
            </a:xfrm>
            <a:prstGeom prst="rect">
              <a:avLst/>
            </a:pr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1" name="Freeform 284">
              <a:extLst>
                <a:ext uri="{FF2B5EF4-FFF2-40B4-BE49-F238E27FC236}">
                  <a16:creationId xmlns:a16="http://schemas.microsoft.com/office/drawing/2014/main" id="{ABD5B79A-E805-786D-C46F-CABADEA3EEB5}"/>
                </a:ext>
              </a:extLst>
            </p:cNvPr>
            <p:cNvSpPr/>
            <p:nvPr/>
          </p:nvSpPr>
          <p:spPr>
            <a:xfrm>
              <a:off x="6315274" y="3235722"/>
              <a:ext cx="506449" cy="17593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616"/>
                <a:gd name="f7" fmla="val 10000"/>
                <a:gd name="f8" fmla="val 6379"/>
                <a:gd name="f9" fmla="val 8696"/>
                <a:gd name="f10" fmla="val 6718"/>
                <a:gd name="f11" fmla="val 9130"/>
                <a:gd name="f12" fmla="val 8582"/>
                <a:gd name="f13" fmla="val 9430"/>
                <a:gd name="f14" fmla="val 8261"/>
                <a:gd name="f15" fmla="val 10277"/>
                <a:gd name="f16" fmla="val 7826"/>
                <a:gd name="f17" fmla="val 10560"/>
                <a:gd name="f18" fmla="val 10503"/>
                <a:gd name="f19" fmla="val 7392"/>
                <a:gd name="f20" fmla="val 10447"/>
                <a:gd name="f21" fmla="val 6957"/>
                <a:gd name="f22" fmla="val 3913"/>
                <a:gd name="f23" fmla="val 3768"/>
                <a:gd name="f24" fmla="val 3623"/>
                <a:gd name="f25" fmla="val 3478"/>
                <a:gd name="f26" fmla="val 9938"/>
                <a:gd name="f27" fmla="val 1304"/>
                <a:gd name="f28" fmla="val 9599"/>
                <a:gd name="f29" fmla="val 435"/>
                <a:gd name="f30" fmla="val 9091"/>
                <a:gd name="f31" fmla="val 9034"/>
                <a:gd name="f32" fmla="val 290"/>
                <a:gd name="f33" fmla="val 8978"/>
                <a:gd name="f34" fmla="val 145"/>
                <a:gd name="f35" fmla="val 8921"/>
                <a:gd name="f36" fmla="val 8243"/>
                <a:gd name="f37" fmla="val 7396"/>
                <a:gd name="f38" fmla="val 7226"/>
                <a:gd name="f39" fmla="val 6548"/>
                <a:gd name="f40" fmla="val 6040"/>
                <a:gd name="f41" fmla="val 4684"/>
                <a:gd name="f42" fmla="val 4345"/>
                <a:gd name="f43" fmla="val 3836"/>
                <a:gd name="f44" fmla="val 3497"/>
                <a:gd name="f45" fmla="val 2650"/>
                <a:gd name="f46" fmla="val 1739"/>
                <a:gd name="f47" fmla="val 2593"/>
                <a:gd name="f48" fmla="val 1594"/>
                <a:gd name="f49" fmla="val 2537"/>
                <a:gd name="f50" fmla="val 1449"/>
                <a:gd name="f51" fmla="val 2480"/>
                <a:gd name="f52" fmla="val 2311"/>
                <a:gd name="f53" fmla="val 1972"/>
                <a:gd name="f54" fmla="val 2609"/>
                <a:gd name="f55" fmla="val 1746"/>
                <a:gd name="f56" fmla="val 1494"/>
                <a:gd name="f57" fmla="val 2631"/>
                <a:gd name="f58" fmla="val 1294"/>
                <a:gd name="f59" fmla="val 1094"/>
                <a:gd name="f60" fmla="val 2587"/>
                <a:gd name="f61" fmla="val 883"/>
                <a:gd name="f62" fmla="val 2261"/>
                <a:gd name="f63" fmla="val 770"/>
                <a:gd name="f64" fmla="val 2478"/>
                <a:gd name="f65" fmla="val 657"/>
                <a:gd name="f66" fmla="val 2695"/>
                <a:gd name="f67" fmla="val 333"/>
                <a:gd name="f68" fmla="val 2962"/>
                <a:gd name="f69" fmla="val 205"/>
                <a:gd name="f70" fmla="val 3117"/>
                <a:gd name="f71" fmla="val 77"/>
                <a:gd name="f72" fmla="val 3272"/>
                <a:gd name="f73" fmla="val 3266"/>
                <a:gd name="f74" fmla="val 3407"/>
                <a:gd name="f75" fmla="val 113"/>
                <a:gd name="f76" fmla="val 3701"/>
                <a:gd name="f77" fmla="val 482"/>
                <a:gd name="f78" fmla="val 5084"/>
                <a:gd name="f79" fmla="val 698"/>
                <a:gd name="f80" fmla="val 5748"/>
                <a:gd name="f81" fmla="val 914"/>
                <a:gd name="f82" fmla="val 6412"/>
                <a:gd name="f83" fmla="val 1138"/>
                <a:gd name="f84" fmla="val 6900"/>
                <a:gd name="f85" fmla="val 7391"/>
                <a:gd name="f86" fmla="val 1450"/>
                <a:gd name="f87" fmla="val 7882"/>
                <a:gd name="f88" fmla="val 1520"/>
                <a:gd name="f89" fmla="val 1633"/>
                <a:gd name="f90" fmla="val 3158"/>
                <a:gd name="f91" fmla="val 3328"/>
                <a:gd name="f92" fmla="val 4514"/>
                <a:gd name="f93" fmla="val 5192"/>
                <a:gd name="f94" fmla="val 5870"/>
                <a:gd name="f95" fmla="+- 0 0 -90"/>
                <a:gd name="f96" fmla="*/ f3 1 10616"/>
                <a:gd name="f97" fmla="*/ f4 1 10000"/>
                <a:gd name="f98" fmla="val f5"/>
                <a:gd name="f99" fmla="val f6"/>
                <a:gd name="f100" fmla="val f7"/>
                <a:gd name="f101" fmla="*/ f95 f0 1"/>
                <a:gd name="f102" fmla="+- f100 0 f98"/>
                <a:gd name="f103" fmla="+- f99 0 f98"/>
                <a:gd name="f104" fmla="*/ f101 1 f2"/>
                <a:gd name="f105" fmla="*/ f103 1 10616"/>
                <a:gd name="f106" fmla="*/ f102 1 10000"/>
                <a:gd name="f107" fmla="*/ 2147483646 f103 1"/>
                <a:gd name="f108" fmla="*/ 2147483646 f102 1"/>
                <a:gd name="f109" fmla="*/ 0 f102 1"/>
                <a:gd name="f110" fmla="*/ 0 f103 1"/>
                <a:gd name="f111" fmla="+- f104 0 f1"/>
                <a:gd name="f112" fmla="*/ f107 1 10616"/>
                <a:gd name="f113" fmla="*/ f108 1 10000"/>
                <a:gd name="f114" fmla="*/ f109 1 10000"/>
                <a:gd name="f115" fmla="*/ f110 1 10616"/>
                <a:gd name="f116" fmla="*/ 0 1 f105"/>
                <a:gd name="f117" fmla="*/ f99 1 f105"/>
                <a:gd name="f118" fmla="*/ 0 1 f106"/>
                <a:gd name="f119" fmla="*/ f100 1 f106"/>
                <a:gd name="f120" fmla="*/ f112 1 f105"/>
                <a:gd name="f121" fmla="*/ f113 1 f106"/>
                <a:gd name="f122" fmla="*/ f114 1 f106"/>
                <a:gd name="f123" fmla="*/ f115 1 f105"/>
                <a:gd name="f124" fmla="*/ f116 f96 1"/>
                <a:gd name="f125" fmla="*/ f117 f96 1"/>
                <a:gd name="f126" fmla="*/ f119 f97 1"/>
                <a:gd name="f127" fmla="*/ f118 f97 1"/>
                <a:gd name="f128" fmla="*/ f120 f96 1"/>
                <a:gd name="f129" fmla="*/ f121 f97 1"/>
                <a:gd name="f130" fmla="*/ f122 f97 1"/>
                <a:gd name="f131" fmla="*/ f123 f9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30"/>
                </a:cxn>
                <a:cxn ang="f111">
                  <a:pos x="f128" y="f130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30"/>
                </a:cxn>
                <a:cxn ang="f111">
                  <a:pos x="f128" y="f130"/>
                </a:cxn>
                <a:cxn ang="f111">
                  <a:pos x="f128" y="f130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31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  <a:cxn ang="f111">
                  <a:pos x="f128" y="f129"/>
                </a:cxn>
              </a:cxnLst>
              <a:rect l="f124" t="f127" r="f125" b="f126"/>
              <a:pathLst>
                <a:path w="10616" h="10000">
                  <a:moveTo>
                    <a:pt x="f8" y="f9"/>
                  </a:moveTo>
                  <a:lnTo>
                    <a:pt x="f10" y="f11"/>
                  </a:lnTo>
                  <a:lnTo>
                    <a:pt x="f12" y="f9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6" y="f14"/>
                  </a:lnTo>
                  <a:cubicBezTo>
                    <a:pt x="f17" y="f16"/>
                    <a:pt x="f18" y="f19"/>
                    <a:pt x="f20" y="f21"/>
                  </a:cubicBezTo>
                  <a:lnTo>
                    <a:pt x="f20" y="f22"/>
                  </a:lnTo>
                  <a:cubicBezTo>
                    <a:pt x="f18" y="f23"/>
                    <a:pt x="f17" y="f24"/>
                    <a:pt x="f6" y="f25"/>
                  </a:cubicBezTo>
                  <a:lnTo>
                    <a:pt x="f26" y="f27"/>
                  </a:lnTo>
                  <a:lnTo>
                    <a:pt x="f28" y="f29"/>
                  </a:lnTo>
                  <a:lnTo>
                    <a:pt x="f30" y="f29"/>
                  </a:lnTo>
                  <a:cubicBezTo>
                    <a:pt x="f31" y="f32"/>
                    <a:pt x="f33" y="f34"/>
                    <a:pt x="f35" y="f5"/>
                  </a:cubicBezTo>
                  <a:lnTo>
                    <a:pt x="f36" y="f27"/>
                  </a:lnTo>
                  <a:lnTo>
                    <a:pt x="f37" y="f27"/>
                  </a:lnTo>
                  <a:lnTo>
                    <a:pt x="f38" y="f27"/>
                  </a:lnTo>
                  <a:lnTo>
                    <a:pt x="f39" y="f29"/>
                  </a:lnTo>
                  <a:lnTo>
                    <a:pt x="f40" y="f5"/>
                  </a:lnTo>
                  <a:lnTo>
                    <a:pt x="f41" y="f5"/>
                  </a:lnTo>
                  <a:lnTo>
                    <a:pt x="f42" y="f5"/>
                  </a:lnTo>
                  <a:lnTo>
                    <a:pt x="f43" y="f29"/>
                  </a:lnTo>
                  <a:lnTo>
                    <a:pt x="f44" y="f27"/>
                  </a:lnTo>
                  <a:lnTo>
                    <a:pt x="f45" y="f46"/>
                  </a:lnTo>
                  <a:cubicBezTo>
                    <a:pt x="f47" y="f48"/>
                    <a:pt x="f49" y="f50"/>
                    <a:pt x="f51" y="f27"/>
                  </a:cubicBezTo>
                  <a:lnTo>
                    <a:pt x="f52" y="f27"/>
                  </a:lnTo>
                  <a:lnTo>
                    <a:pt x="f53" y="f54"/>
                  </a:lnTo>
                  <a:cubicBezTo>
                    <a:pt x="f55" y="f54"/>
                    <a:pt x="f56" y="f57"/>
                    <a:pt x="f58" y="f54"/>
                  </a:cubicBezTo>
                  <a:cubicBezTo>
                    <a:pt x="f59" y="f60"/>
                    <a:pt x="f61" y="f62"/>
                    <a:pt x="f63" y="f64"/>
                  </a:cubicBezTo>
                  <a:cubicBezTo>
                    <a:pt x="f65" y="f66"/>
                    <a:pt x="f67" y="f68"/>
                    <a:pt x="f69" y="f70"/>
                  </a:cubicBezTo>
                  <a:cubicBezTo>
                    <a:pt x="f71" y="f72"/>
                    <a:pt x="f5" y="f73"/>
                    <a:pt x="f5" y="f74"/>
                  </a:cubicBezTo>
                  <a:cubicBezTo>
                    <a:pt x="f75" y="f76"/>
                    <a:pt x="f77" y="f78"/>
                    <a:pt x="f79" y="f80"/>
                  </a:cubicBezTo>
                  <a:cubicBezTo>
                    <a:pt x="f81" y="f82"/>
                    <a:pt x="f83" y="f84"/>
                    <a:pt x="f58" y="f85"/>
                  </a:cubicBezTo>
                  <a:cubicBezTo>
                    <a:pt x="f86" y="f87"/>
                    <a:pt x="f88" y="f14"/>
                    <a:pt x="f89" y="f9"/>
                  </a:cubicBezTo>
                  <a:lnTo>
                    <a:pt x="f90" y="f11"/>
                  </a:lnTo>
                  <a:lnTo>
                    <a:pt x="f91" y="f11"/>
                  </a:lnTo>
                  <a:lnTo>
                    <a:pt x="f92" y="f7"/>
                  </a:lnTo>
                  <a:lnTo>
                    <a:pt x="f93" y="f11"/>
                  </a:lnTo>
                  <a:lnTo>
                    <a:pt x="f94" y="f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" name="Freeform 285">
              <a:extLst>
                <a:ext uri="{FF2B5EF4-FFF2-40B4-BE49-F238E27FC236}">
                  <a16:creationId xmlns:a16="http://schemas.microsoft.com/office/drawing/2014/main" id="{E8FA250F-7DF5-AD79-82DA-891A56782313}"/>
                </a:ext>
              </a:extLst>
            </p:cNvPr>
            <p:cNvSpPr/>
            <p:nvPr/>
          </p:nvSpPr>
          <p:spPr>
            <a:xfrm>
              <a:off x="6570126" y="3382063"/>
              <a:ext cx="186244" cy="1432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9"/>
                <a:gd name="f7" fmla="val 114"/>
                <a:gd name="f8" fmla="val 25"/>
                <a:gd name="f9" fmla="val 61"/>
                <a:gd name="f10" fmla="val 96"/>
                <a:gd name="f11" fmla="val 73"/>
                <a:gd name="f12" fmla="val 90"/>
                <a:gd name="f13" fmla="val 115"/>
                <a:gd name="f14" fmla="val 66"/>
                <a:gd name="f15" fmla="val 127"/>
                <a:gd name="f16" fmla="val 24"/>
                <a:gd name="f17" fmla="val 6"/>
                <a:gd name="f18" fmla="val 49"/>
                <a:gd name="f19" fmla="val 12"/>
                <a:gd name="f20" fmla="val 37"/>
                <a:gd name="f21" fmla="val 19"/>
                <a:gd name="f22" fmla="val 48"/>
                <a:gd name="f23" fmla="val 102"/>
                <a:gd name="f24" fmla="val 13"/>
                <a:gd name="f25" fmla="+- 0 0 -90"/>
                <a:gd name="f26" fmla="*/ f3 1 139"/>
                <a:gd name="f27" fmla="*/ f4 1 114"/>
                <a:gd name="f28" fmla="val f5"/>
                <a:gd name="f29" fmla="val f6"/>
                <a:gd name="f30" fmla="val f7"/>
                <a:gd name="f31" fmla="*/ f25 f0 1"/>
                <a:gd name="f32" fmla="+- f30 0 f28"/>
                <a:gd name="f33" fmla="+- f29 0 f28"/>
                <a:gd name="f34" fmla="*/ f31 1 f2"/>
                <a:gd name="f35" fmla="*/ f33 1 139"/>
                <a:gd name="f36" fmla="*/ f32 1 114"/>
                <a:gd name="f37" fmla="*/ 2147483646 f33 1"/>
                <a:gd name="f38" fmla="*/ 2147483646 f32 1"/>
                <a:gd name="f39" fmla="*/ 0 f32 1"/>
                <a:gd name="f40" fmla="*/ 0 f33 1"/>
                <a:gd name="f41" fmla="+- f34 0 f1"/>
                <a:gd name="f42" fmla="*/ f37 1 139"/>
                <a:gd name="f43" fmla="*/ f38 1 114"/>
                <a:gd name="f44" fmla="*/ f39 1 114"/>
                <a:gd name="f45" fmla="*/ f40 1 139"/>
                <a:gd name="f46" fmla="*/ 0 1 f35"/>
                <a:gd name="f47" fmla="*/ f29 1 f35"/>
                <a:gd name="f48" fmla="*/ 0 1 f36"/>
                <a:gd name="f49" fmla="*/ f30 1 f36"/>
                <a:gd name="f50" fmla="*/ f42 1 f35"/>
                <a:gd name="f51" fmla="*/ f43 1 f36"/>
                <a:gd name="f52" fmla="*/ f44 1 f36"/>
                <a:gd name="f53" fmla="*/ f45 1 f35"/>
                <a:gd name="f54" fmla="*/ f46 f26 1"/>
                <a:gd name="f55" fmla="*/ f47 f26 1"/>
                <a:gd name="f56" fmla="*/ f49 f27 1"/>
                <a:gd name="f57" fmla="*/ f48 f27 1"/>
                <a:gd name="f58" fmla="*/ f50 f26 1"/>
                <a:gd name="f59" fmla="*/ f51 f27 1"/>
                <a:gd name="f60" fmla="*/ f52 f27 1"/>
                <a:gd name="f61" fmla="*/ f5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60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58" y="f59"/>
                </a:cxn>
                <a:cxn ang="f41">
                  <a:pos x="f61" y="f59"/>
                </a:cxn>
                <a:cxn ang="f41">
                  <a:pos x="f58" y="f59"/>
                </a:cxn>
                <a:cxn ang="f41">
                  <a:pos x="f58" y="f59"/>
                </a:cxn>
              </a:cxnLst>
              <a:rect l="f54" t="f57" r="f55" b="f56"/>
              <a:pathLst>
                <a:path w="139" h="114">
                  <a:moveTo>
                    <a:pt x="f8" y="f7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6" y="f17"/>
                  </a:lnTo>
                  <a:lnTo>
                    <a:pt x="f6" y="f5"/>
                  </a:lnTo>
                  <a:lnTo>
                    <a:pt x="f13" y="f17"/>
                  </a:lnTo>
                  <a:lnTo>
                    <a:pt x="f18" y="f19"/>
                  </a:lnTo>
                  <a:lnTo>
                    <a:pt x="f20" y="f17"/>
                  </a:lnTo>
                  <a:lnTo>
                    <a:pt x="f21" y="f16"/>
                  </a:lnTo>
                  <a:lnTo>
                    <a:pt x="f8" y="f22"/>
                  </a:lnTo>
                  <a:lnTo>
                    <a:pt x="f5" y="f23"/>
                  </a:lnTo>
                  <a:lnTo>
                    <a:pt x="f24" y="f23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3" name="Freeform 286">
              <a:extLst>
                <a:ext uri="{FF2B5EF4-FFF2-40B4-BE49-F238E27FC236}">
                  <a16:creationId xmlns:a16="http://schemas.microsoft.com/office/drawing/2014/main" id="{39D701D7-FD37-CA7D-5C90-38FDF701CDC7}"/>
                </a:ext>
              </a:extLst>
            </p:cNvPr>
            <p:cNvSpPr/>
            <p:nvPr/>
          </p:nvSpPr>
          <p:spPr>
            <a:xfrm>
              <a:off x="6545620" y="3495713"/>
              <a:ext cx="130695" cy="11365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7"/>
                <a:gd name="f7" fmla="val 90"/>
                <a:gd name="f8" fmla="val 91"/>
                <a:gd name="f9" fmla="val 24"/>
                <a:gd name="f10" fmla="val 79"/>
                <a:gd name="f11" fmla="val 6"/>
                <a:gd name="f12" fmla="val 43"/>
                <a:gd name="f13" fmla="val 31"/>
                <a:gd name="f14" fmla="val 12"/>
                <a:gd name="f15" fmla="val 18"/>
                <a:gd name="f16" fmla="val 42"/>
                <a:gd name="f17" fmla="val 25"/>
                <a:gd name="f18" fmla="val 37"/>
                <a:gd name="f19" fmla="val 49"/>
                <a:gd name="f20" fmla="val 78"/>
                <a:gd name="f21" fmla="val 67"/>
                <a:gd name="f22" fmla="val 73"/>
                <a:gd name="f23" fmla="val 66"/>
                <a:gd name="f24" fmla="val 61"/>
                <a:gd name="f25" fmla="val 36"/>
                <a:gd name="f26" fmla="val 85"/>
                <a:gd name="f27" fmla="val 30"/>
                <a:gd name="f28" fmla="+- 0 0 -90"/>
                <a:gd name="f29" fmla="*/ f3 1 97"/>
                <a:gd name="f30" fmla="*/ f4 1 90"/>
                <a:gd name="f31" fmla="val f5"/>
                <a:gd name="f32" fmla="val f6"/>
                <a:gd name="f33" fmla="val f7"/>
                <a:gd name="f34" fmla="*/ f28 f0 1"/>
                <a:gd name="f35" fmla="+- f33 0 f31"/>
                <a:gd name="f36" fmla="+- f32 0 f31"/>
                <a:gd name="f37" fmla="*/ f34 1 f2"/>
                <a:gd name="f38" fmla="*/ f36 1 97"/>
                <a:gd name="f39" fmla="*/ f35 1 90"/>
                <a:gd name="f40" fmla="*/ 2147483646 f36 1"/>
                <a:gd name="f41" fmla="*/ 2147483646 f35 1"/>
                <a:gd name="f42" fmla="*/ 0 f35 1"/>
                <a:gd name="f43" fmla="*/ 0 f36 1"/>
                <a:gd name="f44" fmla="+- f37 0 f1"/>
                <a:gd name="f45" fmla="*/ f40 1 97"/>
                <a:gd name="f46" fmla="*/ f41 1 90"/>
                <a:gd name="f47" fmla="*/ f42 1 90"/>
                <a:gd name="f48" fmla="*/ f43 1 97"/>
                <a:gd name="f49" fmla="*/ 0 1 f38"/>
                <a:gd name="f50" fmla="*/ f32 1 f38"/>
                <a:gd name="f51" fmla="*/ 0 1 f39"/>
                <a:gd name="f52" fmla="*/ f33 1 f39"/>
                <a:gd name="f53" fmla="*/ f45 1 f38"/>
                <a:gd name="f54" fmla="*/ f46 1 f39"/>
                <a:gd name="f55" fmla="*/ f47 1 f39"/>
                <a:gd name="f56" fmla="*/ f48 1 f38"/>
                <a:gd name="f57" fmla="*/ f49 f29 1"/>
                <a:gd name="f58" fmla="*/ f50 f29 1"/>
                <a:gd name="f59" fmla="*/ f52 f30 1"/>
                <a:gd name="f60" fmla="*/ f51 f30 1"/>
                <a:gd name="f61" fmla="*/ f53 f29 1"/>
                <a:gd name="f62" fmla="*/ f54 f30 1"/>
                <a:gd name="f63" fmla="*/ f55 f30 1"/>
                <a:gd name="f64" fmla="*/ f56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4">
                  <a:pos x="f61" y="f62"/>
                </a:cxn>
                <a:cxn ang="f44">
                  <a:pos x="f61" y="f63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4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</a:cxnLst>
              <a:rect l="f57" t="f60" r="f58" b="f59"/>
              <a:pathLst>
                <a:path w="97" h="90">
                  <a:moveTo>
                    <a:pt x="f8" y="f9"/>
                  </a:moveTo>
                  <a:lnTo>
                    <a:pt x="f8" y="f5"/>
                  </a:lnTo>
                  <a:lnTo>
                    <a:pt x="f10" y="f11"/>
                  </a:lnTo>
                  <a:lnTo>
                    <a:pt x="f12" y="f9"/>
                  </a:lnTo>
                  <a:lnTo>
                    <a:pt x="f13" y="f14"/>
                  </a:lnTo>
                  <a:lnTo>
                    <a:pt x="f15" y="f14"/>
                  </a:lnTo>
                  <a:lnTo>
                    <a:pt x="f14" y="f15"/>
                  </a:lnTo>
                  <a:lnTo>
                    <a:pt x="f5" y="f16"/>
                  </a:lnTo>
                  <a:lnTo>
                    <a:pt x="f15" y="f7"/>
                  </a:lnTo>
                  <a:lnTo>
                    <a:pt x="f17" y="f7"/>
                  </a:lnTo>
                  <a:lnTo>
                    <a:pt x="f18" y="f7"/>
                  </a:lnTo>
                  <a:lnTo>
                    <a:pt x="f19" y="f20"/>
                  </a:lnTo>
                  <a:lnTo>
                    <a:pt x="f21" y="f20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6" y="f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4" name="Freeform 287">
              <a:extLst>
                <a:ext uri="{FF2B5EF4-FFF2-40B4-BE49-F238E27FC236}">
                  <a16:creationId xmlns:a16="http://schemas.microsoft.com/office/drawing/2014/main" id="{9626D72A-000A-D823-869C-5C2A543302EF}"/>
                </a:ext>
              </a:extLst>
            </p:cNvPr>
            <p:cNvSpPr/>
            <p:nvPr/>
          </p:nvSpPr>
          <p:spPr>
            <a:xfrm>
              <a:off x="6545620" y="3495713"/>
              <a:ext cx="130695" cy="11365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7"/>
                <a:gd name="f7" fmla="val 90"/>
                <a:gd name="f8" fmla="val 91"/>
                <a:gd name="f9" fmla="val 24"/>
                <a:gd name="f10" fmla="val 79"/>
                <a:gd name="f11" fmla="val 6"/>
                <a:gd name="f12" fmla="val 43"/>
                <a:gd name="f13" fmla="val 31"/>
                <a:gd name="f14" fmla="val 12"/>
                <a:gd name="f15" fmla="val 18"/>
                <a:gd name="f16" fmla="val 42"/>
                <a:gd name="f17" fmla="val 25"/>
                <a:gd name="f18" fmla="val 37"/>
                <a:gd name="f19" fmla="val 49"/>
                <a:gd name="f20" fmla="val 78"/>
                <a:gd name="f21" fmla="val 67"/>
                <a:gd name="f22" fmla="val 73"/>
                <a:gd name="f23" fmla="val 66"/>
                <a:gd name="f24" fmla="val 61"/>
                <a:gd name="f25" fmla="val 36"/>
                <a:gd name="f26" fmla="val 85"/>
                <a:gd name="f27" fmla="val 30"/>
                <a:gd name="f28" fmla="+- 0 0 -90"/>
                <a:gd name="f29" fmla="*/ f3 1 97"/>
                <a:gd name="f30" fmla="*/ f4 1 90"/>
                <a:gd name="f31" fmla="val f5"/>
                <a:gd name="f32" fmla="val f6"/>
                <a:gd name="f33" fmla="val f7"/>
                <a:gd name="f34" fmla="*/ f28 f0 1"/>
                <a:gd name="f35" fmla="+- f33 0 f31"/>
                <a:gd name="f36" fmla="+- f32 0 f31"/>
                <a:gd name="f37" fmla="*/ f34 1 f2"/>
                <a:gd name="f38" fmla="*/ f36 1 97"/>
                <a:gd name="f39" fmla="*/ f35 1 90"/>
                <a:gd name="f40" fmla="*/ 2147483646 f36 1"/>
                <a:gd name="f41" fmla="*/ 2147483646 f35 1"/>
                <a:gd name="f42" fmla="*/ 0 f35 1"/>
                <a:gd name="f43" fmla="*/ 0 f36 1"/>
                <a:gd name="f44" fmla="+- f37 0 f1"/>
                <a:gd name="f45" fmla="*/ f40 1 97"/>
                <a:gd name="f46" fmla="*/ f41 1 90"/>
                <a:gd name="f47" fmla="*/ f42 1 90"/>
                <a:gd name="f48" fmla="*/ f43 1 97"/>
                <a:gd name="f49" fmla="*/ 0 1 f38"/>
                <a:gd name="f50" fmla="*/ f32 1 f38"/>
                <a:gd name="f51" fmla="*/ 0 1 f39"/>
                <a:gd name="f52" fmla="*/ f33 1 f39"/>
                <a:gd name="f53" fmla="*/ f45 1 f38"/>
                <a:gd name="f54" fmla="*/ f46 1 f39"/>
                <a:gd name="f55" fmla="*/ f47 1 f39"/>
                <a:gd name="f56" fmla="*/ f48 1 f38"/>
                <a:gd name="f57" fmla="*/ f49 f29 1"/>
                <a:gd name="f58" fmla="*/ f50 f29 1"/>
                <a:gd name="f59" fmla="*/ f52 f30 1"/>
                <a:gd name="f60" fmla="*/ f51 f30 1"/>
                <a:gd name="f61" fmla="*/ f53 f29 1"/>
                <a:gd name="f62" fmla="*/ f54 f30 1"/>
                <a:gd name="f63" fmla="*/ f55 f30 1"/>
                <a:gd name="f64" fmla="*/ f56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4">
                  <a:pos x="f61" y="f62"/>
                </a:cxn>
                <a:cxn ang="f44">
                  <a:pos x="f61" y="f63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4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  <a:cxn ang="f44">
                  <a:pos x="f61" y="f62"/>
                </a:cxn>
              </a:cxnLst>
              <a:rect l="f57" t="f60" r="f58" b="f59"/>
              <a:pathLst>
                <a:path w="97" h="90">
                  <a:moveTo>
                    <a:pt x="f8" y="f9"/>
                  </a:moveTo>
                  <a:lnTo>
                    <a:pt x="f8" y="f5"/>
                  </a:lnTo>
                  <a:lnTo>
                    <a:pt x="f10" y="f11"/>
                  </a:lnTo>
                  <a:lnTo>
                    <a:pt x="f12" y="f9"/>
                  </a:lnTo>
                  <a:lnTo>
                    <a:pt x="f13" y="f14"/>
                  </a:lnTo>
                  <a:lnTo>
                    <a:pt x="f15" y="f14"/>
                  </a:lnTo>
                  <a:lnTo>
                    <a:pt x="f14" y="f15"/>
                  </a:lnTo>
                  <a:lnTo>
                    <a:pt x="f5" y="f16"/>
                  </a:lnTo>
                  <a:lnTo>
                    <a:pt x="f15" y="f7"/>
                  </a:lnTo>
                  <a:lnTo>
                    <a:pt x="f17" y="f7"/>
                  </a:lnTo>
                  <a:lnTo>
                    <a:pt x="f18" y="f7"/>
                  </a:lnTo>
                  <a:lnTo>
                    <a:pt x="f19" y="f20"/>
                  </a:lnTo>
                  <a:lnTo>
                    <a:pt x="f21" y="f20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6" y="f9"/>
                  </a:lnTo>
                  <a:lnTo>
                    <a:pt x="f8" y="f9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5" name="Freeform 288">
              <a:extLst>
                <a:ext uri="{FF2B5EF4-FFF2-40B4-BE49-F238E27FC236}">
                  <a16:creationId xmlns:a16="http://schemas.microsoft.com/office/drawing/2014/main" id="{2D700166-4524-183B-2FD1-2175283ADC5A}"/>
                </a:ext>
              </a:extLst>
            </p:cNvPr>
            <p:cNvSpPr/>
            <p:nvPr/>
          </p:nvSpPr>
          <p:spPr>
            <a:xfrm>
              <a:off x="6998157" y="3710570"/>
              <a:ext cx="122520" cy="7628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60"/>
                <a:gd name="f8" fmla="val 18"/>
                <a:gd name="f9" fmla="val 48"/>
                <a:gd name="f10" fmla="val 66"/>
                <a:gd name="f11" fmla="val 78"/>
                <a:gd name="f12" fmla="val 30"/>
                <a:gd name="f13" fmla="val 24"/>
                <a:gd name="f14" fmla="val 84"/>
                <a:gd name="f15" fmla="val 6"/>
                <a:gd name="f16" fmla="+- 0 0 -90"/>
                <a:gd name="f17" fmla="*/ f3 1 90"/>
                <a:gd name="f18" fmla="*/ f4 1 60"/>
                <a:gd name="f19" fmla="val f5"/>
                <a:gd name="f20" fmla="val f6"/>
                <a:gd name="f21" fmla="val f7"/>
                <a:gd name="f22" fmla="*/ f16 f0 1"/>
                <a:gd name="f23" fmla="+- f21 0 f19"/>
                <a:gd name="f24" fmla="+- f20 0 f19"/>
                <a:gd name="f25" fmla="*/ f22 1 f2"/>
                <a:gd name="f26" fmla="*/ f24 1 90"/>
                <a:gd name="f27" fmla="*/ f23 1 60"/>
                <a:gd name="f28" fmla="*/ 2147483646 f24 1"/>
                <a:gd name="f29" fmla="*/ 2147483646 f23 1"/>
                <a:gd name="f30" fmla="*/ 0 f23 1"/>
                <a:gd name="f31" fmla="*/ 0 f24 1"/>
                <a:gd name="f32" fmla="+- f25 0 f1"/>
                <a:gd name="f33" fmla="*/ f28 1 90"/>
                <a:gd name="f34" fmla="*/ f29 1 60"/>
                <a:gd name="f35" fmla="*/ f30 1 60"/>
                <a:gd name="f36" fmla="*/ f31 1 90"/>
                <a:gd name="f37" fmla="*/ 0 1 f26"/>
                <a:gd name="f38" fmla="*/ f20 1 f26"/>
                <a:gd name="f39" fmla="*/ 0 1 f27"/>
                <a:gd name="f40" fmla="*/ f21 1 f27"/>
                <a:gd name="f41" fmla="*/ f33 1 f26"/>
                <a:gd name="f42" fmla="*/ f34 1 f27"/>
                <a:gd name="f43" fmla="*/ f35 1 f27"/>
                <a:gd name="f44" fmla="*/ f36 1 f26"/>
                <a:gd name="f45" fmla="*/ f37 f17 1"/>
                <a:gd name="f46" fmla="*/ f38 f17 1"/>
                <a:gd name="f47" fmla="*/ f40 f18 1"/>
                <a:gd name="f48" fmla="*/ f39 f18 1"/>
                <a:gd name="f49" fmla="*/ f41 f17 1"/>
                <a:gd name="f50" fmla="*/ f42 f18 1"/>
                <a:gd name="f51" fmla="*/ f43 f18 1"/>
                <a:gd name="f52" fmla="*/ f44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1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52" y="f50"/>
                </a:cxn>
                <a:cxn ang="f32">
                  <a:pos x="f49" y="f50"/>
                </a:cxn>
              </a:cxnLst>
              <a:rect l="f45" t="f48" r="f46" b="f47"/>
              <a:pathLst>
                <a:path w="90" h="60">
                  <a:moveTo>
                    <a:pt x="f8" y="f9"/>
                  </a:moveTo>
                  <a:lnTo>
                    <a:pt x="f10" y="f7"/>
                  </a:lnTo>
                  <a:lnTo>
                    <a:pt x="f11" y="f12"/>
                  </a:lnTo>
                  <a:lnTo>
                    <a:pt x="f6" y="f13"/>
                  </a:lnTo>
                  <a:lnTo>
                    <a:pt x="f14" y="f5"/>
                  </a:lnTo>
                  <a:lnTo>
                    <a:pt x="f12" y="f8"/>
                  </a:lnTo>
                  <a:lnTo>
                    <a:pt x="f15" y="f15"/>
                  </a:lnTo>
                  <a:lnTo>
                    <a:pt x="f5" y="f1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6" name="Freeform 289">
              <a:extLst>
                <a:ext uri="{FF2B5EF4-FFF2-40B4-BE49-F238E27FC236}">
                  <a16:creationId xmlns:a16="http://schemas.microsoft.com/office/drawing/2014/main" id="{8B78DCBE-2186-75DA-D186-DA637B276327}"/>
                </a:ext>
              </a:extLst>
            </p:cNvPr>
            <p:cNvSpPr/>
            <p:nvPr/>
          </p:nvSpPr>
          <p:spPr>
            <a:xfrm>
              <a:off x="7016125" y="3740142"/>
              <a:ext cx="192773" cy="21329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28"/>
                <a:gd name="f8" fmla="val 9"/>
                <a:gd name="f9" fmla="val 6"/>
                <a:gd name="f10" fmla="val 10"/>
                <a:gd name="f11" fmla="val 13"/>
                <a:gd name="f12" fmla="val 4"/>
                <a:gd name="f13" fmla="val 17"/>
                <a:gd name="f14" fmla="val 3"/>
                <a:gd name="f15" fmla="val 18"/>
                <a:gd name="f16" fmla="val 1"/>
                <a:gd name="f17" fmla="val 21"/>
                <a:gd name="f18" fmla="val 11"/>
                <a:gd name="f19" fmla="val 23"/>
                <a:gd name="f20" fmla="val 15"/>
                <a:gd name="f21" fmla="val 20"/>
                <a:gd name="f22" fmla="val 7"/>
                <a:gd name="f23" fmla="val 16"/>
                <a:gd name="f24" fmla="+- 0 0 -90"/>
                <a:gd name="f25" fmla="*/ f3 1 24"/>
                <a:gd name="f26" fmla="*/ f4 1 28"/>
                <a:gd name="f27" fmla="val f5"/>
                <a:gd name="f28" fmla="val f6"/>
                <a:gd name="f29" fmla="val f7"/>
                <a:gd name="f30" fmla="*/ f24 f0 1"/>
                <a:gd name="f31" fmla="+- f29 0 f27"/>
                <a:gd name="f32" fmla="+- f28 0 f27"/>
                <a:gd name="f33" fmla="*/ f30 1 f2"/>
                <a:gd name="f34" fmla="*/ f32 1 24"/>
                <a:gd name="f35" fmla="*/ f31 1 28"/>
                <a:gd name="f36" fmla="*/ 2147483646 f32 1"/>
                <a:gd name="f37" fmla="*/ 2147483646 f31 1"/>
                <a:gd name="f38" fmla="*/ 0 f32 1"/>
                <a:gd name="f39" fmla="*/ 0 f31 1"/>
                <a:gd name="f40" fmla="+- f33 0 f1"/>
                <a:gd name="f41" fmla="*/ f36 1 24"/>
                <a:gd name="f42" fmla="*/ f37 1 28"/>
                <a:gd name="f43" fmla="*/ f38 1 24"/>
                <a:gd name="f44" fmla="*/ f39 1 28"/>
                <a:gd name="f45" fmla="*/ 0 1 f34"/>
                <a:gd name="f46" fmla="*/ f28 1 f34"/>
                <a:gd name="f47" fmla="*/ 0 1 f35"/>
                <a:gd name="f48" fmla="*/ f29 1 f35"/>
                <a:gd name="f49" fmla="*/ f41 1 f34"/>
                <a:gd name="f50" fmla="*/ f42 1 f35"/>
                <a:gd name="f51" fmla="*/ f43 1 f34"/>
                <a:gd name="f52" fmla="*/ f44 1 f35"/>
                <a:gd name="f53" fmla="*/ f45 f25 1"/>
                <a:gd name="f54" fmla="*/ f46 f25 1"/>
                <a:gd name="f55" fmla="*/ f48 f26 1"/>
                <a:gd name="f56" fmla="*/ f47 f26 1"/>
                <a:gd name="f57" fmla="*/ f49 f25 1"/>
                <a:gd name="f58" fmla="*/ f50 f26 1"/>
                <a:gd name="f59" fmla="*/ f51 f25 1"/>
                <a:gd name="f60" fmla="*/ f52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9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58"/>
                </a:cxn>
                <a:cxn ang="f40">
                  <a:pos x="f57" y="f60"/>
                </a:cxn>
                <a:cxn ang="f40">
                  <a:pos x="f57" y="f60"/>
                </a:cxn>
                <a:cxn ang="f40">
                  <a:pos x="f57" y="f58"/>
                </a:cxn>
                <a:cxn ang="f40">
                  <a:pos x="f57" y="f58"/>
                </a:cxn>
              </a:cxnLst>
              <a:rect l="f53" t="f56" r="f54" b="f55"/>
              <a:pathLst>
                <a:path w="24" h="28">
                  <a:moveTo>
                    <a:pt x="f8" y="f9"/>
                  </a:moveTo>
                  <a:cubicBezTo>
                    <a:pt x="f10" y="f9"/>
                    <a:pt x="f10" y="f9"/>
                    <a:pt x="f10" y="f9"/>
                  </a:cubicBezTo>
                  <a:cubicBezTo>
                    <a:pt x="f8" y="f11"/>
                    <a:pt x="f8" y="f11"/>
                    <a:pt x="f8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2" y="f13"/>
                    <a:pt x="f14" y="f15"/>
                    <a:pt x="f5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2" y="f7"/>
                    <a:pt x="f12" y="f7"/>
                    <a:pt x="f12" y="f7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13" y="f20"/>
                    <a:pt x="f13" y="f20"/>
                    <a:pt x="f13" y="f20"/>
                  </a:cubicBezTo>
                  <a:cubicBezTo>
                    <a:pt x="f21" y="f18"/>
                    <a:pt x="f21" y="f18"/>
                    <a:pt x="f21" y="f18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23" y="f16"/>
                    <a:pt x="f23" y="f16"/>
                    <a:pt x="f23" y="f16"/>
                  </a:cubicBezTo>
                  <a:cubicBezTo>
                    <a:pt x="f11" y="f5"/>
                    <a:pt x="f11" y="f5"/>
                    <a:pt x="f11" y="f5"/>
                  </a:cubicBezTo>
                  <a:cubicBezTo>
                    <a:pt x="f11" y="f5"/>
                    <a:pt x="f11" y="f5"/>
                    <a:pt x="f11" y="f5"/>
                  </a:cubicBezTo>
                  <a:cubicBezTo>
                    <a:pt x="f18" y="f16"/>
                    <a:pt x="f18" y="f16"/>
                    <a:pt x="f18" y="f16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7" name="Freeform 290">
              <a:extLst>
                <a:ext uri="{FF2B5EF4-FFF2-40B4-BE49-F238E27FC236}">
                  <a16:creationId xmlns:a16="http://schemas.microsoft.com/office/drawing/2014/main" id="{A7A26EC2-C13E-F2C3-4D87-C84F252DEA62}"/>
                </a:ext>
              </a:extLst>
            </p:cNvPr>
            <p:cNvSpPr/>
            <p:nvPr/>
          </p:nvSpPr>
          <p:spPr>
            <a:xfrm>
              <a:off x="6774339" y="3877155"/>
              <a:ext cx="272829" cy="16191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21"/>
                <a:gd name="f8" fmla="val 30"/>
                <a:gd name="f9" fmla="val 25"/>
                <a:gd name="f10" fmla="val 2"/>
                <a:gd name="f11" fmla="val 18"/>
                <a:gd name="f12" fmla="val 3"/>
                <a:gd name="f13" fmla="val 4"/>
                <a:gd name="f14" fmla="val 16"/>
                <a:gd name="f15" fmla="val 5"/>
                <a:gd name="f16" fmla="val 14"/>
                <a:gd name="f17" fmla="val 7"/>
                <a:gd name="f18" fmla="val 8"/>
                <a:gd name="f19" fmla="val 1"/>
                <a:gd name="f20" fmla="val 12"/>
                <a:gd name="f21" fmla="val 19"/>
                <a:gd name="f22" fmla="val 15"/>
                <a:gd name="f23" fmla="val 13"/>
                <a:gd name="f24" fmla="val 10"/>
                <a:gd name="f25" fmla="val 31"/>
                <a:gd name="f26" fmla="+- 0 0 -90"/>
                <a:gd name="f27" fmla="*/ f3 1 34"/>
                <a:gd name="f28" fmla="*/ f4 1 21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34"/>
                <a:gd name="f37" fmla="*/ f33 1 21"/>
                <a:gd name="f38" fmla="*/ 2147483646 f34 1"/>
                <a:gd name="f39" fmla="*/ 0 f33 1"/>
                <a:gd name="f40" fmla="*/ 2147483646 f33 1"/>
                <a:gd name="f41" fmla="*/ 0 f34 1"/>
                <a:gd name="f42" fmla="+- f35 0 f1"/>
                <a:gd name="f43" fmla="*/ f38 1 34"/>
                <a:gd name="f44" fmla="*/ f39 1 21"/>
                <a:gd name="f45" fmla="*/ f40 1 21"/>
                <a:gd name="f46" fmla="*/ f41 1 34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7"/>
                <a:gd name="f54" fmla="*/ f46 1 f36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8 1"/>
                <a:gd name="f62" fmla="*/ f54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62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0"/>
                </a:cxn>
              </a:cxnLst>
              <a:rect l="f55" t="f58" r="f56" b="f57"/>
              <a:pathLst>
                <a:path w="34" h="21">
                  <a:moveTo>
                    <a:pt x="f8" y="f5"/>
                  </a:moveTo>
                  <a:cubicBezTo>
                    <a:pt x="f9" y="f10"/>
                    <a:pt x="f11" y="f12"/>
                    <a:pt x="f11" y="f13"/>
                  </a:cubicBezTo>
                  <a:cubicBezTo>
                    <a:pt x="f14" y="f15"/>
                    <a:pt x="f16" y="f17"/>
                    <a:pt x="f16" y="f17"/>
                  </a:cubicBezTo>
                  <a:cubicBezTo>
                    <a:pt x="f12" y="f17"/>
                    <a:pt x="f12" y="f17"/>
                    <a:pt x="f12" y="f17"/>
                  </a:cubicBezTo>
                  <a:cubicBezTo>
                    <a:pt x="f5" y="f18"/>
                    <a:pt x="f5" y="f18"/>
                    <a:pt x="f5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5" y="f7"/>
                    <a:pt x="f15" y="f7"/>
                    <a:pt x="f15" y="f7"/>
                  </a:cubicBezTo>
                  <a:cubicBezTo>
                    <a:pt x="f20" y="f21"/>
                    <a:pt x="f20" y="f21"/>
                    <a:pt x="f20" y="f21"/>
                  </a:cubicBezTo>
                  <a:cubicBezTo>
                    <a:pt x="f22" y="f21"/>
                    <a:pt x="f22" y="f21"/>
                    <a:pt x="f22" y="f21"/>
                  </a:cubicBezTo>
                  <a:cubicBezTo>
                    <a:pt x="f21" y="f22"/>
                    <a:pt x="f21" y="f22"/>
                    <a:pt x="f21" y="f22"/>
                  </a:cubicBezTo>
                  <a:cubicBezTo>
                    <a:pt x="f9" y="f23"/>
                    <a:pt x="f9" y="f23"/>
                    <a:pt x="f9" y="f23"/>
                  </a:cubicBezTo>
                  <a:cubicBezTo>
                    <a:pt x="f6" y="f24"/>
                    <a:pt x="f6" y="f24"/>
                    <a:pt x="f6" y="f24"/>
                  </a:cubicBezTo>
                  <a:cubicBezTo>
                    <a:pt x="f25" y="f12"/>
                    <a:pt x="f25" y="f12"/>
                    <a:pt x="f25" y="f12"/>
                  </a:cubicBez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8" name="Freeform 291">
              <a:extLst>
                <a:ext uri="{FF2B5EF4-FFF2-40B4-BE49-F238E27FC236}">
                  <a16:creationId xmlns:a16="http://schemas.microsoft.com/office/drawing/2014/main" id="{EE7AB359-29C0-260A-11F2-49DFA38C443C}"/>
                </a:ext>
              </a:extLst>
            </p:cNvPr>
            <p:cNvSpPr/>
            <p:nvPr/>
          </p:nvSpPr>
          <p:spPr>
            <a:xfrm>
              <a:off x="6581556" y="3525294"/>
              <a:ext cx="506449" cy="4141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3"/>
                <a:gd name="f7" fmla="val 54"/>
                <a:gd name="f8" fmla="val 34"/>
                <a:gd name="f9" fmla="val 55"/>
                <a:gd name="f10" fmla="val 32"/>
                <a:gd name="f11" fmla="val 52"/>
                <a:gd name="f12" fmla="val 28"/>
                <a:gd name="f13" fmla="val 53"/>
                <a:gd name="f14" fmla="val 25"/>
                <a:gd name="f15" fmla="val 48"/>
                <a:gd name="f16" fmla="val 23"/>
                <a:gd name="f17" fmla="val 46"/>
                <a:gd name="f18" fmla="val 17"/>
                <a:gd name="f19" fmla="val 42"/>
                <a:gd name="f20" fmla="val 13"/>
                <a:gd name="f21" fmla="val 12"/>
                <a:gd name="f22" fmla="val 39"/>
                <a:gd name="f23" fmla="val 36"/>
                <a:gd name="f24" fmla="val 10"/>
                <a:gd name="f25" fmla="val 9"/>
                <a:gd name="f26" fmla="val 6"/>
                <a:gd name="f27" fmla="val 15"/>
                <a:gd name="f28" fmla="val 1"/>
                <a:gd name="f29" fmla="val 11"/>
                <a:gd name="f30" fmla="val 2"/>
                <a:gd name="f31" fmla="val 8"/>
                <a:gd name="f32" fmla="val 7"/>
                <a:gd name="f33" fmla="val 4"/>
                <a:gd name="f34" fmla="val 29"/>
                <a:gd name="f35" fmla="val 33"/>
                <a:gd name="f36" fmla="val 24"/>
                <a:gd name="f37" fmla="val 27"/>
                <a:gd name="f38" fmla="val 38"/>
                <a:gd name="f39" fmla="val 40"/>
                <a:gd name="f40" fmla="val 51"/>
                <a:gd name="f41" fmla="val 50"/>
                <a:gd name="f42" fmla="val 49"/>
                <a:gd name="f43" fmla="+- 0 0 -90"/>
                <a:gd name="f44" fmla="*/ f3 1 63"/>
                <a:gd name="f45" fmla="*/ f4 1 54"/>
                <a:gd name="f46" fmla="val f5"/>
                <a:gd name="f47" fmla="val f6"/>
                <a:gd name="f48" fmla="val f7"/>
                <a:gd name="f49" fmla="*/ f43 f0 1"/>
                <a:gd name="f50" fmla="+- f48 0 f46"/>
                <a:gd name="f51" fmla="+- f47 0 f46"/>
                <a:gd name="f52" fmla="*/ f49 1 f2"/>
                <a:gd name="f53" fmla="*/ f51 1 63"/>
                <a:gd name="f54" fmla="*/ f50 1 54"/>
                <a:gd name="f55" fmla="*/ 2147483646 f51 1"/>
                <a:gd name="f56" fmla="*/ 2147483646 f50 1"/>
                <a:gd name="f57" fmla="*/ 0 f50 1"/>
                <a:gd name="f58" fmla="*/ 0 f51 1"/>
                <a:gd name="f59" fmla="+- f52 0 f1"/>
                <a:gd name="f60" fmla="*/ f55 1 63"/>
                <a:gd name="f61" fmla="*/ f56 1 54"/>
                <a:gd name="f62" fmla="*/ f57 1 54"/>
                <a:gd name="f63" fmla="*/ f58 1 63"/>
                <a:gd name="f64" fmla="*/ 0 1 f53"/>
                <a:gd name="f65" fmla="*/ f47 1 f53"/>
                <a:gd name="f66" fmla="*/ 0 1 f54"/>
                <a:gd name="f67" fmla="*/ f48 1 f54"/>
                <a:gd name="f68" fmla="*/ f60 1 f53"/>
                <a:gd name="f69" fmla="*/ f61 1 f54"/>
                <a:gd name="f70" fmla="*/ f62 1 f54"/>
                <a:gd name="f71" fmla="*/ f63 1 f53"/>
                <a:gd name="f72" fmla="*/ f64 f44 1"/>
                <a:gd name="f73" fmla="*/ f65 f44 1"/>
                <a:gd name="f74" fmla="*/ f67 f45 1"/>
                <a:gd name="f75" fmla="*/ f66 f45 1"/>
                <a:gd name="f76" fmla="*/ f68 f44 1"/>
                <a:gd name="f77" fmla="*/ f69 f45 1"/>
                <a:gd name="f78" fmla="*/ f70 f45 1"/>
                <a:gd name="f79" fmla="*/ f7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8"/>
                </a:cxn>
                <a:cxn ang="f59">
                  <a:pos x="f76" y="f78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9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</a:cxnLst>
              <a:rect l="f72" t="f75" r="f73" b="f74"/>
              <a:pathLst>
                <a:path w="63" h="54">
                  <a:moveTo>
                    <a:pt x="f6" y="f8"/>
                  </a:moveTo>
                  <a:cubicBezTo>
                    <a:pt x="f9" y="f10"/>
                    <a:pt x="f9" y="f10"/>
                    <a:pt x="f9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1" y="f14"/>
                    <a:pt x="f11" y="f14"/>
                    <a:pt x="f11" y="f14"/>
                  </a:cubicBezTo>
                  <a:cubicBezTo>
                    <a:pt x="f15" y="f16"/>
                    <a:pt x="f15" y="f16"/>
                    <a:pt x="f15" y="f16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9" y="f21"/>
                    <a:pt x="f19" y="f21"/>
                    <a:pt x="f19" y="f21"/>
                  </a:cubicBezTo>
                  <a:cubicBezTo>
                    <a:pt x="f22" y="f21"/>
                    <a:pt x="f22" y="f21"/>
                    <a:pt x="f22" y="f21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12" y="f25"/>
                    <a:pt x="f12" y="f25"/>
                    <a:pt x="f12" y="f25"/>
                  </a:cubicBezTo>
                  <a:cubicBezTo>
                    <a:pt x="f14" y="f26"/>
                    <a:pt x="f14" y="f26"/>
                    <a:pt x="f14" y="f26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29" y="f5"/>
                    <a:pt x="f29" y="f5"/>
                    <a:pt x="f29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24" y="f28"/>
                    <a:pt x="f24" y="f28"/>
                    <a:pt x="f24" y="f28"/>
                  </a:cubicBezTo>
                  <a:cubicBezTo>
                    <a:pt x="f26" y="f30"/>
                    <a:pt x="f26" y="f30"/>
                    <a:pt x="f26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32" y="f25"/>
                    <a:pt x="f32" y="f25"/>
                    <a:pt x="f32" y="f25"/>
                  </a:cubicBezTo>
                  <a:cubicBezTo>
                    <a:pt x="f33" y="f25"/>
                    <a:pt x="f33" y="f25"/>
                    <a:pt x="f33" y="f25"/>
                  </a:cubicBezTo>
                  <a:cubicBezTo>
                    <a:pt x="f30" y="f29"/>
                    <a:pt x="f30" y="f29"/>
                    <a:pt x="f30" y="f29"/>
                  </a:cubicBezTo>
                  <a:cubicBezTo>
                    <a:pt x="f5" y="f29"/>
                    <a:pt x="f5" y="f29"/>
                    <a:pt x="f5" y="f29"/>
                  </a:cubicBezTo>
                  <a:cubicBezTo>
                    <a:pt x="f30" y="f27"/>
                    <a:pt x="f30" y="f27"/>
                    <a:pt x="f30" y="f27"/>
                  </a:cubicBezTo>
                  <a:cubicBezTo>
                    <a:pt x="f25" y="f34"/>
                    <a:pt x="f25" y="f34"/>
                    <a:pt x="f25" y="f34"/>
                  </a:cubicBezTo>
                  <a:cubicBezTo>
                    <a:pt x="f20" y="f35"/>
                    <a:pt x="f20" y="f35"/>
                    <a:pt x="f20" y="f35"/>
                  </a:cubicBezTo>
                  <a:cubicBezTo>
                    <a:pt x="f27" y="f22"/>
                    <a:pt x="f27" y="f22"/>
                    <a:pt x="f27" y="f22"/>
                  </a:cubicBezTo>
                  <a:cubicBezTo>
                    <a:pt x="f18" y="f17"/>
                    <a:pt x="f18" y="f17"/>
                    <a:pt x="f18" y="f17"/>
                  </a:cubicBezTo>
                  <a:cubicBezTo>
                    <a:pt x="f36" y="f13"/>
                    <a:pt x="f36" y="f13"/>
                    <a:pt x="f36" y="f13"/>
                  </a:cubicBezTo>
                  <a:cubicBezTo>
                    <a:pt x="f36" y="f7"/>
                    <a:pt x="f36" y="f7"/>
                    <a:pt x="f36" y="f7"/>
                  </a:cubicBezTo>
                  <a:cubicBezTo>
                    <a:pt x="f37" y="f13"/>
                    <a:pt x="f37" y="f13"/>
                    <a:pt x="f37" y="f13"/>
                  </a:cubicBezTo>
                  <a:cubicBezTo>
                    <a:pt x="f38" y="f13"/>
                    <a:pt x="f38" y="f13"/>
                    <a:pt x="f38" y="f13"/>
                  </a:cubicBezTo>
                  <a:cubicBezTo>
                    <a:pt x="f38" y="f13"/>
                    <a:pt x="f39" y="f40"/>
                    <a:pt x="f19" y="f41"/>
                  </a:cubicBezTo>
                  <a:cubicBezTo>
                    <a:pt x="f19" y="f42"/>
                    <a:pt x="f42" y="f15"/>
                    <a:pt x="f7" y="f17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9" name="Freeform 292">
              <a:extLst>
                <a:ext uri="{FF2B5EF4-FFF2-40B4-BE49-F238E27FC236}">
                  <a16:creationId xmlns:a16="http://schemas.microsoft.com/office/drawing/2014/main" id="{67D110D7-8831-60A3-9859-2EA54C1A7B54}"/>
                </a:ext>
              </a:extLst>
            </p:cNvPr>
            <p:cNvSpPr/>
            <p:nvPr/>
          </p:nvSpPr>
          <p:spPr>
            <a:xfrm>
              <a:off x="7016125" y="3786849"/>
              <a:ext cx="80055" cy="902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"/>
                <a:gd name="f7" fmla="val 12"/>
                <a:gd name="f8" fmla="val 3"/>
                <a:gd name="f9" fmla="val 4"/>
                <a:gd name="f10" fmla="val 11"/>
                <a:gd name="f11" fmla="val 9"/>
                <a:gd name="f12" fmla="val 7"/>
                <a:gd name="f13" fmla="+- 0 0 -90"/>
                <a:gd name="f14" fmla="*/ f3 1 10"/>
                <a:gd name="f15" fmla="*/ f4 1 12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10"/>
                <a:gd name="f24" fmla="*/ f20 1 12"/>
                <a:gd name="f25" fmla="*/ 0 f21 1"/>
                <a:gd name="f26" fmla="*/ 2147483646 f20 1"/>
                <a:gd name="f27" fmla="*/ 2147483646 f21 1"/>
                <a:gd name="f28" fmla="*/ 0 f20 1"/>
                <a:gd name="f29" fmla="+- f22 0 f1"/>
                <a:gd name="f30" fmla="*/ f25 1 10"/>
                <a:gd name="f31" fmla="*/ f26 1 12"/>
                <a:gd name="f32" fmla="*/ f27 1 10"/>
                <a:gd name="f33" fmla="*/ f28 1 12"/>
                <a:gd name="f34" fmla="*/ 0 1 f23"/>
                <a:gd name="f35" fmla="*/ f17 1 f23"/>
                <a:gd name="f36" fmla="*/ 0 1 f24"/>
                <a:gd name="f37" fmla="*/ f18 1 f24"/>
                <a:gd name="f38" fmla="*/ f30 1 f23"/>
                <a:gd name="f39" fmla="*/ f31 1 f24"/>
                <a:gd name="f40" fmla="*/ f32 1 f23"/>
                <a:gd name="f41" fmla="*/ f33 1 f24"/>
                <a:gd name="f42" fmla="*/ f34 f14 1"/>
                <a:gd name="f43" fmla="*/ f35 f14 1"/>
                <a:gd name="f44" fmla="*/ f37 f15 1"/>
                <a:gd name="f45" fmla="*/ f36 f15 1"/>
                <a:gd name="f46" fmla="*/ f38 f14 1"/>
                <a:gd name="f47" fmla="*/ f39 f15 1"/>
                <a:gd name="f48" fmla="*/ f40 f14 1"/>
                <a:gd name="f49" fmla="*/ f41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46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9"/>
                </a:cxn>
                <a:cxn ang="f29">
                  <a:pos x="f48" y="f49"/>
                </a:cxn>
              </a:cxnLst>
              <a:rect l="f42" t="f45" r="f43" b="f44"/>
              <a:pathLst>
                <a:path w="10" h="12">
                  <a:moveTo>
                    <a:pt x="f5" y="f7"/>
                  </a:moveTo>
                  <a:cubicBezTo>
                    <a:pt x="f8" y="f7"/>
                    <a:pt x="f9" y="f10"/>
                    <a:pt x="f9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11" y="f5"/>
                    <a:pt x="f11" y="f5"/>
                    <a:pt x="f11" y="f5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0" name="Freeform 293">
              <a:extLst>
                <a:ext uri="{FF2B5EF4-FFF2-40B4-BE49-F238E27FC236}">
                  <a16:creationId xmlns:a16="http://schemas.microsoft.com/office/drawing/2014/main" id="{B8D2C1A8-C7EA-181E-EE00-BB16C3BFD403}"/>
                </a:ext>
              </a:extLst>
            </p:cNvPr>
            <p:cNvSpPr/>
            <p:nvPr/>
          </p:nvSpPr>
          <p:spPr>
            <a:xfrm>
              <a:off x="6668150" y="3372727"/>
              <a:ext cx="256489" cy="24598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2"/>
                <a:gd name="f7" fmla="val 168"/>
                <a:gd name="f8" fmla="val 120"/>
                <a:gd name="f9" fmla="val 132"/>
                <a:gd name="f10" fmla="val 90"/>
                <a:gd name="f11" fmla="val 66"/>
                <a:gd name="f12" fmla="val 138"/>
                <a:gd name="f13" fmla="val 42"/>
                <a:gd name="f14" fmla="val 114"/>
                <a:gd name="f15" fmla="val 6"/>
                <a:gd name="f16" fmla="val 102"/>
                <a:gd name="f17" fmla="val 72"/>
                <a:gd name="f18" fmla="val 12"/>
                <a:gd name="f19" fmla="val 54"/>
                <a:gd name="f20" fmla="val 30"/>
                <a:gd name="f21" fmla="val 96"/>
                <a:gd name="f22" fmla="val 24"/>
                <a:gd name="f23" fmla="val 126"/>
                <a:gd name="f24" fmla="val 84"/>
                <a:gd name="f25" fmla="val 156"/>
                <a:gd name="f26" fmla="val 174"/>
                <a:gd name="f27" fmla="val 150"/>
                <a:gd name="f28" fmla="val 186"/>
                <a:gd name="f29" fmla="+- 0 0 -90"/>
                <a:gd name="f30" fmla="*/ f3 1 192"/>
                <a:gd name="f31" fmla="*/ f4 1 192"/>
                <a:gd name="f32" fmla="val f5"/>
                <a:gd name="f33" fmla="val f6"/>
                <a:gd name="f34" fmla="*/ f29 f0 1"/>
                <a:gd name="f35" fmla="+- f33 0 f32"/>
                <a:gd name="f36" fmla="*/ f34 1 f2"/>
                <a:gd name="f37" fmla="*/ f35 1 192"/>
                <a:gd name="f38" fmla="*/ 2147483646 f35 1"/>
                <a:gd name="f39" fmla="*/ 0 f35 1"/>
                <a:gd name="f40" fmla="+- f36 0 f1"/>
                <a:gd name="f41" fmla="*/ f38 1 192"/>
                <a:gd name="f42" fmla="*/ f39 1 192"/>
                <a:gd name="f43" fmla="*/ 0 1 f37"/>
                <a:gd name="f44" fmla="*/ f33 1 f37"/>
                <a:gd name="f45" fmla="*/ f41 1 f37"/>
                <a:gd name="f46" fmla="*/ f42 1 f37"/>
                <a:gd name="f47" fmla="*/ f43 f30 1"/>
                <a:gd name="f48" fmla="*/ f44 f30 1"/>
                <a:gd name="f49" fmla="*/ f44 f31 1"/>
                <a:gd name="f50" fmla="*/ f43 f31 1"/>
                <a:gd name="f51" fmla="*/ f45 f30 1"/>
                <a:gd name="f52" fmla="*/ f45 f31 1"/>
                <a:gd name="f53" fmla="*/ f46 f31 1"/>
                <a:gd name="f54" fmla="*/ f46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3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4" y="f52"/>
                </a:cxn>
                <a:cxn ang="f40">
                  <a:pos x="f54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  <a:cxn ang="f40">
                  <a:pos x="f51" y="f52"/>
                </a:cxn>
              </a:cxnLst>
              <a:rect l="f47" t="f50" r="f48" b="f49"/>
              <a:pathLst>
                <a:path w="192" h="192">
                  <a:moveTo>
                    <a:pt x="f7" y="f8"/>
                  </a:moveTo>
                  <a:lnTo>
                    <a:pt x="f9" y="f10"/>
                  </a:lnTo>
                  <a:lnTo>
                    <a:pt x="f9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5"/>
                  </a:lnTo>
                  <a:lnTo>
                    <a:pt x="f17" y="f15"/>
                  </a:lnTo>
                  <a:lnTo>
                    <a:pt x="f11" y="f15"/>
                  </a:lnTo>
                  <a:lnTo>
                    <a:pt x="f11" y="f18"/>
                  </a:lnTo>
                  <a:lnTo>
                    <a:pt x="f19" y="f20"/>
                  </a:lnTo>
                  <a:lnTo>
                    <a:pt x="f13" y="f17"/>
                  </a:lnTo>
                  <a:lnTo>
                    <a:pt x="f5" y="f21"/>
                  </a:lnTo>
                  <a:lnTo>
                    <a:pt x="f5" y="f8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16" y="f26"/>
                  </a:lnTo>
                  <a:lnTo>
                    <a:pt x="f27" y="f2"/>
                  </a:lnTo>
                  <a:lnTo>
                    <a:pt x="f7" y="f6"/>
                  </a:lnTo>
                  <a:lnTo>
                    <a:pt x="f28" y="f6"/>
                  </a:lnTo>
                  <a:lnTo>
                    <a:pt x="f2" y="f2"/>
                  </a:lnTo>
                  <a:lnTo>
                    <a:pt x="f6" y="f26"/>
                  </a:lnTo>
                  <a:lnTo>
                    <a:pt x="f2" y="f27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1" name="Freeform 294">
              <a:extLst>
                <a:ext uri="{FF2B5EF4-FFF2-40B4-BE49-F238E27FC236}">
                  <a16:creationId xmlns:a16="http://schemas.microsoft.com/office/drawing/2014/main" id="{CC18F3B4-65E0-5B72-9B9D-D35A156F3EA7}"/>
                </a:ext>
              </a:extLst>
            </p:cNvPr>
            <p:cNvSpPr/>
            <p:nvPr/>
          </p:nvSpPr>
          <p:spPr>
            <a:xfrm>
              <a:off x="6815176" y="3305774"/>
              <a:ext cx="483580" cy="41880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0"/>
                <a:gd name="f7" fmla="val 55"/>
                <a:gd name="f8" fmla="val 53"/>
                <a:gd name="f9" fmla="val 38"/>
                <a:gd name="f10" fmla="val 32"/>
                <a:gd name="f11" fmla="val 51"/>
                <a:gd name="f12" fmla="val 30"/>
                <a:gd name="f13" fmla="val 25"/>
                <a:gd name="f14" fmla="val 52"/>
                <a:gd name="f15" fmla="val 21"/>
                <a:gd name="f16" fmla="val 12"/>
                <a:gd name="f17" fmla="val 49"/>
                <a:gd name="f18" fmla="val 11"/>
                <a:gd name="f19" fmla="val 45"/>
                <a:gd name="f20" fmla="val 8"/>
                <a:gd name="f21" fmla="val 40"/>
                <a:gd name="f22" fmla="val 5"/>
                <a:gd name="f23" fmla="val 36"/>
                <a:gd name="f24" fmla="val 6"/>
                <a:gd name="f25" fmla="val 31"/>
                <a:gd name="f26" fmla="val 10"/>
                <a:gd name="f27" fmla="val 26"/>
                <a:gd name="f28" fmla="val 22"/>
                <a:gd name="f29" fmla="val 19"/>
                <a:gd name="f30" fmla="val 9"/>
                <a:gd name="f31" fmla="val 15"/>
                <a:gd name="f32" fmla="val 4"/>
                <a:gd name="f33" fmla="val 2"/>
                <a:gd name="f34" fmla="val 3"/>
                <a:gd name="f35" fmla="val 7"/>
                <a:gd name="f36" fmla="val 1"/>
                <a:gd name="f37" fmla="val 16"/>
                <a:gd name="f38" fmla="val 20"/>
                <a:gd name="f39" fmla="val 24"/>
                <a:gd name="f40" fmla="val 29"/>
                <a:gd name="f41" fmla="val 34"/>
                <a:gd name="f42" fmla="val 14"/>
                <a:gd name="f43" fmla="val 39"/>
                <a:gd name="f44" fmla="val 23"/>
                <a:gd name="f45" fmla="val 44"/>
                <a:gd name="f46" fmla="val 28"/>
                <a:gd name="f47" fmla="val 48"/>
                <a:gd name="f48" fmla="val 42"/>
                <a:gd name="f49" fmla="val 59"/>
                <a:gd name="f50" fmla="val 46"/>
                <a:gd name="f51" fmla="val 58"/>
                <a:gd name="f52" fmla="val 54"/>
                <a:gd name="f53" fmla="+- 0 0 -90"/>
                <a:gd name="f54" fmla="*/ f3 1 60"/>
                <a:gd name="f55" fmla="*/ f4 1 55"/>
                <a:gd name="f56" fmla="val f5"/>
                <a:gd name="f57" fmla="val f6"/>
                <a:gd name="f58" fmla="val f7"/>
                <a:gd name="f59" fmla="*/ f53 f0 1"/>
                <a:gd name="f60" fmla="+- f58 0 f56"/>
                <a:gd name="f61" fmla="+- f57 0 f56"/>
                <a:gd name="f62" fmla="*/ f59 1 f2"/>
                <a:gd name="f63" fmla="*/ f61 1 60"/>
                <a:gd name="f64" fmla="*/ f60 1 55"/>
                <a:gd name="f65" fmla="*/ 2147483646 f61 1"/>
                <a:gd name="f66" fmla="*/ 2147483646 f60 1"/>
                <a:gd name="f67" fmla="*/ 0 f60 1"/>
                <a:gd name="f68" fmla="*/ 0 f61 1"/>
                <a:gd name="f69" fmla="+- f62 0 f1"/>
                <a:gd name="f70" fmla="*/ f65 1 60"/>
                <a:gd name="f71" fmla="*/ f66 1 55"/>
                <a:gd name="f72" fmla="*/ f67 1 55"/>
                <a:gd name="f73" fmla="*/ f68 1 60"/>
                <a:gd name="f74" fmla="*/ 0 1 f63"/>
                <a:gd name="f75" fmla="*/ f57 1 f63"/>
                <a:gd name="f76" fmla="*/ 0 1 f64"/>
                <a:gd name="f77" fmla="*/ f58 1 f64"/>
                <a:gd name="f78" fmla="*/ f70 1 f63"/>
                <a:gd name="f79" fmla="*/ f71 1 f64"/>
                <a:gd name="f80" fmla="*/ f72 1 f64"/>
                <a:gd name="f81" fmla="*/ f73 1 f63"/>
                <a:gd name="f82" fmla="*/ f74 f54 1"/>
                <a:gd name="f83" fmla="*/ f75 f54 1"/>
                <a:gd name="f84" fmla="*/ f77 f55 1"/>
                <a:gd name="f85" fmla="*/ f76 f55 1"/>
                <a:gd name="f86" fmla="*/ f78 f54 1"/>
                <a:gd name="f87" fmla="*/ f79 f55 1"/>
                <a:gd name="f88" fmla="*/ f80 f55 1"/>
                <a:gd name="f89" fmla="*/ f8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8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9" y="f88"/>
                </a:cxn>
                <a:cxn ang="f69">
                  <a:pos x="f89" y="f88"/>
                </a:cxn>
                <a:cxn ang="f69">
                  <a:pos x="f89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</a:cxnLst>
              <a:rect l="f82" t="f85" r="f83" b="f84"/>
              <a:pathLst>
                <a:path w="60" h="55">
                  <a:moveTo>
                    <a:pt x="f8" y="f9"/>
                  </a:moveTo>
                  <a:cubicBezTo>
                    <a:pt x="f8" y="f9"/>
                    <a:pt x="f8" y="f9"/>
                    <a:pt x="f8" y="f9"/>
                  </a:cubicBezTo>
                  <a:cubicBezTo>
                    <a:pt x="f7" y="f10"/>
                    <a:pt x="f7" y="f10"/>
                    <a:pt x="f7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1" y="f13"/>
                    <a:pt x="f11" y="f13"/>
                    <a:pt x="f11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8" y="f16"/>
                    <a:pt x="f8" y="f16"/>
                    <a:pt x="f8" y="f16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21" y="f22"/>
                    <a:pt x="f21" y="f22"/>
                    <a:pt x="f21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5" y="f20"/>
                    <a:pt x="f25" y="f20"/>
                    <a:pt x="f25" y="f20"/>
                  </a:cubicBezTo>
                  <a:cubicBezTo>
                    <a:pt x="f12" y="f26"/>
                    <a:pt x="f12" y="f26"/>
                    <a:pt x="f12" y="f26"/>
                  </a:cubicBezTo>
                  <a:cubicBezTo>
                    <a:pt x="f27" y="f18"/>
                    <a:pt x="f27" y="f18"/>
                    <a:pt x="f27" y="f18"/>
                  </a:cubicBezTo>
                  <a:cubicBezTo>
                    <a:pt x="f28" y="f18"/>
                    <a:pt x="f28" y="f18"/>
                    <a:pt x="f28" y="f1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0"/>
                    <a:pt x="f31" y="f30"/>
                    <a:pt x="f31" y="f30"/>
                  </a:cubicBezTo>
                  <a:cubicBezTo>
                    <a:pt x="f31" y="f24"/>
                    <a:pt x="f31" y="f24"/>
                    <a:pt x="f31" y="f24"/>
                  </a:cubicBezTo>
                  <a:cubicBezTo>
                    <a:pt x="f16" y="f32"/>
                    <a:pt x="f16" y="f32"/>
                    <a:pt x="f16" y="f32"/>
                  </a:cubicBezTo>
                  <a:cubicBezTo>
                    <a:pt x="f16" y="f33"/>
                    <a:pt x="f16" y="f33"/>
                    <a:pt x="f16" y="f33"/>
                  </a:cubicBezTo>
                  <a:cubicBezTo>
                    <a:pt x="f26" y="f5"/>
                    <a:pt x="f26" y="f5"/>
                    <a:pt x="f26" y="f5"/>
                  </a:cubicBezTo>
                  <a:cubicBezTo>
                    <a:pt x="f24" y="f34"/>
                    <a:pt x="f24" y="f34"/>
                    <a:pt x="f24" y="f34"/>
                  </a:cubicBezTo>
                  <a:cubicBezTo>
                    <a:pt x="f34" y="f33"/>
                    <a:pt x="f34" y="f33"/>
                    <a:pt x="f34" y="f33"/>
                  </a:cubicBezTo>
                  <a:cubicBezTo>
                    <a:pt x="f5" y="f5"/>
                    <a:pt x="f5" y="f5"/>
                    <a:pt x="f5" y="f5"/>
                  </a:cubicBezTo>
                  <a:cubicBezTo>
                    <a:pt x="f5" y="f5"/>
                    <a:pt x="f5" y="f5"/>
                    <a:pt x="f5" y="f5"/>
                  </a:cubicBezTo>
                  <a:cubicBezTo>
                    <a:pt x="f5" y="f5"/>
                    <a:pt x="f5" y="f24"/>
                    <a:pt x="f5" y="f35"/>
                  </a:cubicBezTo>
                  <a:cubicBezTo>
                    <a:pt x="f5" y="f35"/>
                    <a:pt x="f36" y="f26"/>
                    <a:pt x="f36" y="f26"/>
                  </a:cubicBezTo>
                  <a:cubicBezTo>
                    <a:pt x="f36" y="f26"/>
                    <a:pt x="f36" y="f26"/>
                    <a:pt x="f36" y="f26"/>
                  </a:cubicBezTo>
                  <a:cubicBezTo>
                    <a:pt x="f22" y="f37"/>
                    <a:pt x="f22" y="f37"/>
                    <a:pt x="f22" y="f37"/>
                  </a:cubicBezTo>
                  <a:cubicBezTo>
                    <a:pt x="f32" y="f38"/>
                    <a:pt x="f32" y="f38"/>
                    <a:pt x="f32" y="f38"/>
                  </a:cubicBezTo>
                  <a:cubicBezTo>
                    <a:pt x="f32" y="f39"/>
                    <a:pt x="f32" y="f39"/>
                    <a:pt x="f32" y="f39"/>
                  </a:cubicBezTo>
                  <a:cubicBezTo>
                    <a:pt x="f26" y="f40"/>
                    <a:pt x="f26" y="f40"/>
                    <a:pt x="f26" y="f40"/>
                  </a:cubicBezTo>
                  <a:cubicBezTo>
                    <a:pt x="f16" y="f41"/>
                    <a:pt x="f16" y="f41"/>
                    <a:pt x="f16" y="f41"/>
                  </a:cubicBezTo>
                  <a:cubicBezTo>
                    <a:pt x="f42" y="f9"/>
                    <a:pt x="f42" y="f9"/>
                    <a:pt x="f42" y="f9"/>
                  </a:cubicBezTo>
                  <a:cubicBezTo>
                    <a:pt x="f31" y="f23"/>
                    <a:pt x="f31" y="f23"/>
                    <a:pt x="f31" y="f23"/>
                  </a:cubicBezTo>
                  <a:cubicBezTo>
                    <a:pt x="f29" y="f43"/>
                    <a:pt x="f29" y="f43"/>
                    <a:pt x="f29" y="f43"/>
                  </a:cubicBezTo>
                  <a:cubicBezTo>
                    <a:pt x="f44" y="f45"/>
                    <a:pt x="f44" y="f45"/>
                    <a:pt x="f44" y="f45"/>
                  </a:cubicBezTo>
                  <a:cubicBezTo>
                    <a:pt x="f46" y="f47"/>
                    <a:pt x="f46" y="f47"/>
                    <a:pt x="f46" y="f47"/>
                  </a:cubicBezTo>
                  <a:cubicBezTo>
                    <a:pt x="f41" y="f17"/>
                    <a:pt x="f41" y="f17"/>
                    <a:pt x="f41" y="f17"/>
                  </a:cubicBezTo>
                  <a:cubicBezTo>
                    <a:pt x="f43" y="f47"/>
                    <a:pt x="f43" y="f47"/>
                    <a:pt x="f43" y="f47"/>
                  </a:cubicBezTo>
                  <a:cubicBezTo>
                    <a:pt x="f48" y="f14"/>
                    <a:pt x="f48" y="f14"/>
                    <a:pt x="f48" y="f14"/>
                  </a:cubicBezTo>
                  <a:cubicBezTo>
                    <a:pt x="f8" y="f7"/>
                    <a:pt x="f8" y="f7"/>
                    <a:pt x="f8" y="f7"/>
                  </a:cubicBezTo>
                  <a:cubicBezTo>
                    <a:pt x="f7" y="f7"/>
                    <a:pt x="f7" y="f7"/>
                    <a:pt x="f7" y="f7"/>
                  </a:cubicBezTo>
                  <a:cubicBezTo>
                    <a:pt x="f7" y="f11"/>
                    <a:pt x="f7" y="f11"/>
                    <a:pt x="f7" y="f11"/>
                  </a:cubicBezTo>
                  <a:cubicBezTo>
                    <a:pt x="f6" y="f17"/>
                    <a:pt x="f6" y="f17"/>
                    <a:pt x="f6" y="f17"/>
                  </a:cubicBezTo>
                  <a:cubicBezTo>
                    <a:pt x="f49" y="f50"/>
                    <a:pt x="f49" y="f50"/>
                    <a:pt x="f49" y="f50"/>
                  </a:cubicBezTo>
                  <a:cubicBezTo>
                    <a:pt x="f51" y="f45"/>
                    <a:pt x="f51" y="f45"/>
                    <a:pt x="f51" y="f45"/>
                  </a:cubicBezTo>
                  <a:cubicBezTo>
                    <a:pt x="f52" y="f21"/>
                    <a:pt x="f52" y="f21"/>
                    <a:pt x="f52" y="f21"/>
                  </a:cubicBezTo>
                  <a:cubicBezTo>
                    <a:pt x="f8" y="f9"/>
                    <a:pt x="f8" y="f9"/>
                    <a:pt x="f8" y="f9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2" name="Freeform 299">
              <a:extLst>
                <a:ext uri="{FF2B5EF4-FFF2-40B4-BE49-F238E27FC236}">
                  <a16:creationId xmlns:a16="http://schemas.microsoft.com/office/drawing/2014/main" id="{D6EF96C2-CC73-515E-99EC-2CDACD3E5079}"/>
                </a:ext>
              </a:extLst>
            </p:cNvPr>
            <p:cNvSpPr/>
            <p:nvPr/>
          </p:nvSpPr>
          <p:spPr>
            <a:xfrm>
              <a:off x="6205811" y="2692367"/>
              <a:ext cx="163366" cy="10586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0"/>
                <a:gd name="f7" fmla="val 14"/>
                <a:gd name="f8" fmla="val 19"/>
                <a:gd name="f9" fmla="val 4"/>
                <a:gd name="f10" fmla="val 17"/>
                <a:gd name="f11" fmla="val 2"/>
                <a:gd name="f12" fmla="val 15"/>
                <a:gd name="f13" fmla="val 13"/>
                <a:gd name="f14" fmla="val 1"/>
                <a:gd name="f15" fmla="val 9"/>
                <a:gd name="f16" fmla="val 5"/>
                <a:gd name="f17" fmla="val 3"/>
                <a:gd name="f18" fmla="val 6"/>
                <a:gd name="f19" fmla="val 7"/>
                <a:gd name="f20" fmla="val 8"/>
                <a:gd name="f21" fmla="val 10"/>
                <a:gd name="f22" fmla="val 12"/>
                <a:gd name="f23" fmla="val 11"/>
                <a:gd name="f24" fmla="val 16"/>
                <a:gd name="f25" fmla="val 18"/>
                <a:gd name="f26" fmla="+- 0 0 -90"/>
                <a:gd name="f27" fmla="*/ f3 1 20"/>
                <a:gd name="f28" fmla="*/ f4 1 14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20"/>
                <a:gd name="f37" fmla="*/ f33 1 14"/>
                <a:gd name="f38" fmla="*/ 2147483646 f34 1"/>
                <a:gd name="f39" fmla="*/ 2147483646 f33 1"/>
                <a:gd name="f40" fmla="*/ 0 f33 1"/>
                <a:gd name="f41" fmla="*/ 0 f34 1"/>
                <a:gd name="f42" fmla="+- f35 0 f1"/>
                <a:gd name="f43" fmla="*/ f38 1 20"/>
                <a:gd name="f44" fmla="*/ f39 1 14"/>
                <a:gd name="f45" fmla="*/ f40 1 14"/>
                <a:gd name="f46" fmla="*/ f41 1 20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7"/>
                <a:gd name="f54" fmla="*/ f46 1 f36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8 1"/>
                <a:gd name="f62" fmla="*/ f54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1"/>
                </a:cxn>
                <a:cxn ang="f42">
                  <a:pos x="f59" y="f60"/>
                </a:cxn>
                <a:cxn ang="f42">
                  <a:pos x="f59" y="f61"/>
                </a:cxn>
                <a:cxn ang="f42">
                  <a:pos x="f59" y="f61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62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</a:cxnLst>
              <a:rect l="f55" t="f58" r="f56" b="f57"/>
              <a:pathLst>
                <a:path w="20" h="14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5"/>
                    <a:pt x="f12" y="f5"/>
                    <a:pt x="f12" y="f5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5" y="f5"/>
                    <a:pt x="f15" y="f5"/>
                    <a:pt x="f15" y="f5"/>
                  </a:cubicBezTo>
                  <a:cubicBezTo>
                    <a:pt x="f16" y="f5"/>
                    <a:pt x="f16" y="f5"/>
                    <a:pt x="f16" y="f5"/>
                  </a:cubicBezTo>
                  <a:cubicBezTo>
                    <a:pt x="f14" y="f14"/>
                    <a:pt x="f14" y="f14"/>
                    <a:pt x="f14" y="f14"/>
                  </a:cubicBezTo>
                  <a:cubicBezTo>
                    <a:pt x="f14" y="f17"/>
                    <a:pt x="f14" y="f16"/>
                    <a:pt x="f14" y="f16"/>
                  </a:cubicBezTo>
                  <a:cubicBezTo>
                    <a:pt x="f5" y="f18"/>
                    <a:pt x="f5" y="f18"/>
                    <a:pt x="f5" y="f18"/>
                  </a:cubicBezTo>
                  <a:cubicBezTo>
                    <a:pt x="f11" y="f18"/>
                    <a:pt x="f11" y="f18"/>
                    <a:pt x="f11" y="f18"/>
                  </a:cubicBezTo>
                  <a:cubicBezTo>
                    <a:pt x="f9" y="f19"/>
                    <a:pt x="f9" y="f19"/>
                    <a:pt x="f9" y="f19"/>
                  </a:cubicBezTo>
                  <a:cubicBezTo>
                    <a:pt x="f18" y="f20"/>
                    <a:pt x="f18" y="f20"/>
                    <a:pt x="f18" y="f20"/>
                  </a:cubicBezTo>
                  <a:cubicBezTo>
                    <a:pt x="f19" y="f21"/>
                    <a:pt x="f19" y="f21"/>
                    <a:pt x="f19" y="f21"/>
                  </a:cubicBezTo>
                  <a:cubicBezTo>
                    <a:pt x="f18" y="f22"/>
                    <a:pt x="f18" y="f22"/>
                    <a:pt x="f18" y="f22"/>
                  </a:cubicBezTo>
                  <a:cubicBezTo>
                    <a:pt x="f19" y="f22"/>
                    <a:pt x="f19" y="f22"/>
                    <a:pt x="f19" y="f22"/>
                  </a:cubicBezTo>
                  <a:cubicBezTo>
                    <a:pt x="f15" y="f7"/>
                    <a:pt x="f15" y="f7"/>
                    <a:pt x="f15" y="f7"/>
                  </a:cubicBezTo>
                  <a:cubicBezTo>
                    <a:pt x="f23" y="f13"/>
                    <a:pt x="f23" y="f13"/>
                    <a:pt x="f23" y="f13"/>
                  </a:cubicBezTo>
                  <a:cubicBezTo>
                    <a:pt x="f13" y="f22"/>
                    <a:pt x="f13" y="f22"/>
                    <a:pt x="f13" y="f22"/>
                  </a:cubicBezTo>
                  <a:cubicBezTo>
                    <a:pt x="f13" y="f22"/>
                    <a:pt x="f12" y="f22"/>
                    <a:pt x="f24" y="f22"/>
                  </a:cubicBezTo>
                  <a:cubicBezTo>
                    <a:pt x="f10" y="f22"/>
                    <a:pt x="f24" y="f15"/>
                    <a:pt x="f24" y="f15"/>
                  </a:cubicBezTo>
                  <a:cubicBezTo>
                    <a:pt x="f25" y="f19"/>
                    <a:pt x="f25" y="f19"/>
                    <a:pt x="f25" y="f19"/>
                  </a:cubicBezTo>
                  <a:cubicBezTo>
                    <a:pt x="f6" y="f9"/>
                    <a:pt x="f6" y="f9"/>
                    <a:pt x="f6" y="f9"/>
                  </a:cubicBezTo>
                  <a:cubicBezTo>
                    <a:pt x="f8" y="f9"/>
                    <a:pt x="f8" y="f9"/>
                    <a:pt x="f8" y="f9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3" name="Freeform 300">
              <a:extLst>
                <a:ext uri="{FF2B5EF4-FFF2-40B4-BE49-F238E27FC236}">
                  <a16:creationId xmlns:a16="http://schemas.microsoft.com/office/drawing/2014/main" id="{7582D7E2-CA4C-99CF-23F9-400446ACD2EA}"/>
                </a:ext>
              </a:extLst>
            </p:cNvPr>
            <p:cNvSpPr/>
            <p:nvPr/>
          </p:nvSpPr>
          <p:spPr>
            <a:xfrm>
              <a:off x="6277692" y="2546018"/>
              <a:ext cx="122529" cy="996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78"/>
                <a:gd name="f8" fmla="val 54"/>
                <a:gd name="f9" fmla="val 66"/>
                <a:gd name="f10" fmla="val 84"/>
                <a:gd name="f11" fmla="val 42"/>
                <a:gd name="f12" fmla="val 30"/>
                <a:gd name="f13" fmla="val 6"/>
                <a:gd name="f14" fmla="val 72"/>
                <a:gd name="f15" fmla="val 36"/>
                <a:gd name="f16" fmla="val 18"/>
                <a:gd name="f17" fmla="val 12"/>
                <a:gd name="f18" fmla="val 48"/>
                <a:gd name="f19" fmla="val 60"/>
                <a:gd name="f20" fmla="+- 0 0 -90"/>
                <a:gd name="f21" fmla="*/ f3 1 90"/>
                <a:gd name="f22" fmla="*/ f4 1 78"/>
                <a:gd name="f23" fmla="val f5"/>
                <a:gd name="f24" fmla="val f6"/>
                <a:gd name="f25" fmla="val f7"/>
                <a:gd name="f26" fmla="*/ f20 f0 1"/>
                <a:gd name="f27" fmla="+- f25 0 f23"/>
                <a:gd name="f28" fmla="+- f24 0 f23"/>
                <a:gd name="f29" fmla="*/ f26 1 f2"/>
                <a:gd name="f30" fmla="*/ f28 1 90"/>
                <a:gd name="f31" fmla="*/ f27 1 78"/>
                <a:gd name="f32" fmla="*/ 2147483646 f28 1"/>
                <a:gd name="f33" fmla="*/ 2147483646 f27 1"/>
                <a:gd name="f34" fmla="*/ 0 f27 1"/>
                <a:gd name="f35" fmla="*/ 0 f28 1"/>
                <a:gd name="f36" fmla="+- f29 0 f1"/>
                <a:gd name="f37" fmla="*/ f32 1 90"/>
                <a:gd name="f38" fmla="*/ f33 1 78"/>
                <a:gd name="f39" fmla="*/ f34 1 78"/>
                <a:gd name="f40" fmla="*/ f35 1 90"/>
                <a:gd name="f41" fmla="*/ 0 1 f30"/>
                <a:gd name="f42" fmla="*/ f24 1 f30"/>
                <a:gd name="f43" fmla="*/ 0 1 f31"/>
                <a:gd name="f44" fmla="*/ f25 1 f31"/>
                <a:gd name="f45" fmla="*/ f37 1 f30"/>
                <a:gd name="f46" fmla="*/ f38 1 f31"/>
                <a:gd name="f47" fmla="*/ f39 1 f31"/>
                <a:gd name="f48" fmla="*/ f40 1 f30"/>
                <a:gd name="f49" fmla="*/ f41 f21 1"/>
                <a:gd name="f50" fmla="*/ f42 f21 1"/>
                <a:gd name="f51" fmla="*/ f44 f22 1"/>
                <a:gd name="f52" fmla="*/ f43 f22 1"/>
                <a:gd name="f53" fmla="*/ f45 f21 1"/>
                <a:gd name="f54" fmla="*/ f46 f22 1"/>
                <a:gd name="f55" fmla="*/ f47 f22 1"/>
                <a:gd name="f56" fmla="*/ f48 f2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5"/>
                </a:cxn>
                <a:cxn ang="f36">
                  <a:pos x="f53" y="f55"/>
                </a:cxn>
                <a:cxn ang="f36">
                  <a:pos x="f53" y="f55"/>
                </a:cxn>
                <a:cxn ang="f36">
                  <a:pos x="f56" y="f54"/>
                </a:cxn>
                <a:cxn ang="f36">
                  <a:pos x="f56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  <a:cxn ang="f36">
                  <a:pos x="f53" y="f54"/>
                </a:cxn>
              </a:cxnLst>
              <a:rect l="f49" t="f52" r="f50" b="f51"/>
              <a:pathLst>
                <a:path w="90" h="78">
                  <a:moveTo>
                    <a:pt x="f8" y="f9"/>
                  </a:moveTo>
                  <a:lnTo>
                    <a:pt x="f7" y="f7"/>
                  </a:lnTo>
                  <a:lnTo>
                    <a:pt x="f10" y="f11"/>
                  </a:lnTo>
                  <a:lnTo>
                    <a:pt x="f10" y="f12"/>
                  </a:lnTo>
                  <a:lnTo>
                    <a:pt x="f6" y="f13"/>
                  </a:lnTo>
                  <a:lnTo>
                    <a:pt x="f10" y="f5"/>
                  </a:lnTo>
                  <a:lnTo>
                    <a:pt x="f14" y="f5"/>
                  </a:lnTo>
                  <a:lnTo>
                    <a:pt x="f15" y="f5"/>
                  </a:lnTo>
                  <a:lnTo>
                    <a:pt x="f5" y="f16"/>
                  </a:lnTo>
                  <a:lnTo>
                    <a:pt x="f5" y="f12"/>
                  </a:lnTo>
                  <a:lnTo>
                    <a:pt x="f13" y="f11"/>
                  </a:lnTo>
                  <a:lnTo>
                    <a:pt x="f17" y="f18"/>
                  </a:lnTo>
                  <a:lnTo>
                    <a:pt x="f16" y="f8"/>
                  </a:lnTo>
                  <a:lnTo>
                    <a:pt x="f17" y="f19"/>
                  </a:lnTo>
                  <a:lnTo>
                    <a:pt x="f15" y="f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4" name="Freeform 301">
              <a:extLst>
                <a:ext uri="{FF2B5EF4-FFF2-40B4-BE49-F238E27FC236}">
                  <a16:creationId xmlns:a16="http://schemas.microsoft.com/office/drawing/2014/main" id="{93A9FD3B-0346-1171-2DFF-B18BF0B8557A}"/>
                </a:ext>
              </a:extLst>
            </p:cNvPr>
            <p:cNvSpPr/>
            <p:nvPr/>
          </p:nvSpPr>
          <p:spPr>
            <a:xfrm>
              <a:off x="6272790" y="2700149"/>
              <a:ext cx="240158" cy="20706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"/>
                <a:gd name="f7" fmla="val 27"/>
                <a:gd name="f8" fmla="val 14"/>
                <a:gd name="f9" fmla="val 11"/>
                <a:gd name="f10" fmla="val 23"/>
                <a:gd name="f11" fmla="val 3"/>
                <a:gd name="f12" fmla="val 20"/>
                <a:gd name="f13" fmla="val 2"/>
                <a:gd name="f14" fmla="val 17"/>
                <a:gd name="f15" fmla="val 12"/>
                <a:gd name="f16" fmla="val 10"/>
                <a:gd name="f17" fmla="val 6"/>
                <a:gd name="f18" fmla="val 8"/>
                <a:gd name="f19" fmla="val 9"/>
                <a:gd name="f20" fmla="val 7"/>
                <a:gd name="f21" fmla="val 5"/>
                <a:gd name="f22" fmla="val 1"/>
                <a:gd name="f23" fmla="val 13"/>
                <a:gd name="f24" fmla="val 18"/>
                <a:gd name="f25" fmla="val 25"/>
                <a:gd name="f26" fmla="val 24"/>
                <a:gd name="f27" fmla="val 26"/>
                <a:gd name="f28" fmla="val 21"/>
                <a:gd name="f29" fmla="val 29"/>
                <a:gd name="f30" fmla="val 16"/>
                <a:gd name="f31" fmla="+- 0 0 -90"/>
                <a:gd name="f32" fmla="*/ f3 1 30"/>
                <a:gd name="f33" fmla="*/ f4 1 27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30"/>
                <a:gd name="f42" fmla="*/ f38 1 27"/>
                <a:gd name="f43" fmla="*/ 2147483646 f39 1"/>
                <a:gd name="f44" fmla="*/ 2147483646 f38 1"/>
                <a:gd name="f45" fmla="*/ 0 f38 1"/>
                <a:gd name="f46" fmla="*/ 0 f39 1"/>
                <a:gd name="f47" fmla="+- f40 0 f1"/>
                <a:gd name="f48" fmla="*/ f43 1 30"/>
                <a:gd name="f49" fmla="*/ f44 1 27"/>
                <a:gd name="f50" fmla="*/ f45 1 27"/>
                <a:gd name="f51" fmla="*/ f46 1 30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2"/>
                <a:gd name="f59" fmla="*/ f51 1 f41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3 1"/>
                <a:gd name="f67" fmla="*/ f59 f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6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7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</a:cxnLst>
              <a:rect l="f60" t="f63" r="f61" b="f62"/>
              <a:pathLst>
                <a:path w="30" h="27">
                  <a:moveTo>
                    <a:pt x="f6" y="f8"/>
                  </a:moveTo>
                  <a:cubicBezTo>
                    <a:pt x="f7" y="f9"/>
                    <a:pt x="f7" y="f9"/>
                    <a:pt x="f7" y="f9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5"/>
                    <a:pt x="f14" y="f5"/>
                    <a:pt x="f14" y="f5"/>
                  </a:cubicBezTo>
                  <a:cubicBezTo>
                    <a:pt x="f8" y="f13"/>
                    <a:pt x="f8" y="f13"/>
                    <a:pt x="f8" y="f13"/>
                  </a:cubicBezTo>
                  <a:cubicBezTo>
                    <a:pt x="f9" y="f11"/>
                    <a:pt x="f9" y="f11"/>
                    <a:pt x="f9" y="f11"/>
                  </a:cubicBezTo>
                  <a:cubicBezTo>
                    <a:pt x="f15" y="f11"/>
                    <a:pt x="f15" y="f11"/>
                    <a:pt x="f15" y="f11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8"/>
                    <a:pt x="f18" y="f18"/>
                    <a:pt x="f18" y="f18"/>
                  </a:cubicBezTo>
                  <a:cubicBezTo>
                    <a:pt x="f18" y="f18"/>
                    <a:pt x="f19" y="f9"/>
                    <a:pt x="f18" y="f9"/>
                  </a:cubicBezTo>
                  <a:cubicBezTo>
                    <a:pt x="f20" y="f9"/>
                    <a:pt x="f21" y="f9"/>
                    <a:pt x="f21" y="f9"/>
                  </a:cubicBezTo>
                  <a:cubicBezTo>
                    <a:pt x="f11" y="f15"/>
                    <a:pt x="f11" y="f15"/>
                    <a:pt x="f11" y="f15"/>
                  </a:cubicBezTo>
                  <a:cubicBezTo>
                    <a:pt x="f22" y="f23"/>
                    <a:pt x="f22" y="f23"/>
                    <a:pt x="f22" y="f23"/>
                  </a:cubicBezTo>
                  <a:cubicBezTo>
                    <a:pt x="f22" y="f8"/>
                    <a:pt x="f22" y="f8"/>
                    <a:pt x="f22" y="f8"/>
                  </a:cubicBezTo>
                  <a:cubicBezTo>
                    <a:pt x="f13" y="f24"/>
                    <a:pt x="f13" y="f24"/>
                    <a:pt x="f13" y="f24"/>
                  </a:cubicBezTo>
                  <a:cubicBezTo>
                    <a:pt x="f5" y="f12"/>
                    <a:pt x="f5" y="f12"/>
                    <a:pt x="f5" y="f12"/>
                  </a:cubicBezTo>
                  <a:cubicBezTo>
                    <a:pt x="f22" y="f10"/>
                    <a:pt x="f22" y="f10"/>
                    <a:pt x="f22" y="f10"/>
                  </a:cubicBezTo>
                  <a:cubicBezTo>
                    <a:pt x="f22" y="f25"/>
                    <a:pt x="f22" y="f25"/>
                    <a:pt x="f22" y="f25"/>
                  </a:cubicBezTo>
                  <a:cubicBezTo>
                    <a:pt x="f11" y="f26"/>
                    <a:pt x="f11" y="f26"/>
                    <a:pt x="f11" y="f26"/>
                  </a:cubicBezTo>
                  <a:cubicBezTo>
                    <a:pt x="f20" y="f26"/>
                    <a:pt x="f20" y="f26"/>
                    <a:pt x="f20" y="f26"/>
                  </a:cubicBezTo>
                  <a:cubicBezTo>
                    <a:pt x="f23" y="f27"/>
                    <a:pt x="f23" y="f27"/>
                    <a:pt x="f23" y="f27"/>
                  </a:cubicBezTo>
                  <a:cubicBezTo>
                    <a:pt x="f12" y="f27"/>
                    <a:pt x="f12" y="f27"/>
                    <a:pt x="f12" y="f27"/>
                  </a:cubicBezTo>
                  <a:cubicBezTo>
                    <a:pt x="f26" y="f7"/>
                    <a:pt x="f26" y="f7"/>
                    <a:pt x="f26" y="f7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7" y="f28"/>
                    <a:pt x="f7" y="f28"/>
                    <a:pt x="f7" y="f28"/>
                  </a:cubicBezTo>
                  <a:cubicBezTo>
                    <a:pt x="f27" y="f14"/>
                    <a:pt x="f27" y="f14"/>
                    <a:pt x="f27" y="f14"/>
                  </a:cubicBezTo>
                  <a:cubicBezTo>
                    <a:pt x="f29" y="f30"/>
                    <a:pt x="f29" y="f30"/>
                    <a:pt x="f29" y="f30"/>
                  </a:cubicBez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5" name="Freeform 302">
              <a:extLst>
                <a:ext uri="{FF2B5EF4-FFF2-40B4-BE49-F238E27FC236}">
                  <a16:creationId xmlns:a16="http://schemas.microsoft.com/office/drawing/2014/main" id="{17526534-CD63-AE0B-B9DB-148C5C2ACA69}"/>
                </a:ext>
              </a:extLst>
            </p:cNvPr>
            <p:cNvSpPr/>
            <p:nvPr/>
          </p:nvSpPr>
          <p:spPr>
            <a:xfrm>
              <a:off x="6213985" y="2616079"/>
              <a:ext cx="196047" cy="10586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14"/>
                <a:gd name="f8" fmla="val 8"/>
                <a:gd name="f9" fmla="val 10"/>
                <a:gd name="f10" fmla="val 12"/>
                <a:gd name="f11" fmla="val 11"/>
                <a:gd name="f12" fmla="val 16"/>
                <a:gd name="f13" fmla="val 18"/>
                <a:gd name="f14" fmla="val 21"/>
                <a:gd name="f15" fmla="val 13"/>
                <a:gd name="f16" fmla="val 23"/>
                <a:gd name="f17" fmla="val 5"/>
                <a:gd name="f18" fmla="val 4"/>
                <a:gd name="f19" fmla="val 17"/>
                <a:gd name="f20" fmla="val 2"/>
                <a:gd name="f21" fmla="val 1"/>
                <a:gd name="f22" fmla="val 9"/>
                <a:gd name="f23" fmla="val 6"/>
                <a:gd name="f24" fmla="val 3"/>
                <a:gd name="f25" fmla="val 7"/>
                <a:gd name="f26" fmla="+- 0 0 -90"/>
                <a:gd name="f27" fmla="*/ f3 1 24"/>
                <a:gd name="f28" fmla="*/ f4 1 14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24"/>
                <a:gd name="f37" fmla="*/ f33 1 14"/>
                <a:gd name="f38" fmla="*/ 2147483646 f34 1"/>
                <a:gd name="f39" fmla="*/ 2147483646 f33 1"/>
                <a:gd name="f40" fmla="*/ 0 f33 1"/>
                <a:gd name="f41" fmla="*/ 0 f34 1"/>
                <a:gd name="f42" fmla="+- f35 0 f1"/>
                <a:gd name="f43" fmla="*/ f38 1 24"/>
                <a:gd name="f44" fmla="*/ f39 1 14"/>
                <a:gd name="f45" fmla="*/ f40 1 14"/>
                <a:gd name="f46" fmla="*/ f41 1 24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7"/>
                <a:gd name="f54" fmla="*/ f46 1 f36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8 1"/>
                <a:gd name="f62" fmla="*/ f54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1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62" y="f60"/>
                </a:cxn>
                <a:cxn ang="f42">
                  <a:pos x="f59" y="f60"/>
                </a:cxn>
                <a:cxn ang="f42">
                  <a:pos x="f59" y="f60"/>
                </a:cxn>
              </a:cxnLst>
              <a:rect l="f55" t="f58" r="f56" b="f57"/>
              <a:pathLst>
                <a:path w="24" h="14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7" y="f9"/>
                    <a:pt x="f7" y="f9"/>
                    <a:pt x="f7" y="f9"/>
                  </a:cubicBezTo>
                  <a:cubicBezTo>
                    <a:pt x="f12" y="f10"/>
                    <a:pt x="f12" y="f10"/>
                    <a:pt x="f12" y="f10"/>
                  </a:cubicBezTo>
                  <a:cubicBezTo>
                    <a:pt x="f13" y="f7"/>
                    <a:pt x="f13" y="f7"/>
                    <a:pt x="f13" y="f7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6" y="f11"/>
                    <a:pt x="f6" y="f11"/>
                    <a:pt x="f6" y="f11"/>
                  </a:cubicBezTo>
                  <a:cubicBezTo>
                    <a:pt x="f16" y="f9"/>
                    <a:pt x="f16" y="f9"/>
                    <a:pt x="f16" y="f9"/>
                  </a:cubicBezTo>
                  <a:cubicBezTo>
                    <a:pt x="f14" y="f17"/>
                    <a:pt x="f14" y="f17"/>
                    <a:pt x="f14" y="f17"/>
                  </a:cubicBezTo>
                  <a:cubicBezTo>
                    <a:pt x="f14" y="f18"/>
                    <a:pt x="f14" y="f18"/>
                    <a:pt x="f14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7" y="f5"/>
                    <a:pt x="f7" y="f5"/>
                    <a:pt x="f7" y="f5"/>
                  </a:cubicBezTo>
                  <a:cubicBezTo>
                    <a:pt x="f9" y="f21"/>
                    <a:pt x="f9" y="f21"/>
                    <a:pt x="f9" y="f21"/>
                  </a:cubicBezTo>
                  <a:cubicBezTo>
                    <a:pt x="f22" y="f17"/>
                    <a:pt x="f22" y="f17"/>
                    <a:pt x="f22" y="f17"/>
                  </a:cubicBezTo>
                  <a:cubicBezTo>
                    <a:pt x="f8" y="f23"/>
                    <a:pt x="f8" y="f23"/>
                    <a:pt x="f8" y="f23"/>
                  </a:cubicBezTo>
                  <a:cubicBezTo>
                    <a:pt x="f17" y="f24"/>
                    <a:pt x="f17" y="f24"/>
                    <a:pt x="f17" y="f24"/>
                  </a:cubicBezTo>
                  <a:cubicBezTo>
                    <a:pt x="f24" y="f24"/>
                    <a:pt x="f24" y="f24"/>
                    <a:pt x="f24" y="f24"/>
                  </a:cubicBezTo>
                  <a:cubicBezTo>
                    <a:pt x="f24" y="f24"/>
                    <a:pt x="f21" y="f25"/>
                    <a:pt x="f21" y="f8"/>
                  </a:cubicBezTo>
                  <a:cubicBezTo>
                    <a:pt x="f21" y="f8"/>
                    <a:pt x="f5" y="f9"/>
                    <a:pt x="f5" y="f11"/>
                  </a:cubicBezTo>
                  <a:cubicBezTo>
                    <a:pt x="f18" y="f9"/>
                    <a:pt x="f18" y="f9"/>
                    <a:pt x="f18" y="f9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6" name="Freeform 303">
              <a:extLst>
                <a:ext uri="{FF2B5EF4-FFF2-40B4-BE49-F238E27FC236}">
                  <a16:creationId xmlns:a16="http://schemas.microsoft.com/office/drawing/2014/main" id="{6D3A85EE-5514-4D95-0C15-68696A9AB888}"/>
                </a:ext>
              </a:extLst>
            </p:cNvPr>
            <p:cNvSpPr/>
            <p:nvPr/>
          </p:nvSpPr>
          <p:spPr>
            <a:xfrm>
              <a:off x="5286043" y="4039068"/>
              <a:ext cx="194410" cy="13856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18"/>
                <a:gd name="f8" fmla="val 9"/>
                <a:gd name="f9" fmla="val 10"/>
                <a:gd name="f10" fmla="val 13"/>
                <a:gd name="f11" fmla="val 15"/>
                <a:gd name="f12" fmla="val 16"/>
                <a:gd name="f13" fmla="val 14"/>
                <a:gd name="f14" fmla="val 19"/>
                <a:gd name="f15" fmla="val 20"/>
                <a:gd name="f16" fmla="val 21"/>
                <a:gd name="f17" fmla="val 17"/>
                <a:gd name="f18" fmla="val 22"/>
                <a:gd name="f19" fmla="val 23"/>
                <a:gd name="f20" fmla="val 12"/>
                <a:gd name="f21" fmla="val 8"/>
                <a:gd name="f22" fmla="val 3"/>
                <a:gd name="f23" fmla="val 1"/>
                <a:gd name="f24" fmla="val 2"/>
                <a:gd name="f25" fmla="val 7"/>
                <a:gd name="f26" fmla="val 5"/>
                <a:gd name="f27" fmla="val 4"/>
                <a:gd name="f28" fmla="val 6"/>
                <a:gd name="f29" fmla="+- 0 0 -90"/>
                <a:gd name="f30" fmla="*/ f3 1 24"/>
                <a:gd name="f31" fmla="*/ f4 1 18"/>
                <a:gd name="f32" fmla="val f5"/>
                <a:gd name="f33" fmla="val f6"/>
                <a:gd name="f34" fmla="val f7"/>
                <a:gd name="f35" fmla="*/ f29 f0 1"/>
                <a:gd name="f36" fmla="+- f34 0 f32"/>
                <a:gd name="f37" fmla="+- f33 0 f32"/>
                <a:gd name="f38" fmla="*/ f35 1 f2"/>
                <a:gd name="f39" fmla="*/ f37 1 24"/>
                <a:gd name="f40" fmla="*/ f36 1 18"/>
                <a:gd name="f41" fmla="*/ 2147483646 f37 1"/>
                <a:gd name="f42" fmla="*/ 2147483646 f36 1"/>
                <a:gd name="f43" fmla="*/ 0 f36 1"/>
                <a:gd name="f44" fmla="*/ 0 f37 1"/>
                <a:gd name="f45" fmla="+- f38 0 f1"/>
                <a:gd name="f46" fmla="*/ f41 1 24"/>
                <a:gd name="f47" fmla="*/ f42 1 18"/>
                <a:gd name="f48" fmla="*/ f43 1 18"/>
                <a:gd name="f49" fmla="*/ f44 1 24"/>
                <a:gd name="f50" fmla="*/ 0 1 f39"/>
                <a:gd name="f51" fmla="*/ f33 1 f39"/>
                <a:gd name="f52" fmla="*/ 0 1 f40"/>
                <a:gd name="f53" fmla="*/ f34 1 f40"/>
                <a:gd name="f54" fmla="*/ f46 1 f39"/>
                <a:gd name="f55" fmla="*/ f47 1 f40"/>
                <a:gd name="f56" fmla="*/ f48 1 f40"/>
                <a:gd name="f57" fmla="*/ f49 1 f39"/>
                <a:gd name="f58" fmla="*/ f50 f30 1"/>
                <a:gd name="f59" fmla="*/ f51 f30 1"/>
                <a:gd name="f60" fmla="*/ f53 f31 1"/>
                <a:gd name="f61" fmla="*/ f52 f31 1"/>
                <a:gd name="f62" fmla="*/ f54 f30 1"/>
                <a:gd name="f63" fmla="*/ f55 f31 1"/>
                <a:gd name="f64" fmla="*/ f56 f31 1"/>
                <a:gd name="f65" fmla="*/ f57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4"/>
                </a:cxn>
                <a:cxn ang="f45">
                  <a:pos x="f62" y="f64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5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</a:cxnLst>
              <a:rect l="f58" t="f61" r="f59" b="f60"/>
              <a:pathLst>
                <a:path w="24" h="18">
                  <a:moveTo>
                    <a:pt x="f8" y="f9"/>
                  </a:moveTo>
                  <a:cubicBezTo>
                    <a:pt x="f10" y="f9"/>
                    <a:pt x="f10" y="f9"/>
                    <a:pt x="f10" y="f9"/>
                  </a:cubicBezTo>
                  <a:cubicBezTo>
                    <a:pt x="f11" y="f10"/>
                    <a:pt x="f11" y="f10"/>
                    <a:pt x="f11" y="f10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7" y="f11"/>
                    <a:pt x="f7" y="f11"/>
                    <a:pt x="f7" y="f11"/>
                  </a:cubicBezTo>
                  <a:cubicBezTo>
                    <a:pt x="f7" y="f11"/>
                    <a:pt x="f14" y="f7"/>
                    <a:pt x="f15" y="f7"/>
                  </a:cubicBezTo>
                  <a:cubicBezTo>
                    <a:pt x="f15" y="f7"/>
                    <a:pt x="f16" y="f17"/>
                    <a:pt x="f18" y="f17"/>
                  </a:cubicBezTo>
                  <a:cubicBezTo>
                    <a:pt x="f19" y="f17"/>
                    <a:pt x="f6" y="f12"/>
                    <a:pt x="f6" y="f12"/>
                  </a:cubicBezTo>
                  <a:cubicBezTo>
                    <a:pt x="f6" y="f20"/>
                    <a:pt x="f6" y="f20"/>
                    <a:pt x="f6" y="f20"/>
                  </a:cubicBezTo>
                  <a:cubicBezTo>
                    <a:pt x="f6" y="f21"/>
                    <a:pt x="f6" y="f21"/>
                    <a:pt x="f6" y="f21"/>
                  </a:cubicBezTo>
                  <a:cubicBezTo>
                    <a:pt x="f19" y="f21"/>
                    <a:pt x="f19" y="f21"/>
                    <a:pt x="f19" y="f21"/>
                  </a:cubicBezTo>
                  <a:cubicBezTo>
                    <a:pt x="f16" y="f22"/>
                    <a:pt x="f16" y="f22"/>
                    <a:pt x="f16" y="f22"/>
                  </a:cubicBezTo>
                  <a:cubicBezTo>
                    <a:pt x="f16" y="f22"/>
                    <a:pt x="f16" y="f23"/>
                    <a:pt x="f15" y="f23"/>
                  </a:cubicBezTo>
                  <a:cubicBezTo>
                    <a:pt x="f15" y="f23"/>
                    <a:pt x="f12" y="f24"/>
                    <a:pt x="f12" y="f24"/>
                  </a:cubicBezTo>
                  <a:cubicBezTo>
                    <a:pt x="f20" y="f24"/>
                    <a:pt x="f20" y="f24"/>
                    <a:pt x="f20" y="f24"/>
                  </a:cubicBezTo>
                  <a:cubicBezTo>
                    <a:pt x="f20" y="f23"/>
                    <a:pt x="f20" y="f23"/>
                    <a:pt x="f20" y="f23"/>
                  </a:cubicBezTo>
                  <a:cubicBezTo>
                    <a:pt x="f25" y="f5"/>
                    <a:pt x="f25" y="f5"/>
                    <a:pt x="f25" y="f5"/>
                  </a:cubicBezTo>
                  <a:cubicBezTo>
                    <a:pt x="f26" y="f5"/>
                    <a:pt x="f26" y="f5"/>
                    <a:pt x="f26" y="f5"/>
                  </a:cubicBezTo>
                  <a:cubicBezTo>
                    <a:pt x="f26" y="f23"/>
                    <a:pt x="f26" y="f23"/>
                    <a:pt x="f26" y="f23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22" y="f27"/>
                    <a:pt x="f22" y="f27"/>
                    <a:pt x="f22" y="f27"/>
                  </a:cubicBezTo>
                  <a:cubicBezTo>
                    <a:pt x="f5" y="f28"/>
                    <a:pt x="f5" y="f28"/>
                    <a:pt x="f5" y="f28"/>
                  </a:cubicBezTo>
                  <a:cubicBezTo>
                    <a:pt x="f23" y="f28"/>
                    <a:pt x="f23" y="f28"/>
                    <a:pt x="f23" y="f28"/>
                  </a:cubicBezTo>
                  <a:cubicBezTo>
                    <a:pt x="f28" y="f10"/>
                    <a:pt x="f28" y="f10"/>
                    <a:pt x="f28" y="f10"/>
                  </a:cubicBezTo>
                  <a:cubicBezTo>
                    <a:pt x="f21" y="f20"/>
                    <a:pt x="f21" y="f20"/>
                    <a:pt x="f21" y="f20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7" name="Freeform 304">
              <a:extLst>
                <a:ext uri="{FF2B5EF4-FFF2-40B4-BE49-F238E27FC236}">
                  <a16:creationId xmlns:a16="http://schemas.microsoft.com/office/drawing/2014/main" id="{5296671B-C10F-22CE-5E64-D21E8C140EFB}"/>
                </a:ext>
              </a:extLst>
            </p:cNvPr>
            <p:cNvSpPr/>
            <p:nvPr/>
          </p:nvSpPr>
          <p:spPr>
            <a:xfrm>
              <a:off x="5238659" y="3939426"/>
              <a:ext cx="151936" cy="10897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14"/>
                <a:gd name="f7" fmla="val 85"/>
                <a:gd name="f8" fmla="val 54"/>
                <a:gd name="f9" fmla="val 79"/>
                <a:gd name="f10" fmla="val 66"/>
                <a:gd name="f11" fmla="val 78"/>
                <a:gd name="f12" fmla="val 108"/>
                <a:gd name="f13" fmla="val 102"/>
                <a:gd name="f14" fmla="val 61"/>
                <a:gd name="f15" fmla="val 96"/>
                <a:gd name="f16" fmla="val 43"/>
                <a:gd name="f17" fmla="val 36"/>
                <a:gd name="f18" fmla="val 84"/>
                <a:gd name="f19" fmla="val 30"/>
                <a:gd name="f20" fmla="val 72"/>
                <a:gd name="f21" fmla="val 18"/>
                <a:gd name="f22" fmla="val 42"/>
                <a:gd name="f23" fmla="val 6"/>
                <a:gd name="f24" fmla="val 12"/>
                <a:gd name="f25" fmla="val 24"/>
                <a:gd name="f26" fmla="+- 0 0 -90"/>
                <a:gd name="f27" fmla="*/ f3 1 114"/>
                <a:gd name="f28" fmla="*/ f4 1 85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114"/>
                <a:gd name="f37" fmla="*/ f33 1 85"/>
                <a:gd name="f38" fmla="*/ 2147483646 f34 1"/>
                <a:gd name="f39" fmla="*/ 2147483646 f33 1"/>
                <a:gd name="f40" fmla="*/ 0 f33 1"/>
                <a:gd name="f41" fmla="*/ 0 f34 1"/>
                <a:gd name="f42" fmla="+- f35 0 f1"/>
                <a:gd name="f43" fmla="*/ f38 1 114"/>
                <a:gd name="f44" fmla="*/ f39 1 85"/>
                <a:gd name="f45" fmla="*/ f40 1 85"/>
                <a:gd name="f46" fmla="*/ f41 1 114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7"/>
                <a:gd name="f54" fmla="*/ f46 1 f36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8 1"/>
                <a:gd name="f62" fmla="*/ f54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1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62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  <a:cxn ang="f42">
                  <a:pos x="f59" y="f60"/>
                </a:cxn>
              </a:cxnLst>
              <a:rect l="f55" t="f58" r="f56" b="f57"/>
              <a:pathLst>
                <a:path w="114" h="85">
                  <a:moveTo>
                    <a:pt x="f8" y="f9"/>
                  </a:moveTo>
                  <a:lnTo>
                    <a:pt x="f10" y="f9"/>
                  </a:lnTo>
                  <a:lnTo>
                    <a:pt x="f11" y="f9"/>
                  </a:lnTo>
                  <a:lnTo>
                    <a:pt x="f12" y="f7"/>
                  </a:lnTo>
                  <a:lnTo>
                    <a:pt x="f6" y="f7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5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5"/>
                  </a:lnTo>
                  <a:lnTo>
                    <a:pt x="f19" y="f23"/>
                  </a:lnTo>
                  <a:lnTo>
                    <a:pt x="f24" y="f23"/>
                  </a:lnTo>
                  <a:lnTo>
                    <a:pt x="f5" y="f16"/>
                  </a:lnTo>
                  <a:lnTo>
                    <a:pt x="f24" y="f7"/>
                  </a:lnTo>
                  <a:lnTo>
                    <a:pt x="f21" y="f7"/>
                  </a:lnTo>
                  <a:lnTo>
                    <a:pt x="f25" y="f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8" name="Freeform 305">
              <a:extLst>
                <a:ext uri="{FF2B5EF4-FFF2-40B4-BE49-F238E27FC236}">
                  <a16:creationId xmlns:a16="http://schemas.microsoft.com/office/drawing/2014/main" id="{021C0FFD-C4A5-A8E4-B938-E99EBE434333}"/>
                </a:ext>
              </a:extLst>
            </p:cNvPr>
            <p:cNvSpPr/>
            <p:nvPr/>
          </p:nvSpPr>
          <p:spPr>
            <a:xfrm>
              <a:off x="5246834" y="3673198"/>
              <a:ext cx="307128" cy="31293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8"/>
                <a:gd name="f7" fmla="val 41"/>
                <a:gd name="f8" fmla="val 6"/>
                <a:gd name="f9" fmla="val 35"/>
                <a:gd name="f10" fmla="val 11"/>
                <a:gd name="f11" fmla="val 13"/>
                <a:gd name="f12" fmla="val 40"/>
                <a:gd name="f13" fmla="val 15"/>
                <a:gd name="f14" fmla="val 18"/>
                <a:gd name="f15" fmla="val 20"/>
                <a:gd name="f16" fmla="val 21"/>
                <a:gd name="f17" fmla="val 39"/>
                <a:gd name="f18" fmla="val 37"/>
                <a:gd name="f19" fmla="val 36"/>
                <a:gd name="f20" fmla="val 33"/>
                <a:gd name="f21" fmla="val 7"/>
                <a:gd name="f22" fmla="val 27"/>
                <a:gd name="f23" fmla="val 3"/>
                <a:gd name="f24" fmla="val 17"/>
                <a:gd name="f25" fmla="val 16"/>
                <a:gd name="f26" fmla="val 14"/>
                <a:gd name="f27" fmla="val 5"/>
                <a:gd name="f28" fmla="val 19"/>
                <a:gd name="f29" fmla="val 1"/>
                <a:gd name="f30" fmla="val 26"/>
                <a:gd name="f31" fmla="val 4"/>
                <a:gd name="f32" fmla="+- 0 0 -90"/>
                <a:gd name="f33" fmla="*/ f3 1 38"/>
                <a:gd name="f34" fmla="*/ f4 1 41"/>
                <a:gd name="f35" fmla="val f5"/>
                <a:gd name="f36" fmla="val f6"/>
                <a:gd name="f37" fmla="val f7"/>
                <a:gd name="f38" fmla="*/ f32 f0 1"/>
                <a:gd name="f39" fmla="+- f37 0 f35"/>
                <a:gd name="f40" fmla="+- f36 0 f35"/>
                <a:gd name="f41" fmla="*/ f38 1 f2"/>
                <a:gd name="f42" fmla="*/ f40 1 38"/>
                <a:gd name="f43" fmla="*/ f39 1 41"/>
                <a:gd name="f44" fmla="*/ 2147483646 f40 1"/>
                <a:gd name="f45" fmla="*/ 2147483646 f39 1"/>
                <a:gd name="f46" fmla="*/ 0 f39 1"/>
                <a:gd name="f47" fmla="*/ 0 f40 1"/>
                <a:gd name="f48" fmla="+- f41 0 f1"/>
                <a:gd name="f49" fmla="*/ f44 1 38"/>
                <a:gd name="f50" fmla="*/ f45 1 41"/>
                <a:gd name="f51" fmla="*/ f46 1 41"/>
                <a:gd name="f52" fmla="*/ f47 1 38"/>
                <a:gd name="f53" fmla="*/ 0 1 f42"/>
                <a:gd name="f54" fmla="*/ f36 1 f42"/>
                <a:gd name="f55" fmla="*/ 0 1 f43"/>
                <a:gd name="f56" fmla="*/ f37 1 f43"/>
                <a:gd name="f57" fmla="*/ f49 1 f42"/>
                <a:gd name="f58" fmla="*/ f50 1 f43"/>
                <a:gd name="f59" fmla="*/ f51 1 f43"/>
                <a:gd name="f60" fmla="*/ f52 1 f42"/>
                <a:gd name="f61" fmla="*/ f53 f33 1"/>
                <a:gd name="f62" fmla="*/ f54 f33 1"/>
                <a:gd name="f63" fmla="*/ f56 f34 1"/>
                <a:gd name="f64" fmla="*/ f55 f34 1"/>
                <a:gd name="f65" fmla="*/ f57 f33 1"/>
                <a:gd name="f66" fmla="*/ f58 f34 1"/>
                <a:gd name="f67" fmla="*/ f59 f34 1"/>
                <a:gd name="f68" fmla="*/ f6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7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8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</a:cxnLst>
              <a:rect l="f61" t="f64" r="f62" b="f63"/>
              <a:pathLst>
                <a:path w="38" h="41">
                  <a:moveTo>
                    <a:pt x="f8" y="f9"/>
                  </a:moveTo>
                  <a:cubicBezTo>
                    <a:pt x="f10" y="f6"/>
                    <a:pt x="f10" y="f6"/>
                    <a:pt x="f10" y="f6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3" y="f7"/>
                    <a:pt x="f13" y="f7"/>
                    <a:pt x="f13" y="f7"/>
                  </a:cubicBezTo>
                  <a:cubicBezTo>
                    <a:pt x="f13" y="f7"/>
                    <a:pt x="f13" y="f7"/>
                    <a:pt x="f13" y="f7"/>
                  </a:cubicBezTo>
                  <a:cubicBezTo>
                    <a:pt x="f14" y="f6"/>
                    <a:pt x="f14" y="f6"/>
                    <a:pt x="f14" y="f6"/>
                  </a:cubicBezTo>
                  <a:cubicBezTo>
                    <a:pt x="f15" y="f12"/>
                    <a:pt x="f15" y="f12"/>
                    <a:pt x="f15" y="f12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9" y="f17"/>
                    <a:pt x="f9" y="f17"/>
                    <a:pt x="f9" y="f17"/>
                  </a:cubicBezTo>
                  <a:cubicBezTo>
                    <a:pt x="f6" y="f18"/>
                    <a:pt x="f6" y="f18"/>
                    <a:pt x="f6" y="f18"/>
                  </a:cubicBezTo>
                  <a:cubicBezTo>
                    <a:pt x="f19" y="f19"/>
                    <a:pt x="f19" y="f19"/>
                    <a:pt x="f19" y="f19"/>
                  </a:cubicBezTo>
                  <a:cubicBezTo>
                    <a:pt x="f20" y="f21"/>
                    <a:pt x="f20" y="f21"/>
                    <a:pt x="f20" y="f21"/>
                  </a:cubicBezTo>
                  <a:cubicBezTo>
                    <a:pt x="f19" y="f21"/>
                    <a:pt x="f19" y="f21"/>
                    <a:pt x="f19" y="f21"/>
                  </a:cubicBezTo>
                  <a:cubicBezTo>
                    <a:pt x="f22" y="f5"/>
                    <a:pt x="f22" y="f5"/>
                    <a:pt x="f22" y="f5"/>
                  </a:cubicBezTo>
                  <a:cubicBezTo>
                    <a:pt x="f22" y="f23"/>
                    <a:pt x="f22" y="f23"/>
                    <a:pt x="f22" y="f23"/>
                  </a:cubicBezTo>
                  <a:cubicBezTo>
                    <a:pt x="f24" y="f23"/>
                    <a:pt x="f24" y="f23"/>
                    <a:pt x="f24" y="f23"/>
                  </a:cubicBezTo>
                  <a:cubicBezTo>
                    <a:pt x="f25" y="f10"/>
                    <a:pt x="f25" y="f10"/>
                    <a:pt x="f25" y="f10"/>
                  </a:cubicBezTo>
                  <a:cubicBezTo>
                    <a:pt x="f26" y="f11"/>
                    <a:pt x="f26" y="f11"/>
                    <a:pt x="f26" y="f11"/>
                  </a:cubicBezTo>
                  <a:cubicBezTo>
                    <a:pt x="f26" y="f11"/>
                    <a:pt x="f26" y="f15"/>
                    <a:pt x="f11" y="f15"/>
                  </a:cubicBezTo>
                  <a:cubicBezTo>
                    <a:pt x="f11" y="f15"/>
                    <a:pt x="f27" y="f28"/>
                    <a:pt x="f29" y="f28"/>
                  </a:cubicBezTo>
                  <a:cubicBezTo>
                    <a:pt x="f5" y="f15"/>
                    <a:pt x="f5" y="f15"/>
                    <a:pt x="f5" y="f15"/>
                  </a:cubicBezTo>
                  <a:cubicBezTo>
                    <a:pt x="f23" y="f30"/>
                    <a:pt x="f23" y="f30"/>
                    <a:pt x="f23" y="f30"/>
                  </a:cubicBezTo>
                  <a:cubicBezTo>
                    <a:pt x="f23" y="f20"/>
                    <a:pt x="f23" y="f20"/>
                    <a:pt x="f23" y="f20"/>
                  </a:cubicBezTo>
                  <a:cubicBezTo>
                    <a:pt x="f29" y="f19"/>
                    <a:pt x="f29" y="f19"/>
                    <a:pt x="f29" y="f19"/>
                  </a:cubicBezTo>
                  <a:cubicBezTo>
                    <a:pt x="f31" y="f19"/>
                    <a:pt x="f31" y="f19"/>
                    <a:pt x="f31" y="f19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9" name="Freeform 306">
              <a:extLst>
                <a:ext uri="{FF2B5EF4-FFF2-40B4-BE49-F238E27FC236}">
                  <a16:creationId xmlns:a16="http://schemas.microsoft.com/office/drawing/2014/main" id="{AE420327-5488-D601-0A87-34CEA0CA6D44}"/>
                </a:ext>
              </a:extLst>
            </p:cNvPr>
            <p:cNvSpPr/>
            <p:nvPr/>
          </p:nvSpPr>
          <p:spPr>
            <a:xfrm>
              <a:off x="6303834" y="3542421"/>
              <a:ext cx="290797" cy="26778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6"/>
                <a:gd name="f7" fmla="val 35"/>
                <a:gd name="f8" fmla="val 5"/>
                <a:gd name="f9" fmla="val 1"/>
                <a:gd name="f10" fmla="val 7"/>
                <a:gd name="f11" fmla="val 8"/>
                <a:gd name="f12" fmla="val 2"/>
                <a:gd name="f13" fmla="val 10"/>
                <a:gd name="f14" fmla="val 3"/>
                <a:gd name="f15" fmla="val 29"/>
                <a:gd name="f16" fmla="val 34"/>
                <a:gd name="f17" fmla="val 32"/>
                <a:gd name="f18" fmla="val 30"/>
                <a:gd name="f19" fmla="val 33"/>
                <a:gd name="f20" fmla="val 23"/>
                <a:gd name="f21" fmla="val 15"/>
                <a:gd name="f22" fmla="val 24"/>
                <a:gd name="f23" fmla="val 31"/>
                <a:gd name="f24" fmla="val 12"/>
                <a:gd name="f25" fmla="val 9"/>
                <a:gd name="f26" fmla="val 28"/>
                <a:gd name="f27" fmla="val 22"/>
                <a:gd name="f28" fmla="val 19"/>
                <a:gd name="f29" fmla="val 6"/>
                <a:gd name="f30" fmla="+- 0 0 -90"/>
                <a:gd name="f31" fmla="*/ f3 1 36"/>
                <a:gd name="f32" fmla="*/ f4 1 35"/>
                <a:gd name="f33" fmla="val f5"/>
                <a:gd name="f34" fmla="val f6"/>
                <a:gd name="f35" fmla="val f7"/>
                <a:gd name="f36" fmla="*/ f30 f0 1"/>
                <a:gd name="f37" fmla="+- f35 0 f33"/>
                <a:gd name="f38" fmla="+- f34 0 f33"/>
                <a:gd name="f39" fmla="*/ f36 1 f2"/>
                <a:gd name="f40" fmla="*/ f38 1 36"/>
                <a:gd name="f41" fmla="*/ f37 1 35"/>
                <a:gd name="f42" fmla="*/ 0 f38 1"/>
                <a:gd name="f43" fmla="*/ 2147483646 f37 1"/>
                <a:gd name="f44" fmla="*/ 2147483646 f38 1"/>
                <a:gd name="f45" fmla="*/ 0 f37 1"/>
                <a:gd name="f46" fmla="+- f39 0 f1"/>
                <a:gd name="f47" fmla="*/ f42 1 36"/>
                <a:gd name="f48" fmla="*/ f43 1 35"/>
                <a:gd name="f49" fmla="*/ f44 1 36"/>
                <a:gd name="f50" fmla="*/ f45 1 35"/>
                <a:gd name="f51" fmla="*/ 0 1 f40"/>
                <a:gd name="f52" fmla="*/ f34 1 f40"/>
                <a:gd name="f53" fmla="*/ 0 1 f41"/>
                <a:gd name="f54" fmla="*/ f35 1 f41"/>
                <a:gd name="f55" fmla="*/ f47 1 f40"/>
                <a:gd name="f56" fmla="*/ f48 1 f41"/>
                <a:gd name="f57" fmla="*/ f49 1 f40"/>
                <a:gd name="f58" fmla="*/ f50 1 f41"/>
                <a:gd name="f59" fmla="*/ f51 f31 1"/>
                <a:gd name="f60" fmla="*/ f52 f31 1"/>
                <a:gd name="f61" fmla="*/ f54 f32 1"/>
                <a:gd name="f62" fmla="*/ f53 f32 1"/>
                <a:gd name="f63" fmla="*/ f55 f31 1"/>
                <a:gd name="f64" fmla="*/ f56 f32 1"/>
                <a:gd name="f65" fmla="*/ f57 f31 1"/>
                <a:gd name="f66" fmla="*/ f58 f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6">
                  <a:pos x="f63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4"/>
                </a:cxn>
                <a:cxn ang="f46">
                  <a:pos x="f65" y="f66"/>
                </a:cxn>
                <a:cxn ang="f46">
                  <a:pos x="f65" y="f66"/>
                </a:cxn>
                <a:cxn ang="f46">
                  <a:pos x="f65" y="f64"/>
                </a:cxn>
                <a:cxn ang="f46">
                  <a:pos x="f63" y="f64"/>
                </a:cxn>
              </a:cxnLst>
              <a:rect l="f59" t="f62" r="f60" b="f61"/>
              <a:pathLst>
                <a:path w="36" h="35">
                  <a:moveTo>
                    <a:pt x="f5" y="f8"/>
                  </a:moveTo>
                  <a:cubicBezTo>
                    <a:pt x="f5" y="f8"/>
                    <a:pt x="f9" y="f10"/>
                    <a:pt x="f9" y="f11"/>
                  </a:cubicBezTo>
                  <a:cubicBezTo>
                    <a:pt x="f9" y="f11"/>
                    <a:pt x="f12" y="f13"/>
                    <a:pt x="f12" y="f13"/>
                  </a:cubicBezTo>
                  <a:cubicBezTo>
                    <a:pt x="f12" y="f13"/>
                    <a:pt x="f9" y="f7"/>
                    <a:pt x="f12" y="f7"/>
                  </a:cubicBezTo>
                  <a:cubicBezTo>
                    <a:pt x="f12" y="f7"/>
                    <a:pt x="f12" y="f7"/>
                    <a:pt x="f14" y="f7"/>
                  </a:cubicBezTo>
                  <a:cubicBezTo>
                    <a:pt x="f10" y="f7"/>
                    <a:pt x="f15" y="f7"/>
                    <a:pt x="f15" y="f7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6" y="f18"/>
                    <a:pt x="f6" y="f18"/>
                    <a:pt x="f6" y="f18"/>
                  </a:cubicBezTo>
                  <a:cubicBezTo>
                    <a:pt x="f6" y="f18"/>
                    <a:pt x="f6" y="f18"/>
                    <a:pt x="f6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5" y="f21"/>
                    <a:pt x="f15" y="f21"/>
                    <a:pt x="f15" y="f21"/>
                  </a:cubicBezTo>
                  <a:cubicBezTo>
                    <a:pt x="f22" y="f11"/>
                    <a:pt x="f22" y="f11"/>
                    <a:pt x="f22" y="f11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16" y="f25"/>
                    <a:pt x="f16" y="f25"/>
                    <a:pt x="f16" y="f25"/>
                  </a:cubicBezTo>
                  <a:cubicBezTo>
                    <a:pt x="f19" y="f25"/>
                    <a:pt x="f19" y="f25"/>
                    <a:pt x="f19" y="f25"/>
                  </a:cubicBezTo>
                  <a:cubicBezTo>
                    <a:pt x="f18" y="f9"/>
                    <a:pt x="f18" y="f9"/>
                    <a:pt x="f18" y="f9"/>
                  </a:cubicBezTo>
                  <a:cubicBezTo>
                    <a:pt x="f26" y="f14"/>
                    <a:pt x="f26" y="f14"/>
                    <a:pt x="f26" y="f14"/>
                  </a:cubicBezTo>
                  <a:cubicBezTo>
                    <a:pt x="f27" y="f12"/>
                    <a:pt x="f27" y="f12"/>
                    <a:pt x="f27" y="f12"/>
                  </a:cubicBezTo>
                  <a:cubicBezTo>
                    <a:pt x="f28" y="f9"/>
                    <a:pt x="f28" y="f9"/>
                    <a:pt x="f28" y="f9"/>
                  </a:cubicBezTo>
                  <a:cubicBezTo>
                    <a:pt x="f24" y="f14"/>
                    <a:pt x="f24" y="f14"/>
                    <a:pt x="f24" y="f14"/>
                  </a:cubicBezTo>
                  <a:cubicBezTo>
                    <a:pt x="f29" y="f5"/>
                    <a:pt x="f29" y="f5"/>
                    <a:pt x="f29" y="f5"/>
                  </a:cubicBezTo>
                  <a:cubicBezTo>
                    <a:pt x="f12" y="f5"/>
                    <a:pt x="f12" y="f5"/>
                    <a:pt x="f12" y="f5"/>
                  </a:cubicBezTo>
                  <a:cubicBezTo>
                    <a:pt x="f9" y="f12"/>
                    <a:pt x="f9" y="f12"/>
                    <a:pt x="f9" y="f12"/>
                  </a:cubicBez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0" name="Freeform 307">
              <a:extLst>
                <a:ext uri="{FF2B5EF4-FFF2-40B4-BE49-F238E27FC236}">
                  <a16:creationId xmlns:a16="http://schemas.microsoft.com/office/drawing/2014/main" id="{FE6795AE-9113-98DD-C0FA-2A3C09F78615}"/>
                </a:ext>
              </a:extLst>
            </p:cNvPr>
            <p:cNvSpPr/>
            <p:nvPr/>
          </p:nvSpPr>
          <p:spPr>
            <a:xfrm>
              <a:off x="5906848" y="3495713"/>
              <a:ext cx="421492" cy="38143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2"/>
                <a:gd name="f7" fmla="val 50"/>
                <a:gd name="f8" fmla="val 4"/>
                <a:gd name="f9" fmla="val 6"/>
                <a:gd name="f10" fmla="val 3"/>
                <a:gd name="f11" fmla="val 9"/>
                <a:gd name="f12" fmla="val 2"/>
                <a:gd name="f13" fmla="val 10"/>
                <a:gd name="f14" fmla="val 12"/>
                <a:gd name="f15" fmla="val 29"/>
                <a:gd name="f16" fmla="val 34"/>
                <a:gd name="f17" fmla="val 35"/>
                <a:gd name="f18" fmla="val 17"/>
                <a:gd name="f19" fmla="val 36"/>
                <a:gd name="f20" fmla="val 19"/>
                <a:gd name="f21" fmla="val 38"/>
                <a:gd name="f22" fmla="val 23"/>
                <a:gd name="f23" fmla="val 47"/>
                <a:gd name="f24" fmla="val 49"/>
                <a:gd name="f25" fmla="val 48"/>
                <a:gd name="f26" fmla="val 51"/>
                <a:gd name="f27" fmla="val 41"/>
                <a:gd name="f28" fmla="val 16"/>
                <a:gd name="f29" fmla="val 14"/>
                <a:gd name="f30" fmla="val 13"/>
                <a:gd name="f31" fmla="val 11"/>
                <a:gd name="f32" fmla="val 8"/>
                <a:gd name="f33" fmla="val 5"/>
                <a:gd name="f34" fmla="val 45"/>
                <a:gd name="f35" fmla="val 25"/>
                <a:gd name="f36" fmla="val 7"/>
                <a:gd name="f37" fmla="val 22"/>
                <a:gd name="f38" fmla="val 20"/>
                <a:gd name="f39" fmla="+- 0 0 -90"/>
                <a:gd name="f40" fmla="*/ f3 1 52"/>
                <a:gd name="f41" fmla="*/ f4 1 50"/>
                <a:gd name="f42" fmla="val f5"/>
                <a:gd name="f43" fmla="val f6"/>
                <a:gd name="f44" fmla="val f7"/>
                <a:gd name="f45" fmla="*/ f39 f0 1"/>
                <a:gd name="f46" fmla="+- f44 0 f42"/>
                <a:gd name="f47" fmla="+- f43 0 f42"/>
                <a:gd name="f48" fmla="*/ f45 1 f2"/>
                <a:gd name="f49" fmla="*/ f47 1 52"/>
                <a:gd name="f50" fmla="*/ f46 1 50"/>
                <a:gd name="f51" fmla="*/ 2147483646 f47 1"/>
                <a:gd name="f52" fmla="*/ 2147483646 f46 1"/>
                <a:gd name="f53" fmla="*/ 0 f47 1"/>
                <a:gd name="f54" fmla="*/ 0 f46 1"/>
                <a:gd name="f55" fmla="+- f48 0 f1"/>
                <a:gd name="f56" fmla="*/ f51 1 52"/>
                <a:gd name="f57" fmla="*/ f52 1 50"/>
                <a:gd name="f58" fmla="*/ f53 1 52"/>
                <a:gd name="f59" fmla="*/ f54 1 50"/>
                <a:gd name="f60" fmla="*/ 0 1 f49"/>
                <a:gd name="f61" fmla="*/ f43 1 f49"/>
                <a:gd name="f62" fmla="*/ 0 1 f50"/>
                <a:gd name="f63" fmla="*/ f44 1 f50"/>
                <a:gd name="f64" fmla="*/ f56 1 f49"/>
                <a:gd name="f65" fmla="*/ f57 1 f50"/>
                <a:gd name="f66" fmla="*/ f58 1 f49"/>
                <a:gd name="f67" fmla="*/ f59 1 f50"/>
                <a:gd name="f68" fmla="*/ f60 f40 1"/>
                <a:gd name="f69" fmla="*/ f61 f40 1"/>
                <a:gd name="f70" fmla="*/ f63 f41 1"/>
                <a:gd name="f71" fmla="*/ f62 f41 1"/>
                <a:gd name="f72" fmla="*/ f64 f40 1"/>
                <a:gd name="f73" fmla="*/ f65 f41 1"/>
                <a:gd name="f74" fmla="*/ f66 f40 1"/>
                <a:gd name="f75" fmla="*/ f67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4" y="f73"/>
                </a:cxn>
                <a:cxn ang="f55">
                  <a:pos x="f74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5"/>
                </a:cxn>
                <a:cxn ang="f55">
                  <a:pos x="f72" y="f73"/>
                </a:cxn>
                <a:cxn ang="f55">
                  <a:pos x="f72" y="f73"/>
                </a:cxn>
              </a:cxnLst>
              <a:rect l="f68" t="f71" r="f69" b="f70"/>
              <a:pathLst>
                <a:path w="52" h="50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5" y="f14"/>
                    <a:pt x="f5" y="f14"/>
                    <a:pt x="f5" y="f14"/>
                  </a:cubicBezTo>
                  <a:cubicBezTo>
                    <a:pt x="f5" y="f15"/>
                    <a:pt x="f5" y="f15"/>
                    <a:pt x="f5" y="f15"/>
                  </a:cubicBezTo>
                  <a:cubicBezTo>
                    <a:pt x="f9" y="f16"/>
                    <a:pt x="f9" y="f16"/>
                    <a:pt x="f9" y="f16"/>
                  </a:cubicBezTo>
                  <a:cubicBezTo>
                    <a:pt x="f11" y="f17"/>
                    <a:pt x="f11" y="f17"/>
                    <a:pt x="f11" y="f17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20" y="f21"/>
                    <a:pt x="f20" y="f21"/>
                    <a:pt x="f20" y="f21"/>
                  </a:cubicBezTo>
                  <a:cubicBezTo>
                    <a:pt x="f22" y="f19"/>
                    <a:pt x="f22" y="f19"/>
                    <a:pt x="f22" y="f19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3" y="f25"/>
                    <a:pt x="f23" y="f25"/>
                    <a:pt x="f23" y="f25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5" y="f7"/>
                    <a:pt x="f25" y="f7"/>
                    <a:pt x="f25" y="f7"/>
                  </a:cubicBezTo>
                  <a:cubicBezTo>
                    <a:pt x="f25" y="f23"/>
                    <a:pt x="f25" y="f23"/>
                    <a:pt x="f25" y="f23"/>
                  </a:cubicBezTo>
                  <a:cubicBezTo>
                    <a:pt x="f26" y="f23"/>
                    <a:pt x="f26" y="f23"/>
                    <a:pt x="f26" y="f23"/>
                  </a:cubicBezTo>
                  <a:cubicBezTo>
                    <a:pt x="f6" y="f27"/>
                    <a:pt x="f6" y="f27"/>
                    <a:pt x="f6" y="f27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7" y="f27"/>
                    <a:pt x="f26" y="f28"/>
                    <a:pt x="f26" y="f28"/>
                  </a:cubicBezTo>
                  <a:cubicBezTo>
                    <a:pt x="f26" y="f28"/>
                    <a:pt x="f7" y="f29"/>
                    <a:pt x="f7" y="f29"/>
                  </a:cubicBezTo>
                  <a:cubicBezTo>
                    <a:pt x="f7" y="f30"/>
                    <a:pt x="f24" y="f31"/>
                    <a:pt x="f24" y="f31"/>
                  </a:cubicBezTo>
                  <a:cubicBezTo>
                    <a:pt x="f7" y="f32"/>
                    <a:pt x="f7" y="f32"/>
                    <a:pt x="f7" y="f32"/>
                  </a:cubicBezTo>
                  <a:cubicBezTo>
                    <a:pt x="f26" y="f9"/>
                    <a:pt x="f26" y="f9"/>
                    <a:pt x="f26" y="f9"/>
                  </a:cubicBezTo>
                  <a:cubicBezTo>
                    <a:pt x="f25" y="f33"/>
                    <a:pt x="f25" y="f33"/>
                    <a:pt x="f25" y="f33"/>
                  </a:cubicBezTo>
                  <a:cubicBezTo>
                    <a:pt x="f34" y="f10"/>
                    <a:pt x="f34" y="f10"/>
                    <a:pt x="f34" y="f10"/>
                  </a:cubicBezTo>
                  <a:cubicBezTo>
                    <a:pt x="f27" y="f12"/>
                    <a:pt x="f27" y="f12"/>
                    <a:pt x="f27" y="f12"/>
                  </a:cubicBezTo>
                  <a:cubicBezTo>
                    <a:pt x="f17" y="f8"/>
                    <a:pt x="f17" y="f8"/>
                    <a:pt x="f17" y="f8"/>
                  </a:cubicBezTo>
                  <a:cubicBezTo>
                    <a:pt x="f17" y="f32"/>
                    <a:pt x="f17" y="f32"/>
                    <a:pt x="f17" y="f32"/>
                  </a:cubicBezTo>
                  <a:cubicBezTo>
                    <a:pt x="f15" y="f13"/>
                    <a:pt x="f15" y="f13"/>
                    <a:pt x="f15" y="f13"/>
                  </a:cubicBezTo>
                  <a:cubicBezTo>
                    <a:pt x="f35" y="f36"/>
                    <a:pt x="f35" y="f36"/>
                    <a:pt x="f35" y="f36"/>
                  </a:cubicBezTo>
                  <a:cubicBezTo>
                    <a:pt x="f37" y="f33"/>
                    <a:pt x="f37" y="f33"/>
                    <a:pt x="f37" y="f33"/>
                  </a:cubicBezTo>
                  <a:cubicBezTo>
                    <a:pt x="f38" y="f10"/>
                    <a:pt x="f38" y="f10"/>
                    <a:pt x="f38" y="f10"/>
                  </a:cubicBezTo>
                  <a:cubicBezTo>
                    <a:pt x="f30" y="f12"/>
                    <a:pt x="f30" y="f12"/>
                    <a:pt x="f30" y="f12"/>
                  </a:cubicBezTo>
                  <a:cubicBezTo>
                    <a:pt x="f32" y="f5"/>
                    <a:pt x="f32" y="f5"/>
                    <a:pt x="f32" y="f5"/>
                  </a:cubicBezTo>
                  <a:cubicBezTo>
                    <a:pt x="f32" y="f12"/>
                    <a:pt x="f32" y="f12"/>
                    <a:pt x="f32" y="f12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1" name="Freeform 308">
              <a:extLst>
                <a:ext uri="{FF2B5EF4-FFF2-40B4-BE49-F238E27FC236}">
                  <a16:creationId xmlns:a16="http://schemas.microsoft.com/office/drawing/2014/main" id="{CB8F024F-B83C-BD9C-0B81-F13121D9ED12}"/>
                </a:ext>
              </a:extLst>
            </p:cNvPr>
            <p:cNvSpPr/>
            <p:nvPr/>
          </p:nvSpPr>
          <p:spPr>
            <a:xfrm>
              <a:off x="5866001" y="3382063"/>
              <a:ext cx="106189" cy="18993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8"/>
                <a:gd name="f7" fmla="val 150"/>
                <a:gd name="f8" fmla="val 18"/>
                <a:gd name="f9" fmla="val 12"/>
                <a:gd name="f10" fmla="val 30"/>
                <a:gd name="f11" fmla="val 54"/>
                <a:gd name="f12" fmla="val 90"/>
                <a:gd name="f13" fmla="val 102"/>
                <a:gd name="f14" fmla="val 108"/>
                <a:gd name="f15" fmla="val 36"/>
                <a:gd name="f16" fmla="val 120"/>
                <a:gd name="f17" fmla="val 144"/>
                <a:gd name="f18" fmla="val 42"/>
                <a:gd name="f19" fmla="val 48"/>
                <a:gd name="f20" fmla="val 126"/>
                <a:gd name="f21" fmla="val 60"/>
                <a:gd name="f22" fmla="val 84"/>
                <a:gd name="f23" fmla="val 72"/>
                <a:gd name="f24" fmla="val 66"/>
                <a:gd name="f25" fmla="val 24"/>
                <a:gd name="f26" fmla="val 6"/>
                <a:gd name="f27" fmla="+- 0 0 -90"/>
                <a:gd name="f28" fmla="*/ f3 1 78"/>
                <a:gd name="f29" fmla="*/ f4 1 150"/>
                <a:gd name="f30" fmla="val f5"/>
                <a:gd name="f31" fmla="val f6"/>
                <a:gd name="f32" fmla="val f7"/>
                <a:gd name="f33" fmla="*/ f27 f0 1"/>
                <a:gd name="f34" fmla="+- f32 0 f30"/>
                <a:gd name="f35" fmla="+- f31 0 f30"/>
                <a:gd name="f36" fmla="*/ f33 1 f2"/>
                <a:gd name="f37" fmla="*/ f35 1 78"/>
                <a:gd name="f38" fmla="*/ f34 1 150"/>
                <a:gd name="f39" fmla="*/ 2147483646 f35 1"/>
                <a:gd name="f40" fmla="*/ 2147483646 f34 1"/>
                <a:gd name="f41" fmla="*/ 0 f35 1"/>
                <a:gd name="f42" fmla="*/ 0 f34 1"/>
                <a:gd name="f43" fmla="+- f36 0 f1"/>
                <a:gd name="f44" fmla="*/ f39 1 78"/>
                <a:gd name="f45" fmla="*/ f40 1 150"/>
                <a:gd name="f46" fmla="*/ f41 1 78"/>
                <a:gd name="f47" fmla="*/ f42 1 150"/>
                <a:gd name="f48" fmla="*/ 0 1 f37"/>
                <a:gd name="f49" fmla="*/ f31 1 f37"/>
                <a:gd name="f50" fmla="*/ 0 1 f38"/>
                <a:gd name="f51" fmla="*/ f32 1 f38"/>
                <a:gd name="f52" fmla="*/ f44 1 f37"/>
                <a:gd name="f53" fmla="*/ f45 1 f38"/>
                <a:gd name="f54" fmla="*/ f46 1 f37"/>
                <a:gd name="f55" fmla="*/ f47 1 f38"/>
                <a:gd name="f56" fmla="*/ f48 f28 1"/>
                <a:gd name="f57" fmla="*/ f49 f28 1"/>
                <a:gd name="f58" fmla="*/ f51 f29 1"/>
                <a:gd name="f59" fmla="*/ f50 f29 1"/>
                <a:gd name="f60" fmla="*/ f52 f28 1"/>
                <a:gd name="f61" fmla="*/ f53 f29 1"/>
                <a:gd name="f62" fmla="*/ f54 f28 1"/>
                <a:gd name="f63" fmla="*/ f55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2" y="f61"/>
                </a:cxn>
                <a:cxn ang="f43">
                  <a:pos x="f62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3"/>
                </a:cxn>
                <a:cxn ang="f43">
                  <a:pos x="f60" y="f63"/>
                </a:cxn>
                <a:cxn ang="f43">
                  <a:pos x="f60" y="f61"/>
                </a:cxn>
                <a:cxn ang="f43">
                  <a:pos x="f60" y="f61"/>
                </a:cxn>
              </a:cxnLst>
              <a:rect l="f56" t="f59" r="f57" b="f58"/>
              <a:pathLst>
                <a:path w="78" h="150">
                  <a:moveTo>
                    <a:pt x="f8" y="f9"/>
                  </a:moveTo>
                  <a:lnTo>
                    <a:pt x="f8" y="f10"/>
                  </a:lnTo>
                  <a:lnTo>
                    <a:pt x="f8" y="f11"/>
                  </a:lnTo>
                  <a:lnTo>
                    <a:pt x="f5" y="f6"/>
                  </a:lnTo>
                  <a:lnTo>
                    <a:pt x="f5" y="f12"/>
                  </a:lnTo>
                  <a:lnTo>
                    <a:pt x="f9" y="f13"/>
                  </a:lnTo>
                  <a:lnTo>
                    <a:pt x="f8" y="f14"/>
                  </a:lnTo>
                  <a:lnTo>
                    <a:pt x="f15" y="f16"/>
                  </a:lnTo>
                  <a:lnTo>
                    <a:pt x="f15" y="f17"/>
                  </a:lnTo>
                  <a:lnTo>
                    <a:pt x="f18" y="f7"/>
                  </a:lnTo>
                  <a:lnTo>
                    <a:pt x="f19" y="f17"/>
                  </a:lnTo>
                  <a:lnTo>
                    <a:pt x="f11" y="f20"/>
                  </a:lnTo>
                  <a:lnTo>
                    <a:pt x="f6" y="f13"/>
                  </a:lnTo>
                  <a:lnTo>
                    <a:pt x="f6" y="f12"/>
                  </a:lnTo>
                  <a:lnTo>
                    <a:pt x="f21" y="f22"/>
                  </a:lnTo>
                  <a:lnTo>
                    <a:pt x="f18" y="f23"/>
                  </a:lnTo>
                  <a:lnTo>
                    <a:pt x="f24" y="f15"/>
                  </a:lnTo>
                  <a:lnTo>
                    <a:pt x="f21" y="f9"/>
                  </a:lnTo>
                  <a:lnTo>
                    <a:pt x="f15" y="f5"/>
                  </a:lnTo>
                  <a:lnTo>
                    <a:pt x="f25" y="f5"/>
                  </a:lnTo>
                  <a:lnTo>
                    <a:pt x="f25" y="f2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3" name="Freeform 310">
              <a:extLst>
                <a:ext uri="{FF2B5EF4-FFF2-40B4-BE49-F238E27FC236}">
                  <a16:creationId xmlns:a16="http://schemas.microsoft.com/office/drawing/2014/main" id="{DDB9E961-F50E-6703-287D-D79E1DE7F78B}"/>
                </a:ext>
              </a:extLst>
            </p:cNvPr>
            <p:cNvSpPr/>
            <p:nvPr/>
          </p:nvSpPr>
          <p:spPr>
            <a:xfrm>
              <a:off x="5253363" y="3649845"/>
              <a:ext cx="210750" cy="17437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"/>
                <a:gd name="f7" fmla="val 23"/>
                <a:gd name="f8" fmla="val 13"/>
                <a:gd name="f9" fmla="val 16"/>
                <a:gd name="f10" fmla="val 15"/>
                <a:gd name="f11" fmla="val 14"/>
                <a:gd name="f12" fmla="val 6"/>
                <a:gd name="f13" fmla="val 3"/>
                <a:gd name="f14" fmla="val 25"/>
                <a:gd name="f15" fmla="val 11"/>
                <a:gd name="f16" fmla="val 9"/>
                <a:gd name="f17" fmla="val 2"/>
                <a:gd name="f18" fmla="val 4"/>
                <a:gd name="f19" fmla="val 22"/>
                <a:gd name="f20" fmla="val 12"/>
                <a:gd name="f21" fmla="+- 0 0 -90"/>
                <a:gd name="f22" fmla="*/ f3 1 26"/>
                <a:gd name="f23" fmla="*/ f4 1 23"/>
                <a:gd name="f24" fmla="val f5"/>
                <a:gd name="f25" fmla="val f6"/>
                <a:gd name="f26" fmla="val f7"/>
                <a:gd name="f27" fmla="*/ f21 f0 1"/>
                <a:gd name="f28" fmla="+- f26 0 f24"/>
                <a:gd name="f29" fmla="+- f25 0 f24"/>
                <a:gd name="f30" fmla="*/ f27 1 f2"/>
                <a:gd name="f31" fmla="*/ f29 1 26"/>
                <a:gd name="f32" fmla="*/ f28 1 23"/>
                <a:gd name="f33" fmla="*/ 2147483646 f29 1"/>
                <a:gd name="f34" fmla="*/ 2147483646 f28 1"/>
                <a:gd name="f35" fmla="*/ 0 f28 1"/>
                <a:gd name="f36" fmla="*/ 0 f29 1"/>
                <a:gd name="f37" fmla="+- f30 0 f1"/>
                <a:gd name="f38" fmla="*/ f33 1 26"/>
                <a:gd name="f39" fmla="*/ f34 1 23"/>
                <a:gd name="f40" fmla="*/ f35 1 23"/>
                <a:gd name="f41" fmla="*/ f36 1 26"/>
                <a:gd name="f42" fmla="*/ 0 1 f31"/>
                <a:gd name="f43" fmla="*/ f25 1 f31"/>
                <a:gd name="f44" fmla="*/ 0 1 f32"/>
                <a:gd name="f45" fmla="*/ f26 1 f32"/>
                <a:gd name="f46" fmla="*/ f38 1 f31"/>
                <a:gd name="f47" fmla="*/ f39 1 f32"/>
                <a:gd name="f48" fmla="*/ f40 1 f32"/>
                <a:gd name="f49" fmla="*/ f41 1 f31"/>
                <a:gd name="f50" fmla="*/ f42 f22 1"/>
                <a:gd name="f51" fmla="*/ f43 f22 1"/>
                <a:gd name="f52" fmla="*/ f45 f23 1"/>
                <a:gd name="f53" fmla="*/ f44 f23 1"/>
                <a:gd name="f54" fmla="*/ f46 f22 1"/>
                <a:gd name="f55" fmla="*/ f47 f23 1"/>
                <a:gd name="f56" fmla="*/ f48 f23 1"/>
                <a:gd name="f57" fmla="*/ f49 f2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4" y="f56"/>
                </a:cxn>
                <a:cxn ang="f37">
                  <a:pos x="f54" y="f56"/>
                </a:cxn>
                <a:cxn ang="f37">
                  <a:pos x="f54" y="f55"/>
                </a:cxn>
                <a:cxn ang="f37">
                  <a:pos x="f54" y="f55"/>
                </a:cxn>
                <a:cxn ang="f37">
                  <a:pos x="f57" y="f55"/>
                </a:cxn>
                <a:cxn ang="f37">
                  <a:pos x="f54" y="f55"/>
                </a:cxn>
                <a:cxn ang="f37">
                  <a:pos x="f54" y="f55"/>
                </a:cxn>
              </a:cxnLst>
              <a:rect l="f50" t="f53" r="f51" b="f52"/>
              <a:pathLst>
                <a:path w="26" h="23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9" y="f12"/>
                    <a:pt x="f9" y="f12"/>
                    <a:pt x="f9" y="f12"/>
                  </a:cubicBezTo>
                  <a:cubicBezTo>
                    <a:pt x="f6" y="f12"/>
                    <a:pt x="f6" y="f12"/>
                    <a:pt x="f6" y="f12"/>
                  </a:cubicBezTo>
                  <a:cubicBezTo>
                    <a:pt x="f6" y="f13"/>
                    <a:pt x="f6" y="f13"/>
                    <a:pt x="f6" y="f13"/>
                  </a:cubicBezTo>
                  <a:cubicBezTo>
                    <a:pt x="f14" y="f13"/>
                    <a:pt x="f14" y="f13"/>
                    <a:pt x="f14" y="f13"/>
                  </a:cubicBezTo>
                  <a:cubicBezTo>
                    <a:pt x="f14" y="f5"/>
                    <a:pt x="f14" y="f5"/>
                    <a:pt x="f14" y="f5"/>
                  </a:cubicBezTo>
                  <a:cubicBezTo>
                    <a:pt x="f15" y="f5"/>
                    <a:pt x="f15" y="f5"/>
                    <a:pt x="f15" y="f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8"/>
                    <a:pt x="f18" y="f8"/>
                    <a:pt x="f18" y="f8"/>
                  </a:cubicBezTo>
                  <a:cubicBezTo>
                    <a:pt x="f5" y="f19"/>
                    <a:pt x="f5" y="f19"/>
                    <a:pt x="f5" y="f19"/>
                  </a:cubicBezTo>
                  <a:cubicBezTo>
                    <a:pt x="f18" y="f19"/>
                    <a:pt x="f20" y="f7"/>
                    <a:pt x="f20" y="f7"/>
                  </a:cubicBezTo>
                  <a:cubicBezTo>
                    <a:pt x="f8" y="f7"/>
                    <a:pt x="f8" y="f9"/>
                    <a:pt x="f8" y="f9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4" name="Freeform 311">
              <a:extLst>
                <a:ext uri="{FF2B5EF4-FFF2-40B4-BE49-F238E27FC236}">
                  <a16:creationId xmlns:a16="http://schemas.microsoft.com/office/drawing/2014/main" id="{2572CF7B-04B1-5B9A-3149-5DC50ABEF390}"/>
                </a:ext>
              </a:extLst>
            </p:cNvPr>
            <p:cNvSpPr/>
            <p:nvPr/>
          </p:nvSpPr>
          <p:spPr>
            <a:xfrm>
              <a:off x="5263165" y="4039068"/>
              <a:ext cx="63715" cy="467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8"/>
                <a:gd name="f7" fmla="val 36"/>
                <a:gd name="f8" fmla="val 24"/>
                <a:gd name="f9" fmla="val 6"/>
                <a:gd name="f10" fmla="val 18"/>
                <a:gd name="f11" fmla="+- 0 0 -90"/>
                <a:gd name="f12" fmla="*/ f3 1 48"/>
                <a:gd name="f13" fmla="*/ f4 1 36"/>
                <a:gd name="f14" fmla="val f5"/>
                <a:gd name="f15" fmla="val f6"/>
                <a:gd name="f16" fmla="val f7"/>
                <a:gd name="f17" fmla="*/ f11 f0 1"/>
                <a:gd name="f18" fmla="+- f16 0 f14"/>
                <a:gd name="f19" fmla="+- f15 0 f14"/>
                <a:gd name="f20" fmla="*/ f17 1 f2"/>
                <a:gd name="f21" fmla="*/ f19 1 48"/>
                <a:gd name="f22" fmla="*/ f18 1 36"/>
                <a:gd name="f23" fmla="*/ 2147483646 f19 1"/>
                <a:gd name="f24" fmla="*/ 2147483646 f18 1"/>
                <a:gd name="f25" fmla="*/ 0 f18 1"/>
                <a:gd name="f26" fmla="*/ 0 f19 1"/>
                <a:gd name="f27" fmla="+- f20 0 f1"/>
                <a:gd name="f28" fmla="*/ f23 1 48"/>
                <a:gd name="f29" fmla="*/ f24 1 36"/>
                <a:gd name="f30" fmla="*/ f25 1 36"/>
                <a:gd name="f31" fmla="*/ f26 1 48"/>
                <a:gd name="f32" fmla="*/ 0 1 f21"/>
                <a:gd name="f33" fmla="*/ f15 1 f21"/>
                <a:gd name="f34" fmla="*/ 0 1 f22"/>
                <a:gd name="f35" fmla="*/ f16 1 f22"/>
                <a:gd name="f36" fmla="*/ f28 1 f21"/>
                <a:gd name="f37" fmla="*/ f29 1 f22"/>
                <a:gd name="f38" fmla="*/ f30 1 f22"/>
                <a:gd name="f39" fmla="*/ f31 1 f21"/>
                <a:gd name="f40" fmla="*/ f32 f12 1"/>
                <a:gd name="f41" fmla="*/ f33 f12 1"/>
                <a:gd name="f42" fmla="*/ f35 f13 1"/>
                <a:gd name="f43" fmla="*/ f34 f13 1"/>
                <a:gd name="f44" fmla="*/ f36 f12 1"/>
                <a:gd name="f45" fmla="*/ f37 f13 1"/>
                <a:gd name="f46" fmla="*/ f38 f13 1"/>
                <a:gd name="f47" fmla="*/ f3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7">
                  <a:pos x="f44" y="f45"/>
                </a:cxn>
                <a:cxn ang="f27">
                  <a:pos x="f44" y="f45"/>
                </a:cxn>
                <a:cxn ang="f27">
                  <a:pos x="f44" y="f46"/>
                </a:cxn>
                <a:cxn ang="f27">
                  <a:pos x="f44" y="f46"/>
                </a:cxn>
                <a:cxn ang="f27">
                  <a:pos x="f44" y="f45"/>
                </a:cxn>
                <a:cxn ang="f27">
                  <a:pos x="f47" y="f45"/>
                </a:cxn>
                <a:cxn ang="f27">
                  <a:pos x="f44" y="f45"/>
                </a:cxn>
                <a:cxn ang="f27">
                  <a:pos x="f44" y="f45"/>
                </a:cxn>
                <a:cxn ang="f27">
                  <a:pos x="f44" y="f45"/>
                </a:cxn>
              </a:cxnLst>
              <a:rect l="f40" t="f43" r="f41" b="f42"/>
              <a:pathLst>
                <a:path w="48" h="36">
                  <a:moveTo>
                    <a:pt x="f6" y="f8"/>
                  </a:moveTo>
                  <a:lnTo>
                    <a:pt x="f6" y="f9"/>
                  </a:lnTo>
                  <a:lnTo>
                    <a:pt x="f6" y="f5"/>
                  </a:lnTo>
                  <a:lnTo>
                    <a:pt x="f7" y="f5"/>
                  </a:lnTo>
                  <a:lnTo>
                    <a:pt x="f9" y="f9"/>
                  </a:lnTo>
                  <a:lnTo>
                    <a:pt x="f5" y="f9"/>
                  </a:lnTo>
                  <a:lnTo>
                    <a:pt x="f10" y="f7"/>
                  </a:lnTo>
                  <a:lnTo>
                    <a:pt x="f7" y="f8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5" name="Freeform 312">
              <a:extLst>
                <a:ext uri="{FF2B5EF4-FFF2-40B4-BE49-F238E27FC236}">
                  <a16:creationId xmlns:a16="http://schemas.microsoft.com/office/drawing/2014/main" id="{4718826E-887D-063A-6167-42E884C8483D}"/>
                </a:ext>
              </a:extLst>
            </p:cNvPr>
            <p:cNvSpPr/>
            <p:nvPr/>
          </p:nvSpPr>
          <p:spPr>
            <a:xfrm>
              <a:off x="6248431" y="3769062"/>
              <a:ext cx="418228" cy="48885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2"/>
                <a:gd name="f7" fmla="val 64"/>
                <a:gd name="f8" fmla="val 37"/>
                <a:gd name="f9" fmla="val 5"/>
                <a:gd name="f10" fmla="val 15"/>
                <a:gd name="f11" fmla="val 11"/>
                <a:gd name="f12" fmla="val 10"/>
                <a:gd name="f13" fmla="val 7"/>
                <a:gd name="f14" fmla="val 14"/>
                <a:gd name="f15" fmla="val 6"/>
                <a:gd name="f16" fmla="val 13"/>
                <a:gd name="f17" fmla="val 25"/>
                <a:gd name="f18" fmla="val 2"/>
                <a:gd name="f19" fmla="val 27"/>
                <a:gd name="f20" fmla="val 1"/>
                <a:gd name="f21" fmla="val 32"/>
                <a:gd name="f22" fmla="val 35"/>
                <a:gd name="f23" fmla="val 3"/>
                <a:gd name="f24" fmla="val 41"/>
                <a:gd name="f25" fmla="val 45"/>
                <a:gd name="f26" fmla="val 8"/>
                <a:gd name="f27" fmla="val 50"/>
                <a:gd name="f28" fmla="val 12"/>
                <a:gd name="f29" fmla="val 18"/>
                <a:gd name="f30" fmla="val 58"/>
                <a:gd name="f31" fmla="val 20"/>
                <a:gd name="f32" fmla="val 61"/>
                <a:gd name="f33" fmla="val 29"/>
                <a:gd name="f34" fmla="val 36"/>
                <a:gd name="f35" fmla="val 63"/>
                <a:gd name="f36" fmla="val 44"/>
                <a:gd name="f37" fmla="val 59"/>
                <a:gd name="f38" fmla="val 42"/>
                <a:gd name="f39" fmla="val 57"/>
                <a:gd name="f40" fmla="val 39"/>
                <a:gd name="f41" fmla="val 54"/>
                <a:gd name="f42" fmla="val 51"/>
                <a:gd name="f43" fmla="val 48"/>
                <a:gd name="f44" fmla="val 38"/>
                <a:gd name="f45" fmla="val 43"/>
                <a:gd name="f46" fmla="val 46"/>
                <a:gd name="f47" fmla="val 47"/>
                <a:gd name="f48" fmla="val 21"/>
                <a:gd name="f49" fmla="val 19"/>
                <a:gd name="f50" fmla="val 4"/>
                <a:gd name="f51" fmla="+- 0 0 -90"/>
                <a:gd name="f52" fmla="*/ f3 1 52"/>
                <a:gd name="f53" fmla="*/ f4 1 64"/>
                <a:gd name="f54" fmla="val f5"/>
                <a:gd name="f55" fmla="val f6"/>
                <a:gd name="f56" fmla="val f7"/>
                <a:gd name="f57" fmla="*/ f51 f0 1"/>
                <a:gd name="f58" fmla="+- f56 0 f54"/>
                <a:gd name="f59" fmla="+- f55 0 f54"/>
                <a:gd name="f60" fmla="*/ f57 1 f2"/>
                <a:gd name="f61" fmla="*/ f59 1 52"/>
                <a:gd name="f62" fmla="*/ f58 1 64"/>
                <a:gd name="f63" fmla="*/ 2147483646 f59 1"/>
                <a:gd name="f64" fmla="*/ 2147483646 f58 1"/>
                <a:gd name="f65" fmla="*/ 0 f59 1"/>
                <a:gd name="f66" fmla="*/ 0 f58 1"/>
                <a:gd name="f67" fmla="+- f60 0 f1"/>
                <a:gd name="f68" fmla="*/ f63 1 52"/>
                <a:gd name="f69" fmla="*/ f64 1 64"/>
                <a:gd name="f70" fmla="*/ f65 1 52"/>
                <a:gd name="f71" fmla="*/ f66 1 64"/>
                <a:gd name="f72" fmla="*/ 0 1 f61"/>
                <a:gd name="f73" fmla="*/ f55 1 f61"/>
                <a:gd name="f74" fmla="*/ 0 1 f62"/>
                <a:gd name="f75" fmla="*/ f56 1 f62"/>
                <a:gd name="f76" fmla="*/ f68 1 f61"/>
                <a:gd name="f77" fmla="*/ f69 1 f62"/>
                <a:gd name="f78" fmla="*/ f70 1 f61"/>
                <a:gd name="f79" fmla="*/ f71 1 f62"/>
                <a:gd name="f80" fmla="*/ f72 f52 1"/>
                <a:gd name="f81" fmla="*/ f73 f52 1"/>
                <a:gd name="f82" fmla="*/ f75 f53 1"/>
                <a:gd name="f83" fmla="*/ f74 f53 1"/>
                <a:gd name="f84" fmla="*/ f76 f52 1"/>
                <a:gd name="f85" fmla="*/ f77 f53 1"/>
                <a:gd name="f86" fmla="*/ f78 f52 1"/>
                <a:gd name="f87" fmla="*/ f79 f5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6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5"/>
                </a:cxn>
                <a:cxn ang="f67">
                  <a:pos x="f84" y="f87"/>
                </a:cxn>
                <a:cxn ang="f67">
                  <a:pos x="f84" y="f85"/>
                </a:cxn>
                <a:cxn ang="f67">
                  <a:pos x="f84" y="f85"/>
                </a:cxn>
              </a:cxnLst>
              <a:rect l="f80" t="f83" r="f81" b="f82"/>
              <a:pathLst>
                <a:path w="52" h="64">
                  <a:moveTo>
                    <a:pt x="f8" y="f9"/>
                  </a:moveTo>
                  <a:cubicBezTo>
                    <a:pt x="f8" y="f9"/>
                    <a:pt x="f10" y="f9"/>
                    <a:pt x="f11" y="f9"/>
                  </a:cubicBezTo>
                  <a:cubicBezTo>
                    <a:pt x="f12" y="f11"/>
                    <a:pt x="f12" y="f11"/>
                    <a:pt x="f12" y="f11"/>
                  </a:cubicBezTo>
                  <a:cubicBezTo>
                    <a:pt x="f13" y="f11"/>
                    <a:pt x="f13" y="f11"/>
                    <a:pt x="f13" y="f11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5" y="f16"/>
                    <a:pt x="f15" y="f16"/>
                    <a:pt x="f15" y="f16"/>
                  </a:cubicBezTo>
                  <a:cubicBezTo>
                    <a:pt x="f9" y="f17"/>
                    <a:pt x="f9" y="f17"/>
                    <a:pt x="f9" y="f17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20" y="f21"/>
                    <a:pt x="f20" y="f21"/>
                    <a:pt x="f20" y="f21"/>
                  </a:cubicBezTo>
                  <a:cubicBezTo>
                    <a:pt x="f5" y="f22"/>
                    <a:pt x="f5" y="f22"/>
                    <a:pt x="f5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9" y="f25"/>
                    <a:pt x="f9" y="f25"/>
                    <a:pt x="f9" y="f2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28" y="f6"/>
                    <a:pt x="f28" y="f6"/>
                    <a:pt x="f28" y="f6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17" y="f32"/>
                    <a:pt x="f17" y="f32"/>
                    <a:pt x="f17" y="f32"/>
                  </a:cubicBezTo>
                  <a:cubicBezTo>
                    <a:pt x="f33" y="f7"/>
                    <a:pt x="f33" y="f7"/>
                    <a:pt x="f33" y="f7"/>
                  </a:cubicBezTo>
                  <a:cubicBezTo>
                    <a:pt x="f34" y="f35"/>
                    <a:pt x="f34" y="f35"/>
                    <a:pt x="f34" y="f35"/>
                  </a:cubicBezTo>
                  <a:cubicBezTo>
                    <a:pt x="f24" y="f32"/>
                    <a:pt x="f24" y="f32"/>
                    <a:pt x="f24" y="f32"/>
                  </a:cubicBezTo>
                  <a:cubicBezTo>
                    <a:pt x="f36" y="f32"/>
                    <a:pt x="f36" y="f32"/>
                    <a:pt x="f36" y="f32"/>
                  </a:cubicBezTo>
                  <a:cubicBezTo>
                    <a:pt x="f36" y="f37"/>
                    <a:pt x="f36" y="f37"/>
                    <a:pt x="f36" y="f37"/>
                  </a:cubicBezTo>
                  <a:cubicBezTo>
                    <a:pt x="f38" y="f39"/>
                    <a:pt x="f38" y="f39"/>
                    <a:pt x="f38" y="f39"/>
                  </a:cubicBezTo>
                  <a:cubicBezTo>
                    <a:pt x="f40" y="f41"/>
                    <a:pt x="f40" y="f41"/>
                    <a:pt x="f40" y="f41"/>
                  </a:cubicBezTo>
                  <a:cubicBezTo>
                    <a:pt x="f22" y="f42"/>
                    <a:pt x="f22" y="f42"/>
                    <a:pt x="f22" y="f42"/>
                  </a:cubicBezTo>
                  <a:cubicBezTo>
                    <a:pt x="f34" y="f43"/>
                    <a:pt x="f34" y="f43"/>
                    <a:pt x="f34" y="f43"/>
                  </a:cubicBezTo>
                  <a:cubicBezTo>
                    <a:pt x="f44" y="f43"/>
                    <a:pt x="f44" y="f43"/>
                    <a:pt x="f44" y="f43"/>
                  </a:cubicBezTo>
                  <a:cubicBezTo>
                    <a:pt x="f40" y="f38"/>
                    <a:pt x="f40" y="f38"/>
                    <a:pt x="f40" y="f38"/>
                  </a:cubicBezTo>
                  <a:cubicBezTo>
                    <a:pt x="f45" y="f44"/>
                    <a:pt x="f45" y="f44"/>
                    <a:pt x="f45" y="f44"/>
                  </a:cubicBezTo>
                  <a:cubicBezTo>
                    <a:pt x="f46" y="f21"/>
                    <a:pt x="f46" y="f21"/>
                    <a:pt x="f46" y="f21"/>
                  </a:cubicBezTo>
                  <a:cubicBezTo>
                    <a:pt x="f47" y="f48"/>
                    <a:pt x="f47" y="f48"/>
                    <a:pt x="f47" y="f48"/>
                  </a:cubicBezTo>
                  <a:cubicBezTo>
                    <a:pt x="f27" y="f49"/>
                    <a:pt x="f27" y="f49"/>
                    <a:pt x="f27" y="f49"/>
                  </a:cubicBezTo>
                  <a:cubicBezTo>
                    <a:pt x="f6" y="f29"/>
                    <a:pt x="f6" y="f29"/>
                    <a:pt x="f6" y="f29"/>
                  </a:cubicBezTo>
                  <a:cubicBezTo>
                    <a:pt x="f27" y="f16"/>
                    <a:pt x="f27" y="f16"/>
                    <a:pt x="f27" y="f16"/>
                  </a:cubicBezTo>
                  <a:cubicBezTo>
                    <a:pt x="f47" y="f50"/>
                    <a:pt x="f47" y="f50"/>
                    <a:pt x="f47" y="f50"/>
                  </a:cubicBezTo>
                  <a:cubicBezTo>
                    <a:pt x="f36" y="f5"/>
                    <a:pt x="f36" y="f5"/>
                    <a:pt x="f36" y="f5"/>
                  </a:cubicBezTo>
                  <a:cubicBezTo>
                    <a:pt x="f38" y="f18"/>
                    <a:pt x="f38" y="f18"/>
                    <a:pt x="f38" y="f18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6" name="Freeform 313">
              <a:extLst>
                <a:ext uri="{FF2B5EF4-FFF2-40B4-BE49-F238E27FC236}">
                  <a16:creationId xmlns:a16="http://schemas.microsoft.com/office/drawing/2014/main" id="{AAF7BAB1-7069-F69A-597D-FCF9FD1B77E0}"/>
                </a:ext>
              </a:extLst>
            </p:cNvPr>
            <p:cNvSpPr/>
            <p:nvPr/>
          </p:nvSpPr>
          <p:spPr>
            <a:xfrm>
              <a:off x="5464113" y="4093557"/>
              <a:ext cx="153573" cy="1447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"/>
                <a:gd name="f7" fmla="val 17"/>
                <a:gd name="f8" fmla="val 10"/>
                <a:gd name="f9" fmla="val 6"/>
                <a:gd name="f10" fmla="val 2"/>
                <a:gd name="f11" fmla="val 12"/>
                <a:gd name="f12" fmla="val 3"/>
                <a:gd name="f13" fmla="val 1"/>
                <a:gd name="f14" fmla="val 8"/>
                <a:gd name="f15" fmla="val 5"/>
                <a:gd name="f16" fmla="val 9"/>
                <a:gd name="f17" fmla="val 11"/>
                <a:gd name="f18" fmla="val 14"/>
                <a:gd name="f19" fmla="val 4"/>
                <a:gd name="f20" fmla="val 16"/>
                <a:gd name="f21" fmla="val 15"/>
                <a:gd name="f22" fmla="val 18"/>
                <a:gd name="f23" fmla="val 13"/>
                <a:gd name="f24" fmla="+- 0 0 -90"/>
                <a:gd name="f25" fmla="*/ f3 1 19"/>
                <a:gd name="f26" fmla="*/ f4 1 19"/>
                <a:gd name="f27" fmla="val f5"/>
                <a:gd name="f28" fmla="val f6"/>
                <a:gd name="f29" fmla="*/ f24 f0 1"/>
                <a:gd name="f30" fmla="+- f28 0 f27"/>
                <a:gd name="f31" fmla="*/ f29 1 f2"/>
                <a:gd name="f32" fmla="*/ f30 1 19"/>
                <a:gd name="f33" fmla="*/ 2147483646 f30 1"/>
                <a:gd name="f34" fmla="*/ 0 f30 1"/>
                <a:gd name="f35" fmla="+- f31 0 f1"/>
                <a:gd name="f36" fmla="*/ f33 1 19"/>
                <a:gd name="f37" fmla="*/ f34 1 19"/>
                <a:gd name="f38" fmla="*/ 0 1 f32"/>
                <a:gd name="f39" fmla="*/ f28 1 f32"/>
                <a:gd name="f40" fmla="*/ f36 1 f32"/>
                <a:gd name="f41" fmla="*/ f37 1 f32"/>
                <a:gd name="f42" fmla="*/ f38 f25 1"/>
                <a:gd name="f43" fmla="*/ f39 f25 1"/>
                <a:gd name="f44" fmla="*/ f39 f26 1"/>
                <a:gd name="f45" fmla="*/ f38 f26 1"/>
                <a:gd name="f46" fmla="*/ f40 f25 1"/>
                <a:gd name="f47" fmla="*/ f40 f26 1"/>
                <a:gd name="f48" fmla="*/ f41 f26 1"/>
                <a:gd name="f49" fmla="*/ f41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8"/>
                </a:cxn>
                <a:cxn ang="f35">
                  <a:pos x="f46" y="f48"/>
                </a:cxn>
                <a:cxn ang="f35">
                  <a:pos x="f46" y="f48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9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  <a:cxn ang="f35">
                  <a:pos x="f46" y="f47"/>
                </a:cxn>
              </a:cxnLst>
              <a:rect l="f42" t="f45" r="f43" b="f44"/>
              <a:pathLst>
                <a:path w="19" h="19">
                  <a:moveTo>
                    <a:pt x="f7" y="f8"/>
                  </a:moveTo>
                  <a:cubicBezTo>
                    <a:pt x="f6" y="f9"/>
                    <a:pt x="f6" y="f9"/>
                    <a:pt x="f6" y="f9"/>
                  </a:cubicBezTo>
                  <a:cubicBezTo>
                    <a:pt x="f7" y="f10"/>
                    <a:pt x="f7" y="f10"/>
                    <a:pt x="f7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8" y="f13"/>
                    <a:pt x="f8" y="f13"/>
                    <a:pt x="f8" y="f13"/>
                  </a:cubicBezTo>
                  <a:cubicBezTo>
                    <a:pt x="f14" y="f13"/>
                    <a:pt x="f14" y="f13"/>
                    <a:pt x="f14" y="f13"/>
                  </a:cubicBezTo>
                  <a:cubicBezTo>
                    <a:pt x="f9" y="f5"/>
                    <a:pt x="f9" y="f5"/>
                    <a:pt x="f9" y="f5"/>
                  </a:cubicBezTo>
                  <a:cubicBezTo>
                    <a:pt x="f15" y="f5"/>
                    <a:pt x="f15" y="f5"/>
                    <a:pt x="f15" y="f5"/>
                  </a:cubicBezTo>
                  <a:cubicBezTo>
                    <a:pt x="f12" y="f5"/>
                    <a:pt x="f12" y="f5"/>
                    <a:pt x="f12" y="f5"/>
                  </a:cubicBezTo>
                  <a:cubicBezTo>
                    <a:pt x="f13" y="f13"/>
                    <a:pt x="f13" y="f13"/>
                    <a:pt x="f13" y="f13"/>
                  </a:cubicBezTo>
                  <a:cubicBezTo>
                    <a:pt x="f10" y="f13"/>
                    <a:pt x="f10" y="f13"/>
                    <a:pt x="f10" y="f13"/>
                  </a:cubicBezTo>
                  <a:cubicBezTo>
                    <a:pt x="f10" y="f15"/>
                    <a:pt x="f10" y="f15"/>
                    <a:pt x="f10" y="f15"/>
                  </a:cubicBezTo>
                  <a:cubicBezTo>
                    <a:pt x="f10" y="f16"/>
                    <a:pt x="f10" y="f16"/>
                    <a:pt x="f10" y="f16"/>
                  </a:cubicBezTo>
                  <a:cubicBezTo>
                    <a:pt x="f10" y="f16"/>
                    <a:pt x="f13" y="f8"/>
                    <a:pt x="f5" y="f8"/>
                  </a:cubicBezTo>
                  <a:cubicBezTo>
                    <a:pt x="f13" y="f17"/>
                    <a:pt x="f13" y="f17"/>
                    <a:pt x="f13" y="f17"/>
                  </a:cubicBezTo>
                  <a:cubicBezTo>
                    <a:pt x="f13" y="f17"/>
                    <a:pt x="f5" y="f18"/>
                    <a:pt x="f13" y="f18"/>
                  </a:cubicBezTo>
                  <a:cubicBezTo>
                    <a:pt x="f13" y="f18"/>
                    <a:pt x="f19" y="f20"/>
                    <a:pt x="f19" y="f20"/>
                  </a:cubicBezTo>
                  <a:cubicBezTo>
                    <a:pt x="f19" y="f6"/>
                    <a:pt x="f19" y="f6"/>
                    <a:pt x="f19" y="f6"/>
                  </a:cubicBezTo>
                  <a:cubicBezTo>
                    <a:pt x="f14" y="f6"/>
                    <a:pt x="f14" y="f6"/>
                    <a:pt x="f14" y="f6"/>
                  </a:cubicBezTo>
                  <a:cubicBezTo>
                    <a:pt x="f21" y="f20"/>
                    <a:pt x="f21" y="f20"/>
                    <a:pt x="f21" y="f20"/>
                  </a:cubicBezTo>
                  <a:cubicBezTo>
                    <a:pt x="f22" y="f20"/>
                    <a:pt x="f22" y="f20"/>
                    <a:pt x="f22" y="f20"/>
                  </a:cubicBezTo>
                  <a:cubicBezTo>
                    <a:pt x="f7" y="f23"/>
                    <a:pt x="f7" y="f23"/>
                    <a:pt x="f7" y="f23"/>
                  </a:cubicBez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7" name="Freeform 314">
              <a:extLst>
                <a:ext uri="{FF2B5EF4-FFF2-40B4-BE49-F238E27FC236}">
                  <a16:creationId xmlns:a16="http://schemas.microsoft.com/office/drawing/2014/main" id="{5F0CDFCB-0EE8-F9A8-3A83-690337C6E291}"/>
                </a:ext>
              </a:extLst>
            </p:cNvPr>
            <p:cNvSpPr/>
            <p:nvPr/>
          </p:nvSpPr>
          <p:spPr>
            <a:xfrm>
              <a:off x="5385694" y="4148046"/>
              <a:ext cx="109462" cy="902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"/>
                <a:gd name="f7" fmla="val 12"/>
                <a:gd name="f8" fmla="val 11"/>
                <a:gd name="f9" fmla="val 7"/>
                <a:gd name="f10" fmla="val 10"/>
                <a:gd name="f11" fmla="val 4"/>
                <a:gd name="f12" fmla="val 3"/>
                <a:gd name="f13" fmla="val 9"/>
                <a:gd name="f14" fmla="val 8"/>
                <a:gd name="f15" fmla="val 6"/>
                <a:gd name="f16" fmla="val 1"/>
                <a:gd name="f17" fmla="val 2"/>
                <a:gd name="f18" fmla="val 5"/>
                <a:gd name="f19" fmla="+- 0 0 -90"/>
                <a:gd name="f20" fmla="*/ f3 1 14"/>
                <a:gd name="f21" fmla="*/ f4 1 12"/>
                <a:gd name="f22" fmla="val f5"/>
                <a:gd name="f23" fmla="val f6"/>
                <a:gd name="f24" fmla="val f7"/>
                <a:gd name="f25" fmla="*/ f19 f0 1"/>
                <a:gd name="f26" fmla="+- f24 0 f22"/>
                <a:gd name="f27" fmla="+- f23 0 f22"/>
                <a:gd name="f28" fmla="*/ f25 1 f2"/>
                <a:gd name="f29" fmla="*/ f27 1 14"/>
                <a:gd name="f30" fmla="*/ f26 1 12"/>
                <a:gd name="f31" fmla="*/ 2147483646 f27 1"/>
                <a:gd name="f32" fmla="*/ 2147483646 f26 1"/>
                <a:gd name="f33" fmla="*/ 0 f26 1"/>
                <a:gd name="f34" fmla="*/ 0 f27 1"/>
                <a:gd name="f35" fmla="+- f28 0 f1"/>
                <a:gd name="f36" fmla="*/ f31 1 14"/>
                <a:gd name="f37" fmla="*/ f32 1 12"/>
                <a:gd name="f38" fmla="*/ f33 1 12"/>
                <a:gd name="f39" fmla="*/ f34 1 14"/>
                <a:gd name="f40" fmla="*/ 0 1 f29"/>
                <a:gd name="f41" fmla="*/ f23 1 f29"/>
                <a:gd name="f42" fmla="*/ 0 1 f30"/>
                <a:gd name="f43" fmla="*/ f24 1 f30"/>
                <a:gd name="f44" fmla="*/ f36 1 f29"/>
                <a:gd name="f45" fmla="*/ f37 1 f30"/>
                <a:gd name="f46" fmla="*/ f38 1 f30"/>
                <a:gd name="f47" fmla="*/ f39 1 f29"/>
                <a:gd name="f48" fmla="*/ f40 f20 1"/>
                <a:gd name="f49" fmla="*/ f41 f20 1"/>
                <a:gd name="f50" fmla="*/ f43 f21 1"/>
                <a:gd name="f51" fmla="*/ f42 f21 1"/>
                <a:gd name="f52" fmla="*/ f44 f20 1"/>
                <a:gd name="f53" fmla="*/ f45 f21 1"/>
                <a:gd name="f54" fmla="*/ f46 f21 1"/>
                <a:gd name="f55" fmla="*/ f47 f2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4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5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</a:cxnLst>
              <a:rect l="f48" t="f51" r="f49" b="f50"/>
              <a:pathLst>
                <a:path w="14" h="12">
                  <a:moveTo>
                    <a:pt x="f8" y="f9"/>
                  </a:moveTo>
                  <a:cubicBezTo>
                    <a:pt x="f10" y="f9"/>
                    <a:pt x="f8" y="f11"/>
                    <a:pt x="f8" y="f11"/>
                  </a:cubicBezTo>
                  <a:cubicBezTo>
                    <a:pt x="f10" y="f12"/>
                    <a:pt x="f10" y="f12"/>
                    <a:pt x="f10" y="f12"/>
                  </a:cubicBezTo>
                  <a:cubicBezTo>
                    <a:pt x="f13" y="f12"/>
                    <a:pt x="f14" y="f11"/>
                    <a:pt x="f14" y="f11"/>
                  </a:cubicBezTo>
                  <a:cubicBezTo>
                    <a:pt x="f9" y="f11"/>
                    <a:pt x="f15" y="f16"/>
                    <a:pt x="f15" y="f16"/>
                  </a:cubicBezTo>
                  <a:cubicBezTo>
                    <a:pt x="f11" y="f5"/>
                    <a:pt x="f11" y="f5"/>
                    <a:pt x="f11" y="f5"/>
                  </a:cubicBezTo>
                  <a:cubicBezTo>
                    <a:pt x="f12" y="f17"/>
                    <a:pt x="f12" y="f17"/>
                    <a:pt x="f12" y="f17"/>
                  </a:cubicBezTo>
                  <a:cubicBezTo>
                    <a:pt x="f16" y="f12"/>
                    <a:pt x="f16" y="f12"/>
                    <a:pt x="f16" y="f12"/>
                  </a:cubicBezTo>
                  <a:cubicBezTo>
                    <a:pt x="f5" y="f18"/>
                    <a:pt x="f5" y="f18"/>
                    <a:pt x="f5" y="f18"/>
                  </a:cubicBezTo>
                  <a:cubicBezTo>
                    <a:pt x="f16" y="f15"/>
                    <a:pt x="f16" y="f15"/>
                    <a:pt x="f16" y="f15"/>
                  </a:cubicBezTo>
                  <a:cubicBezTo>
                    <a:pt x="f10" y="f7"/>
                    <a:pt x="f10" y="f7"/>
                    <a:pt x="f10" y="f7"/>
                  </a:cubicBezTo>
                  <a:cubicBezTo>
                    <a:pt x="f6" y="f7"/>
                    <a:pt x="f6" y="f7"/>
                    <a:pt x="f6" y="f7"/>
                  </a:cubicBezTo>
                  <a:cubicBezTo>
                    <a:pt x="f6" y="f13"/>
                    <a:pt x="f6" y="f13"/>
                    <a:pt x="f6" y="f13"/>
                  </a:cubicBezTo>
                  <a:cubicBezTo>
                    <a:pt x="f6" y="f13"/>
                    <a:pt x="f8" y="f9"/>
                    <a:pt x="f8" y="f9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8" name="Freeform 315">
              <a:extLst>
                <a:ext uri="{FF2B5EF4-FFF2-40B4-BE49-F238E27FC236}">
                  <a16:creationId xmlns:a16="http://schemas.microsoft.com/office/drawing/2014/main" id="{327055DF-FA38-DE1E-D660-FE521950A034}"/>
                </a:ext>
              </a:extLst>
            </p:cNvPr>
            <p:cNvSpPr/>
            <p:nvPr/>
          </p:nvSpPr>
          <p:spPr>
            <a:xfrm>
              <a:off x="5335046" y="4116911"/>
              <a:ext cx="81683" cy="68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0"/>
                <a:gd name="f7" fmla="val 54"/>
                <a:gd name="f8" fmla="val 36"/>
                <a:gd name="f9" fmla="val 24"/>
                <a:gd name="f10" fmla="val 18"/>
                <a:gd name="f11" fmla="val 42"/>
                <a:gd name="f12" fmla="val 12"/>
                <a:gd name="f13" fmla="val 30"/>
                <a:gd name="f14" fmla="+- 0 0 -90"/>
                <a:gd name="f15" fmla="*/ f3 1 60"/>
                <a:gd name="f16" fmla="*/ f4 1 54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60"/>
                <a:gd name="f25" fmla="*/ f21 1 54"/>
                <a:gd name="f26" fmla="*/ 2147483646 f22 1"/>
                <a:gd name="f27" fmla="*/ 2147483646 f21 1"/>
                <a:gd name="f28" fmla="*/ 0 f21 1"/>
                <a:gd name="f29" fmla="*/ 0 f22 1"/>
                <a:gd name="f30" fmla="+- f23 0 f1"/>
                <a:gd name="f31" fmla="*/ f26 1 60"/>
                <a:gd name="f32" fmla="*/ f27 1 54"/>
                <a:gd name="f33" fmla="*/ f28 1 54"/>
                <a:gd name="f34" fmla="*/ f29 1 60"/>
                <a:gd name="f35" fmla="*/ 0 1 f24"/>
                <a:gd name="f36" fmla="*/ f18 1 f24"/>
                <a:gd name="f37" fmla="*/ 0 1 f25"/>
                <a:gd name="f38" fmla="*/ f19 1 f25"/>
                <a:gd name="f39" fmla="*/ f31 1 f24"/>
                <a:gd name="f40" fmla="*/ f32 1 f25"/>
                <a:gd name="f41" fmla="*/ f33 1 f25"/>
                <a:gd name="f42" fmla="*/ f34 1 f24"/>
                <a:gd name="f43" fmla="*/ f35 f15 1"/>
                <a:gd name="f44" fmla="*/ f36 f15 1"/>
                <a:gd name="f45" fmla="*/ f38 f16 1"/>
                <a:gd name="f46" fmla="*/ f37 f16 1"/>
                <a:gd name="f47" fmla="*/ f39 f15 1"/>
                <a:gd name="f48" fmla="*/ f40 f16 1"/>
                <a:gd name="f49" fmla="*/ f41 f16 1"/>
                <a:gd name="f50" fmla="*/ f42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9"/>
                </a:cxn>
                <a:cxn ang="f30">
                  <a:pos x="f47" y="f49"/>
                </a:cxn>
                <a:cxn ang="f30">
                  <a:pos x="f47" y="f48"/>
                </a:cxn>
                <a:cxn ang="f30">
                  <a:pos x="f50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</a:cxnLst>
              <a:rect l="f43" t="f46" r="f44" b="f45"/>
              <a:pathLst>
                <a:path w="60" h="54">
                  <a:moveTo>
                    <a:pt x="f7" y="f8"/>
                  </a:moveTo>
                  <a:lnTo>
                    <a:pt x="f6" y="f9"/>
                  </a:lnTo>
                  <a:lnTo>
                    <a:pt x="f7" y="f10"/>
                  </a:lnTo>
                  <a:lnTo>
                    <a:pt x="f11" y="f5"/>
                  </a:lnTo>
                  <a:lnTo>
                    <a:pt x="f10" y="f5"/>
                  </a:lnTo>
                  <a:lnTo>
                    <a:pt x="f12" y="f12"/>
                  </a:lnTo>
                  <a:lnTo>
                    <a:pt x="f5" y="f10"/>
                  </a:lnTo>
                  <a:lnTo>
                    <a:pt x="f12" y="f13"/>
                  </a:lnTo>
                  <a:lnTo>
                    <a:pt x="f8" y="f7"/>
                  </a:lnTo>
                  <a:lnTo>
                    <a:pt x="f11" y="f11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9" name="Rectangle 1158">
              <a:extLst>
                <a:ext uri="{FF2B5EF4-FFF2-40B4-BE49-F238E27FC236}">
                  <a16:creationId xmlns:a16="http://schemas.microsoft.com/office/drawing/2014/main" id="{EBF5BE7A-5143-818D-AA55-308B418A7258}"/>
                </a:ext>
              </a:extLst>
            </p:cNvPr>
            <p:cNvSpPr/>
            <p:nvPr/>
          </p:nvSpPr>
          <p:spPr>
            <a:xfrm>
              <a:off x="5454311" y="3649845"/>
              <a:ext cx="9802" cy="23353"/>
            </a:xfrm>
            <a:prstGeom prst="rect">
              <a:avLst/>
            </a:pr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0" name="Freeform 317">
              <a:extLst>
                <a:ext uri="{FF2B5EF4-FFF2-40B4-BE49-F238E27FC236}">
                  <a16:creationId xmlns:a16="http://schemas.microsoft.com/office/drawing/2014/main" id="{F9484633-7508-5387-DE32-2A248738903D}"/>
                </a:ext>
              </a:extLst>
            </p:cNvPr>
            <p:cNvSpPr/>
            <p:nvPr/>
          </p:nvSpPr>
          <p:spPr>
            <a:xfrm>
              <a:off x="5454311" y="3382063"/>
              <a:ext cx="527681" cy="49508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90"/>
                <a:gd name="f7" fmla="val 60"/>
                <a:gd name="f8" fmla="val 270"/>
                <a:gd name="f9" fmla="val 216"/>
                <a:gd name="f10" fmla="val 378"/>
                <a:gd name="f11" fmla="val 228"/>
                <a:gd name="f12" fmla="val 246"/>
                <a:gd name="f13" fmla="val 282"/>
                <a:gd name="f14" fmla="val 372"/>
                <a:gd name="f15" fmla="val 300"/>
                <a:gd name="f16" fmla="val 384"/>
                <a:gd name="f17" fmla="val 366"/>
                <a:gd name="f18" fmla="val 276"/>
                <a:gd name="f19" fmla="val 354"/>
                <a:gd name="f20" fmla="val 342"/>
                <a:gd name="f21" fmla="val 348"/>
                <a:gd name="f22" fmla="val 234"/>
                <a:gd name="f23" fmla="val 174"/>
                <a:gd name="f24" fmla="val 162"/>
                <a:gd name="f25" fmla="val 150"/>
                <a:gd name="f26" fmla="val 144"/>
                <a:gd name="f27" fmla="val 120"/>
                <a:gd name="f28" fmla="val 324"/>
                <a:gd name="f29" fmla="val 108"/>
                <a:gd name="f30" fmla="val 318"/>
                <a:gd name="f31" fmla="val 102"/>
                <a:gd name="f32" fmla="val 306"/>
                <a:gd name="f33" fmla="val 90"/>
                <a:gd name="f34" fmla="val 78"/>
                <a:gd name="f35" fmla="val 54"/>
                <a:gd name="f36" fmla="val 30"/>
                <a:gd name="f37" fmla="val 12"/>
                <a:gd name="f38" fmla="val 330"/>
                <a:gd name="f39" fmla="val 6"/>
                <a:gd name="f40" fmla="val 288"/>
                <a:gd name="f41" fmla="val 222"/>
                <a:gd name="f42" fmla="val 132"/>
                <a:gd name="f43" fmla="val 48"/>
                <a:gd name="f44" fmla="val 138"/>
                <a:gd name="f45" fmla="val 114"/>
                <a:gd name="f46" fmla="val 96"/>
                <a:gd name="f47" fmla="val 156"/>
                <a:gd name="f48" fmla="val 192"/>
                <a:gd name="f49" fmla="val 210"/>
                <a:gd name="f50" fmla="+- 0 0 -90"/>
                <a:gd name="f51" fmla="*/ f3 1 390"/>
                <a:gd name="f52" fmla="*/ f4 1 390"/>
                <a:gd name="f53" fmla="val f5"/>
                <a:gd name="f54" fmla="val f6"/>
                <a:gd name="f55" fmla="*/ f50 f0 1"/>
                <a:gd name="f56" fmla="+- f54 0 f53"/>
                <a:gd name="f57" fmla="*/ f55 1 f2"/>
                <a:gd name="f58" fmla="*/ f56 1 390"/>
                <a:gd name="f59" fmla="*/ 2147483646 f56 1"/>
                <a:gd name="f60" fmla="*/ 0 f56 1"/>
                <a:gd name="f61" fmla="+- f57 0 f1"/>
                <a:gd name="f62" fmla="*/ f59 1 390"/>
                <a:gd name="f63" fmla="*/ f60 1 390"/>
                <a:gd name="f64" fmla="*/ 0 1 f58"/>
                <a:gd name="f65" fmla="*/ f54 1 f58"/>
                <a:gd name="f66" fmla="*/ f62 1 f58"/>
                <a:gd name="f67" fmla="*/ f63 1 f58"/>
                <a:gd name="f68" fmla="*/ f64 f51 1"/>
                <a:gd name="f69" fmla="*/ f65 f51 1"/>
                <a:gd name="f70" fmla="*/ f65 f52 1"/>
                <a:gd name="f71" fmla="*/ f64 f52 1"/>
                <a:gd name="f72" fmla="*/ f66 f51 1"/>
                <a:gd name="f73" fmla="*/ f66 f52 1"/>
                <a:gd name="f74" fmla="*/ f67 f52 1"/>
                <a:gd name="f75" fmla="*/ f67 f5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4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5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</a:cxnLst>
              <a:rect l="f68" t="f71" r="f69" b="f70"/>
              <a:pathLst>
                <a:path w="390" h="390">
                  <a:moveTo>
                    <a:pt x="f7" y="f8"/>
                  </a:moveTo>
                  <a:lnTo>
                    <a:pt x="f9" y="f10"/>
                  </a:lnTo>
                  <a:lnTo>
                    <a:pt x="f11" y="f6"/>
                  </a:lnTo>
                  <a:lnTo>
                    <a:pt x="f12" y="f6"/>
                  </a:lnTo>
                  <a:lnTo>
                    <a:pt x="f13" y="f14"/>
                  </a:lnTo>
                  <a:lnTo>
                    <a:pt x="f6" y="f15"/>
                  </a:lnTo>
                  <a:lnTo>
                    <a:pt x="f16" y="f15"/>
                  </a:lnTo>
                  <a:lnTo>
                    <a:pt x="f17" y="f18"/>
                  </a:lnTo>
                  <a:lnTo>
                    <a:pt x="f19" y="f8"/>
                  </a:lnTo>
                  <a:lnTo>
                    <a:pt x="f20" y="f12"/>
                  </a:lnTo>
                  <a:lnTo>
                    <a:pt x="f21" y="f22"/>
                  </a:lnTo>
                  <a:lnTo>
                    <a:pt x="f21" y="f23"/>
                  </a:lnTo>
                  <a:lnTo>
                    <a:pt x="f20" y="f24"/>
                  </a:lnTo>
                  <a:lnTo>
                    <a:pt x="f21" y="f25"/>
                  </a:lnTo>
                  <a:lnTo>
                    <a:pt x="f20" y="f26"/>
                  </a:lnTo>
                  <a:lnTo>
                    <a:pt x="f20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2" y="f34"/>
                  </a:lnTo>
                  <a:lnTo>
                    <a:pt x="f28" y="f35"/>
                  </a:lnTo>
                  <a:lnTo>
                    <a:pt x="f28" y="f36"/>
                  </a:lnTo>
                  <a:lnTo>
                    <a:pt x="f28" y="f37"/>
                  </a:lnTo>
                  <a:lnTo>
                    <a:pt x="f38" y="f39"/>
                  </a:lnTo>
                  <a:lnTo>
                    <a:pt x="f38" y="f5"/>
                  </a:lnTo>
                  <a:lnTo>
                    <a:pt x="f30" y="f39"/>
                  </a:lnTo>
                  <a:lnTo>
                    <a:pt x="f40" y="f37"/>
                  </a:lnTo>
                  <a:lnTo>
                    <a:pt x="f41" y="f37"/>
                  </a:lnTo>
                  <a:lnTo>
                    <a:pt x="f24" y="f36"/>
                  </a:lnTo>
                  <a:lnTo>
                    <a:pt x="f42" y="f43"/>
                  </a:lnTo>
                  <a:lnTo>
                    <a:pt x="f44" y="f34"/>
                  </a:lnTo>
                  <a:lnTo>
                    <a:pt x="f26" y="f29"/>
                  </a:lnTo>
                  <a:lnTo>
                    <a:pt x="f42" y="f45"/>
                  </a:lnTo>
                  <a:lnTo>
                    <a:pt x="f29" y="f27"/>
                  </a:lnTo>
                  <a:lnTo>
                    <a:pt x="f31" y="f42"/>
                  </a:lnTo>
                  <a:lnTo>
                    <a:pt x="f46" y="f26"/>
                  </a:lnTo>
                  <a:lnTo>
                    <a:pt x="f7" y="f47"/>
                  </a:lnTo>
                  <a:lnTo>
                    <a:pt x="f36" y="f23"/>
                  </a:lnTo>
                  <a:lnTo>
                    <a:pt x="f39" y="f48"/>
                  </a:lnTo>
                  <a:lnTo>
                    <a:pt x="f5" y="f49"/>
                  </a:lnTo>
                  <a:lnTo>
                    <a:pt x="f39" y="f49"/>
                  </a:lnTo>
                  <a:lnTo>
                    <a:pt x="f39" y="f11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1" name="Freeform 318">
              <a:extLst>
                <a:ext uri="{FF2B5EF4-FFF2-40B4-BE49-F238E27FC236}">
                  <a16:creationId xmlns:a16="http://schemas.microsoft.com/office/drawing/2014/main" id="{449E3677-4F64-3CFB-A4FC-58F575DF9210}"/>
                </a:ext>
              </a:extLst>
            </p:cNvPr>
            <p:cNvSpPr/>
            <p:nvPr/>
          </p:nvSpPr>
          <p:spPr>
            <a:xfrm>
              <a:off x="5454311" y="3382063"/>
              <a:ext cx="527681" cy="49508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90"/>
                <a:gd name="f7" fmla="val 60"/>
                <a:gd name="f8" fmla="val 270"/>
                <a:gd name="f9" fmla="val 216"/>
                <a:gd name="f10" fmla="val 378"/>
                <a:gd name="f11" fmla="val 228"/>
                <a:gd name="f12" fmla="val 246"/>
                <a:gd name="f13" fmla="val 282"/>
                <a:gd name="f14" fmla="val 372"/>
                <a:gd name="f15" fmla="val 300"/>
                <a:gd name="f16" fmla="val 384"/>
                <a:gd name="f17" fmla="val 366"/>
                <a:gd name="f18" fmla="val 276"/>
                <a:gd name="f19" fmla="val 354"/>
                <a:gd name="f20" fmla="val 342"/>
                <a:gd name="f21" fmla="val 348"/>
                <a:gd name="f22" fmla="val 234"/>
                <a:gd name="f23" fmla="val 174"/>
                <a:gd name="f24" fmla="val 162"/>
                <a:gd name="f25" fmla="val 150"/>
                <a:gd name="f26" fmla="val 144"/>
                <a:gd name="f27" fmla="val 120"/>
                <a:gd name="f28" fmla="val 324"/>
                <a:gd name="f29" fmla="val 108"/>
                <a:gd name="f30" fmla="val 318"/>
                <a:gd name="f31" fmla="val 102"/>
                <a:gd name="f32" fmla="val 306"/>
                <a:gd name="f33" fmla="val 90"/>
                <a:gd name="f34" fmla="val 78"/>
                <a:gd name="f35" fmla="val 54"/>
                <a:gd name="f36" fmla="val 30"/>
                <a:gd name="f37" fmla="val 12"/>
                <a:gd name="f38" fmla="val 330"/>
                <a:gd name="f39" fmla="val 6"/>
                <a:gd name="f40" fmla="val 288"/>
                <a:gd name="f41" fmla="val 222"/>
                <a:gd name="f42" fmla="val 132"/>
                <a:gd name="f43" fmla="val 48"/>
                <a:gd name="f44" fmla="val 138"/>
                <a:gd name="f45" fmla="val 114"/>
                <a:gd name="f46" fmla="val 96"/>
                <a:gd name="f47" fmla="val 156"/>
                <a:gd name="f48" fmla="val 192"/>
                <a:gd name="f49" fmla="val 210"/>
                <a:gd name="f50" fmla="+- 0 0 -90"/>
                <a:gd name="f51" fmla="*/ f3 1 390"/>
                <a:gd name="f52" fmla="*/ f4 1 390"/>
                <a:gd name="f53" fmla="val f5"/>
                <a:gd name="f54" fmla="val f6"/>
                <a:gd name="f55" fmla="*/ f50 f0 1"/>
                <a:gd name="f56" fmla="+- f54 0 f53"/>
                <a:gd name="f57" fmla="*/ f55 1 f2"/>
                <a:gd name="f58" fmla="*/ f56 1 390"/>
                <a:gd name="f59" fmla="*/ 2147483646 f56 1"/>
                <a:gd name="f60" fmla="*/ 0 f56 1"/>
                <a:gd name="f61" fmla="+- f57 0 f1"/>
                <a:gd name="f62" fmla="*/ f59 1 390"/>
                <a:gd name="f63" fmla="*/ f60 1 390"/>
                <a:gd name="f64" fmla="*/ 0 1 f58"/>
                <a:gd name="f65" fmla="*/ f54 1 f58"/>
                <a:gd name="f66" fmla="*/ f62 1 f58"/>
                <a:gd name="f67" fmla="*/ f63 1 f58"/>
                <a:gd name="f68" fmla="*/ f64 f51 1"/>
                <a:gd name="f69" fmla="*/ f65 f51 1"/>
                <a:gd name="f70" fmla="*/ f65 f52 1"/>
                <a:gd name="f71" fmla="*/ f64 f52 1"/>
                <a:gd name="f72" fmla="*/ f66 f51 1"/>
                <a:gd name="f73" fmla="*/ f66 f52 1"/>
                <a:gd name="f74" fmla="*/ f67 f52 1"/>
                <a:gd name="f75" fmla="*/ f67 f5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4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5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</a:cxnLst>
              <a:rect l="f68" t="f71" r="f69" b="f70"/>
              <a:pathLst>
                <a:path w="390" h="390">
                  <a:moveTo>
                    <a:pt x="f7" y="f8"/>
                  </a:moveTo>
                  <a:lnTo>
                    <a:pt x="f9" y="f10"/>
                  </a:lnTo>
                  <a:lnTo>
                    <a:pt x="f11" y="f6"/>
                  </a:lnTo>
                  <a:lnTo>
                    <a:pt x="f12" y="f6"/>
                  </a:lnTo>
                  <a:lnTo>
                    <a:pt x="f13" y="f14"/>
                  </a:lnTo>
                  <a:lnTo>
                    <a:pt x="f6" y="f15"/>
                  </a:lnTo>
                  <a:lnTo>
                    <a:pt x="f16" y="f15"/>
                  </a:lnTo>
                  <a:lnTo>
                    <a:pt x="f17" y="f18"/>
                  </a:lnTo>
                  <a:lnTo>
                    <a:pt x="f19" y="f8"/>
                  </a:lnTo>
                  <a:lnTo>
                    <a:pt x="f20" y="f12"/>
                  </a:lnTo>
                  <a:lnTo>
                    <a:pt x="f21" y="f22"/>
                  </a:lnTo>
                  <a:lnTo>
                    <a:pt x="f21" y="f23"/>
                  </a:lnTo>
                  <a:lnTo>
                    <a:pt x="f20" y="f24"/>
                  </a:lnTo>
                  <a:lnTo>
                    <a:pt x="f21" y="f25"/>
                  </a:lnTo>
                  <a:lnTo>
                    <a:pt x="f20" y="f26"/>
                  </a:lnTo>
                  <a:lnTo>
                    <a:pt x="f20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2" y="f34"/>
                  </a:lnTo>
                  <a:lnTo>
                    <a:pt x="f28" y="f35"/>
                  </a:lnTo>
                  <a:lnTo>
                    <a:pt x="f28" y="f36"/>
                  </a:lnTo>
                  <a:lnTo>
                    <a:pt x="f28" y="f37"/>
                  </a:lnTo>
                  <a:lnTo>
                    <a:pt x="f38" y="f39"/>
                  </a:lnTo>
                  <a:lnTo>
                    <a:pt x="f38" y="f5"/>
                  </a:lnTo>
                  <a:lnTo>
                    <a:pt x="f30" y="f39"/>
                  </a:lnTo>
                  <a:lnTo>
                    <a:pt x="f40" y="f37"/>
                  </a:lnTo>
                  <a:lnTo>
                    <a:pt x="f41" y="f37"/>
                  </a:lnTo>
                  <a:lnTo>
                    <a:pt x="f24" y="f36"/>
                  </a:lnTo>
                  <a:lnTo>
                    <a:pt x="f42" y="f43"/>
                  </a:lnTo>
                  <a:lnTo>
                    <a:pt x="f44" y="f34"/>
                  </a:lnTo>
                  <a:lnTo>
                    <a:pt x="f26" y="f29"/>
                  </a:lnTo>
                  <a:lnTo>
                    <a:pt x="f42" y="f45"/>
                  </a:lnTo>
                  <a:lnTo>
                    <a:pt x="f29" y="f27"/>
                  </a:lnTo>
                  <a:lnTo>
                    <a:pt x="f31" y="f42"/>
                  </a:lnTo>
                  <a:lnTo>
                    <a:pt x="f46" y="f26"/>
                  </a:lnTo>
                  <a:lnTo>
                    <a:pt x="f7" y="f47"/>
                  </a:lnTo>
                  <a:lnTo>
                    <a:pt x="f36" y="f23"/>
                  </a:lnTo>
                  <a:lnTo>
                    <a:pt x="f39" y="f48"/>
                  </a:lnTo>
                  <a:lnTo>
                    <a:pt x="f5" y="f49"/>
                  </a:lnTo>
                  <a:lnTo>
                    <a:pt x="f39" y="f49"/>
                  </a:lnTo>
                  <a:lnTo>
                    <a:pt x="f39" y="f11"/>
                  </a:lnTo>
                  <a:lnTo>
                    <a:pt x="f7" y="f8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2" name="Freeform 327">
              <a:extLst>
                <a:ext uri="{FF2B5EF4-FFF2-40B4-BE49-F238E27FC236}">
                  <a16:creationId xmlns:a16="http://schemas.microsoft.com/office/drawing/2014/main" id="{E8638F21-5746-2124-932B-4F6C99825AF7}"/>
                </a:ext>
              </a:extLst>
            </p:cNvPr>
            <p:cNvSpPr/>
            <p:nvPr/>
          </p:nvSpPr>
          <p:spPr>
            <a:xfrm>
              <a:off x="6957310" y="3372717"/>
              <a:ext cx="26142" cy="1712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"/>
                <a:gd name="f7" fmla="val 12"/>
                <a:gd name="f8" fmla="val 6"/>
                <a:gd name="f9" fmla="+- 0 0 -90"/>
                <a:gd name="f10" fmla="*/ f3 1 18"/>
                <a:gd name="f11" fmla="*/ f4 1 12"/>
                <a:gd name="f12" fmla="val f5"/>
                <a:gd name="f13" fmla="val f6"/>
                <a:gd name="f14" fmla="val f7"/>
                <a:gd name="f15" fmla="*/ f9 f0 1"/>
                <a:gd name="f16" fmla="+- f14 0 f12"/>
                <a:gd name="f17" fmla="+- f13 0 f12"/>
                <a:gd name="f18" fmla="*/ f15 1 f2"/>
                <a:gd name="f19" fmla="*/ f17 1 18"/>
                <a:gd name="f20" fmla="*/ f16 1 12"/>
                <a:gd name="f21" fmla="*/ 0 f17 1"/>
                <a:gd name="f22" fmla="*/ 0 f16 1"/>
                <a:gd name="f23" fmla="*/ 2147483646 f17 1"/>
                <a:gd name="f24" fmla="*/ 2147483646 f16 1"/>
                <a:gd name="f25" fmla="+- f18 0 f1"/>
                <a:gd name="f26" fmla="*/ f21 1 18"/>
                <a:gd name="f27" fmla="*/ f22 1 12"/>
                <a:gd name="f28" fmla="*/ f23 1 18"/>
                <a:gd name="f29" fmla="*/ f24 1 12"/>
                <a:gd name="f30" fmla="*/ 0 1 f19"/>
                <a:gd name="f31" fmla="*/ f13 1 f19"/>
                <a:gd name="f32" fmla="*/ 0 1 f20"/>
                <a:gd name="f33" fmla="*/ f14 1 f20"/>
                <a:gd name="f34" fmla="*/ f26 1 f19"/>
                <a:gd name="f35" fmla="*/ f27 1 f20"/>
                <a:gd name="f36" fmla="*/ f28 1 f19"/>
                <a:gd name="f37" fmla="*/ f29 1 f20"/>
                <a:gd name="f38" fmla="*/ f30 f10 1"/>
                <a:gd name="f39" fmla="*/ f31 f10 1"/>
                <a:gd name="f40" fmla="*/ f33 f11 1"/>
                <a:gd name="f41" fmla="*/ f32 f11 1"/>
                <a:gd name="f42" fmla="*/ f34 f10 1"/>
                <a:gd name="f43" fmla="*/ f35 f11 1"/>
                <a:gd name="f44" fmla="*/ f36 f10 1"/>
                <a:gd name="f45" fmla="*/ f37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">
                  <a:pos x="f42" y="f43"/>
                </a:cxn>
                <a:cxn ang="f25">
                  <a:pos x="f44" y="f45"/>
                </a:cxn>
                <a:cxn ang="f25">
                  <a:pos x="f44" y="f45"/>
                </a:cxn>
                <a:cxn ang="f25">
                  <a:pos x="f44" y="f43"/>
                </a:cxn>
                <a:cxn ang="f25">
                  <a:pos x="f42" y="f43"/>
                </a:cxn>
              </a:cxnLst>
              <a:rect l="f38" t="f41" r="f39" b="f40"/>
              <a:pathLst>
                <a:path w="18" h="12">
                  <a:moveTo>
                    <a:pt x="f5" y="f5"/>
                  </a:moveTo>
                  <a:lnTo>
                    <a:pt x="f6" y="f7"/>
                  </a:lnTo>
                  <a:lnTo>
                    <a:pt x="f8" y="f5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3" name="Freeform 328">
              <a:extLst>
                <a:ext uri="{FF2B5EF4-FFF2-40B4-BE49-F238E27FC236}">
                  <a16:creationId xmlns:a16="http://schemas.microsoft.com/office/drawing/2014/main" id="{A2EE7C42-00EE-ACBE-63AB-03CCFCD28B27}"/>
                </a:ext>
              </a:extLst>
            </p:cNvPr>
            <p:cNvSpPr/>
            <p:nvPr/>
          </p:nvSpPr>
          <p:spPr>
            <a:xfrm>
              <a:off x="6919738" y="3335355"/>
              <a:ext cx="14703" cy="233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"/>
                <a:gd name="f7" fmla="val 18"/>
                <a:gd name="f8" fmla="+- 0 0 -90"/>
                <a:gd name="f9" fmla="*/ f3 1 12"/>
                <a:gd name="f10" fmla="*/ f4 1 18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6 1 12"/>
                <a:gd name="f19" fmla="*/ f15 1 18"/>
                <a:gd name="f20" fmla="*/ 0 f16 1"/>
                <a:gd name="f21" fmla="*/ 0 f15 1"/>
                <a:gd name="f22" fmla="*/ 2147483646 f16 1"/>
                <a:gd name="f23" fmla="*/ 2147483646 f15 1"/>
                <a:gd name="f24" fmla="+- f17 0 f1"/>
                <a:gd name="f25" fmla="*/ f20 1 12"/>
                <a:gd name="f26" fmla="*/ f21 1 18"/>
                <a:gd name="f27" fmla="*/ f22 1 12"/>
                <a:gd name="f28" fmla="*/ f23 1 18"/>
                <a:gd name="f29" fmla="*/ 0 1 f18"/>
                <a:gd name="f30" fmla="*/ f12 1 f18"/>
                <a:gd name="f31" fmla="*/ 0 1 f19"/>
                <a:gd name="f32" fmla="*/ f13 1 f19"/>
                <a:gd name="f33" fmla="*/ f25 1 f18"/>
                <a:gd name="f34" fmla="*/ f26 1 f19"/>
                <a:gd name="f35" fmla="*/ f27 1 f18"/>
                <a:gd name="f36" fmla="*/ f28 1 f19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9 1"/>
                <a:gd name="f44" fmla="*/ f36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3" y="f44"/>
                </a:cxn>
                <a:cxn ang="f24">
                  <a:pos x="f43" y="f44"/>
                </a:cxn>
                <a:cxn ang="f24">
                  <a:pos x="f41" y="f42"/>
                </a:cxn>
              </a:cxnLst>
              <a:rect l="f37" t="f40" r="f38" b="f39"/>
              <a:pathLst>
                <a:path w="12" h="18">
                  <a:moveTo>
                    <a:pt x="f5" y="f5"/>
                  </a:moveTo>
                  <a:lnTo>
                    <a:pt x="f6" y="f7"/>
                  </a:lnTo>
                  <a:lnTo>
                    <a:pt x="f6" y="f6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4" name="Freeform 334">
              <a:extLst>
                <a:ext uri="{FF2B5EF4-FFF2-40B4-BE49-F238E27FC236}">
                  <a16:creationId xmlns:a16="http://schemas.microsoft.com/office/drawing/2014/main" id="{0EFE3C4F-D01F-63B3-82DE-CE2EEE6ED1D4}"/>
                </a:ext>
              </a:extLst>
            </p:cNvPr>
            <p:cNvSpPr/>
            <p:nvPr/>
          </p:nvSpPr>
          <p:spPr>
            <a:xfrm>
              <a:off x="6205811" y="1949737"/>
              <a:ext cx="274466" cy="57449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75"/>
                <a:gd name="f8" fmla="val 55"/>
                <a:gd name="f9" fmla="val 32"/>
                <a:gd name="f10" fmla="val 54"/>
                <a:gd name="f11" fmla="val 30"/>
                <a:gd name="f12" fmla="val 52"/>
                <a:gd name="f13" fmla="val 31"/>
                <a:gd name="f14" fmla="val 47"/>
                <a:gd name="f15" fmla="val 46"/>
                <a:gd name="f16" fmla="val 45"/>
                <a:gd name="f17" fmla="val 29"/>
                <a:gd name="f18" fmla="val 43"/>
                <a:gd name="f19" fmla="val 42"/>
                <a:gd name="f20" fmla="val 40"/>
                <a:gd name="f21" fmla="val 28"/>
                <a:gd name="f22" fmla="val 38"/>
                <a:gd name="f23" fmla="val 36"/>
                <a:gd name="f24" fmla="val 27"/>
                <a:gd name="f25" fmla="val 21"/>
                <a:gd name="f26" fmla="val 17"/>
                <a:gd name="f27" fmla="val 25"/>
                <a:gd name="f28" fmla="val 15"/>
                <a:gd name="f29" fmla="val 14"/>
                <a:gd name="f30" fmla="val 10"/>
                <a:gd name="f31" fmla="val 26"/>
                <a:gd name="f32" fmla="val 9"/>
                <a:gd name="f33" fmla="val 8"/>
                <a:gd name="f34" fmla="val 6"/>
                <a:gd name="f35" fmla="val 3"/>
                <a:gd name="f36" fmla="val 24"/>
                <a:gd name="f37" fmla="val 19"/>
                <a:gd name="f38" fmla="val 1"/>
                <a:gd name="f39" fmla="val 12"/>
                <a:gd name="f40" fmla="val 11"/>
                <a:gd name="f41" fmla="val 5"/>
                <a:gd name="f42" fmla="val 2"/>
                <a:gd name="f43" fmla="val 4"/>
                <a:gd name="f44" fmla="val 13"/>
                <a:gd name="f45" fmla="val 7"/>
                <a:gd name="f46" fmla="val 23"/>
                <a:gd name="f47" fmla="val 35"/>
                <a:gd name="f48" fmla="val 49"/>
                <a:gd name="f49" fmla="val 53"/>
                <a:gd name="f50" fmla="val 58"/>
                <a:gd name="f51" fmla="val 66"/>
                <a:gd name="f52" fmla="val 71"/>
                <a:gd name="f53" fmla="val 73"/>
                <a:gd name="f54" fmla="val 20"/>
                <a:gd name="f55" fmla="val 72"/>
                <a:gd name="f56" fmla="val 22"/>
                <a:gd name="f57" fmla="+- 0 0 -90"/>
                <a:gd name="f58" fmla="*/ f3 1 34"/>
                <a:gd name="f59" fmla="*/ f4 1 75"/>
                <a:gd name="f60" fmla="val f5"/>
                <a:gd name="f61" fmla="val f6"/>
                <a:gd name="f62" fmla="val f7"/>
                <a:gd name="f63" fmla="*/ f57 f0 1"/>
                <a:gd name="f64" fmla="+- f62 0 f60"/>
                <a:gd name="f65" fmla="+- f61 0 f60"/>
                <a:gd name="f66" fmla="*/ f63 1 f2"/>
                <a:gd name="f67" fmla="*/ f65 1 34"/>
                <a:gd name="f68" fmla="*/ f64 1 75"/>
                <a:gd name="f69" fmla="*/ 2147483646 f65 1"/>
                <a:gd name="f70" fmla="*/ 2147483646 f64 1"/>
                <a:gd name="f71" fmla="*/ 0 f64 1"/>
                <a:gd name="f72" fmla="*/ 0 f65 1"/>
                <a:gd name="f73" fmla="+- f66 0 f1"/>
                <a:gd name="f74" fmla="*/ f69 1 34"/>
                <a:gd name="f75" fmla="*/ f70 1 75"/>
                <a:gd name="f76" fmla="*/ f71 1 75"/>
                <a:gd name="f77" fmla="*/ f72 1 34"/>
                <a:gd name="f78" fmla="*/ 0 1 f67"/>
                <a:gd name="f79" fmla="*/ f61 1 f67"/>
                <a:gd name="f80" fmla="*/ 0 1 f68"/>
                <a:gd name="f81" fmla="*/ f62 1 f68"/>
                <a:gd name="f82" fmla="*/ f74 1 f67"/>
                <a:gd name="f83" fmla="*/ f75 1 f68"/>
                <a:gd name="f84" fmla="*/ f76 1 f68"/>
                <a:gd name="f85" fmla="*/ f77 1 f67"/>
                <a:gd name="f86" fmla="*/ f78 f58 1"/>
                <a:gd name="f87" fmla="*/ f79 f58 1"/>
                <a:gd name="f88" fmla="*/ f81 f59 1"/>
                <a:gd name="f89" fmla="*/ f80 f59 1"/>
                <a:gd name="f90" fmla="*/ f82 f58 1"/>
                <a:gd name="f91" fmla="*/ f83 f59 1"/>
                <a:gd name="f92" fmla="*/ f84 f59 1"/>
                <a:gd name="f93" fmla="*/ f85 f5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2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3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</a:cxnLst>
              <a:rect l="f86" t="f89" r="f87" b="f88"/>
              <a:pathLst>
                <a:path w="34" h="75">
                  <a:moveTo>
                    <a:pt x="f6" y="f8"/>
                  </a:moveTo>
                  <a:cubicBezTo>
                    <a:pt x="f9" y="f10"/>
                    <a:pt x="f9" y="f10"/>
                    <a:pt x="f9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3" y="f14"/>
                    <a:pt x="f11" y="f15"/>
                    <a:pt x="f11" y="f16"/>
                  </a:cubicBezTo>
                  <a:cubicBezTo>
                    <a:pt x="f17" y="f16"/>
                    <a:pt x="f11" y="f18"/>
                    <a:pt x="f11" y="f18"/>
                  </a:cubicBezTo>
                  <a:cubicBezTo>
                    <a:pt x="f17" y="f19"/>
                    <a:pt x="f17" y="f19"/>
                    <a:pt x="f17" y="f19"/>
                  </a:cubicBezTo>
                  <a:cubicBezTo>
                    <a:pt x="f17" y="f20"/>
                    <a:pt x="f17" y="f20"/>
                    <a:pt x="f17" y="f20"/>
                  </a:cubicBezTo>
                  <a:cubicBezTo>
                    <a:pt x="f21" y="f22"/>
                    <a:pt x="f21" y="f22"/>
                    <a:pt x="f21" y="f22"/>
                  </a:cubicBezTo>
                  <a:cubicBezTo>
                    <a:pt x="f11" y="f23"/>
                    <a:pt x="f11" y="f23"/>
                    <a:pt x="f11" y="f23"/>
                  </a:cubicBezTo>
                  <a:cubicBezTo>
                    <a:pt x="f24" y="f24"/>
                    <a:pt x="f24" y="f24"/>
                    <a:pt x="f24" y="f24"/>
                  </a:cubicBezTo>
                  <a:cubicBezTo>
                    <a:pt x="f11" y="f25"/>
                    <a:pt x="f11" y="f25"/>
                    <a:pt x="f11" y="f25"/>
                  </a:cubicBezTo>
                  <a:cubicBezTo>
                    <a:pt x="f21" y="f26"/>
                    <a:pt x="f21" y="f26"/>
                    <a:pt x="f21" y="f26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27" y="f29"/>
                    <a:pt x="f27" y="f29"/>
                    <a:pt x="f27" y="f29"/>
                  </a:cubicBezTo>
                  <a:cubicBezTo>
                    <a:pt x="f27" y="f30"/>
                    <a:pt x="f27" y="f30"/>
                    <a:pt x="f27" y="f30"/>
                  </a:cubicBezTo>
                  <a:cubicBezTo>
                    <a:pt x="f27" y="f30"/>
                    <a:pt x="f27" y="f30"/>
                    <a:pt x="f27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31" y="f33"/>
                    <a:pt x="f31" y="f33"/>
                    <a:pt x="f31" y="f33"/>
                  </a:cubicBezTo>
                  <a:cubicBezTo>
                    <a:pt x="f24" y="f34"/>
                    <a:pt x="f24" y="f34"/>
                    <a:pt x="f24" y="f34"/>
                  </a:cubicBezTo>
                  <a:cubicBezTo>
                    <a:pt x="f24" y="f35"/>
                    <a:pt x="f24" y="f35"/>
                    <a:pt x="f24" y="f35"/>
                  </a:cubicBezTo>
                  <a:cubicBezTo>
                    <a:pt x="f36" y="f5"/>
                    <a:pt x="f36" y="f5"/>
                    <a:pt x="f36" y="f5"/>
                  </a:cubicBezTo>
                  <a:cubicBezTo>
                    <a:pt x="f37" y="f38"/>
                    <a:pt x="f37" y="f38"/>
                    <a:pt x="f37" y="f38"/>
                  </a:cubicBezTo>
                  <a:cubicBezTo>
                    <a:pt x="f26" y="f35"/>
                    <a:pt x="f26" y="f35"/>
                    <a:pt x="f26" y="f35"/>
                  </a:cubicBezTo>
                  <a:cubicBezTo>
                    <a:pt x="f28" y="f33"/>
                    <a:pt x="f28" y="f33"/>
                    <a:pt x="f28" y="f33"/>
                  </a:cubicBezTo>
                  <a:cubicBezTo>
                    <a:pt x="f39" y="f40"/>
                    <a:pt x="f39" y="f40"/>
                    <a:pt x="f39" y="f40"/>
                  </a:cubicBezTo>
                  <a:cubicBezTo>
                    <a:pt x="f40" y="f30"/>
                    <a:pt x="f40" y="f30"/>
                    <a:pt x="f40" y="f30"/>
                  </a:cubicBezTo>
                  <a:cubicBezTo>
                    <a:pt x="f33" y="f40"/>
                    <a:pt x="f33" y="f40"/>
                    <a:pt x="f33" y="f40"/>
                  </a:cubicBezTo>
                  <a:cubicBezTo>
                    <a:pt x="f41" y="f30"/>
                    <a:pt x="f41" y="f30"/>
                    <a:pt x="f41" y="f30"/>
                  </a:cubicBezTo>
                  <a:cubicBezTo>
                    <a:pt x="f35" y="f33"/>
                    <a:pt x="f35" y="f33"/>
                    <a:pt x="f35" y="f33"/>
                  </a:cubicBezTo>
                  <a:cubicBezTo>
                    <a:pt x="f42" y="f34"/>
                    <a:pt x="f42" y="f34"/>
                    <a:pt x="f42" y="f34"/>
                  </a:cubicBezTo>
                  <a:cubicBezTo>
                    <a:pt x="f38" y="f33"/>
                    <a:pt x="f38" y="f33"/>
                    <a:pt x="f38" y="f33"/>
                  </a:cubicBezTo>
                  <a:cubicBezTo>
                    <a:pt x="f5" y="f33"/>
                    <a:pt x="f5" y="f33"/>
                    <a:pt x="f5" y="f33"/>
                  </a:cubicBezTo>
                  <a:cubicBezTo>
                    <a:pt x="f38" y="f30"/>
                    <a:pt x="f38" y="f30"/>
                    <a:pt x="f38" y="f30"/>
                  </a:cubicBezTo>
                  <a:cubicBezTo>
                    <a:pt x="f43" y="f44"/>
                    <a:pt x="f43" y="f44"/>
                    <a:pt x="f43" y="f44"/>
                  </a:cubicBezTo>
                  <a:cubicBezTo>
                    <a:pt x="f34" y="f29"/>
                    <a:pt x="f34" y="f29"/>
                    <a:pt x="f34" y="f29"/>
                  </a:cubicBezTo>
                  <a:cubicBezTo>
                    <a:pt x="f45" y="f29"/>
                    <a:pt x="f45" y="f29"/>
                    <a:pt x="f45" y="f29"/>
                  </a:cubicBezTo>
                  <a:cubicBezTo>
                    <a:pt x="f32" y="f37"/>
                    <a:pt x="f32" y="f37"/>
                    <a:pt x="f32" y="f37"/>
                  </a:cubicBezTo>
                  <a:cubicBezTo>
                    <a:pt x="f32" y="f46"/>
                    <a:pt x="f32" y="f46"/>
                    <a:pt x="f32" y="f46"/>
                  </a:cubicBezTo>
                  <a:cubicBezTo>
                    <a:pt x="f32" y="f31"/>
                    <a:pt x="f32" y="f31"/>
                    <a:pt x="f32" y="f31"/>
                  </a:cubicBezTo>
                  <a:cubicBezTo>
                    <a:pt x="f30" y="f17"/>
                    <a:pt x="f30" y="f17"/>
                    <a:pt x="f30" y="f17"/>
                  </a:cubicBezTo>
                  <a:cubicBezTo>
                    <a:pt x="f30" y="f11"/>
                    <a:pt x="f30" y="f11"/>
                    <a:pt x="f30" y="f11"/>
                  </a:cubicBezTo>
                  <a:cubicBezTo>
                    <a:pt x="f30" y="f47"/>
                    <a:pt x="f30" y="f47"/>
                    <a:pt x="f30" y="f47"/>
                  </a:cubicBezTo>
                  <a:cubicBezTo>
                    <a:pt x="f30" y="f23"/>
                    <a:pt x="f30" y="f23"/>
                    <a:pt x="f30" y="f23"/>
                  </a:cubicBezTo>
                  <a:cubicBezTo>
                    <a:pt x="f39" y="f23"/>
                    <a:pt x="f39" y="f23"/>
                    <a:pt x="f39" y="f23"/>
                  </a:cubicBezTo>
                  <a:cubicBezTo>
                    <a:pt x="f29" y="f20"/>
                    <a:pt x="f29" y="f20"/>
                    <a:pt x="f29" y="f20"/>
                  </a:cubicBezTo>
                  <a:cubicBezTo>
                    <a:pt x="f32" y="f48"/>
                    <a:pt x="f32" y="f48"/>
                    <a:pt x="f32" y="f48"/>
                  </a:cubicBezTo>
                  <a:cubicBezTo>
                    <a:pt x="f43" y="f49"/>
                    <a:pt x="f43" y="f49"/>
                    <a:pt x="f43" y="f49"/>
                  </a:cubicBezTo>
                  <a:cubicBezTo>
                    <a:pt x="f38" y="f50"/>
                    <a:pt x="f38" y="f50"/>
                    <a:pt x="f38" y="f50"/>
                  </a:cubicBezTo>
                  <a:cubicBezTo>
                    <a:pt x="f42" y="f51"/>
                    <a:pt x="f42" y="f51"/>
                    <a:pt x="f42" y="f51"/>
                  </a:cubicBezTo>
                  <a:cubicBezTo>
                    <a:pt x="f35" y="f52"/>
                    <a:pt x="f35" y="f52"/>
                    <a:pt x="f35" y="f52"/>
                  </a:cubicBezTo>
                  <a:cubicBezTo>
                    <a:pt x="f41" y="f53"/>
                    <a:pt x="f41" y="f53"/>
                    <a:pt x="f41" y="f53"/>
                  </a:cubicBezTo>
                  <a:cubicBezTo>
                    <a:pt x="f45" y="f7"/>
                    <a:pt x="f45" y="f7"/>
                    <a:pt x="f45" y="f7"/>
                  </a:cubicBezTo>
                  <a:cubicBezTo>
                    <a:pt x="f39" y="f7"/>
                    <a:pt x="f39" y="f7"/>
                    <a:pt x="f39" y="f7"/>
                  </a:cubicBezTo>
                  <a:cubicBezTo>
                    <a:pt x="f54" y="f55"/>
                    <a:pt x="f54" y="f55"/>
                    <a:pt x="f54" y="f55"/>
                  </a:cubicBezTo>
                  <a:cubicBezTo>
                    <a:pt x="f56" y="f55"/>
                    <a:pt x="f56" y="f55"/>
                    <a:pt x="f56" y="f55"/>
                  </a:cubicBezTo>
                  <a:cubicBezTo>
                    <a:pt x="f6" y="f50"/>
                    <a:pt x="f6" y="f50"/>
                    <a:pt x="f6" y="f50"/>
                  </a:cubicBez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5" name="Freeform 335">
              <a:extLst>
                <a:ext uri="{FF2B5EF4-FFF2-40B4-BE49-F238E27FC236}">
                  <a16:creationId xmlns:a16="http://schemas.microsoft.com/office/drawing/2014/main" id="{0A1DDCFF-B443-DC4A-3DA1-33CF13FE06A9}"/>
                </a:ext>
              </a:extLst>
            </p:cNvPr>
            <p:cNvSpPr/>
            <p:nvPr/>
          </p:nvSpPr>
          <p:spPr>
            <a:xfrm>
              <a:off x="6488443" y="2860507"/>
              <a:ext cx="16340" cy="778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"/>
                <a:gd name="f7" fmla="val 6"/>
                <a:gd name="f8" fmla="+- 0 0 -90"/>
                <a:gd name="f9" fmla="*/ f3 1 12"/>
                <a:gd name="f10" fmla="*/ f4 1 6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5 1 6"/>
                <a:gd name="f19" fmla="*/ f16 1 12"/>
                <a:gd name="f20" fmla="*/ 2147483646 f16 1"/>
                <a:gd name="f21" fmla="*/ 2147483646 f15 1"/>
                <a:gd name="f22" fmla="*/ 0 f16 1"/>
                <a:gd name="f23" fmla="*/ 0 f15 1"/>
                <a:gd name="f24" fmla="+- f17 0 f1"/>
                <a:gd name="f25" fmla="*/ f20 1 12"/>
                <a:gd name="f26" fmla="*/ f21 1 6"/>
                <a:gd name="f27" fmla="*/ f22 1 12"/>
                <a:gd name="f28" fmla="*/ f23 1 6"/>
                <a:gd name="f29" fmla="*/ 0 1 f19"/>
                <a:gd name="f30" fmla="*/ f12 1 f19"/>
                <a:gd name="f31" fmla="*/ 0 1 f18"/>
                <a:gd name="f32" fmla="*/ f13 1 f18"/>
                <a:gd name="f33" fmla="*/ f25 1 f19"/>
                <a:gd name="f34" fmla="*/ f26 1 f18"/>
                <a:gd name="f35" fmla="*/ f27 1 f19"/>
                <a:gd name="f36" fmla="*/ f28 1 f18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9 1"/>
                <a:gd name="f44" fmla="*/ f36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3" y="f44"/>
                </a:cxn>
                <a:cxn ang="f24">
                  <a:pos x="f43" y="f42"/>
                </a:cxn>
                <a:cxn ang="f24">
                  <a:pos x="f41" y="f42"/>
                </a:cxn>
              </a:cxnLst>
              <a:rect l="f37" t="f40" r="f38" b="f39"/>
              <a:pathLst>
                <a:path w="12" h="6">
                  <a:moveTo>
                    <a:pt x="f6" y="f7"/>
                  </a:moveTo>
                  <a:lnTo>
                    <a:pt x="f5" y="f5"/>
                  </a:lnTo>
                  <a:lnTo>
                    <a:pt x="f5" y="f7"/>
                  </a:lnTo>
                  <a:lnTo>
                    <a:pt x="f6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6" name="Freeform 336">
              <a:extLst>
                <a:ext uri="{FF2B5EF4-FFF2-40B4-BE49-F238E27FC236}">
                  <a16:creationId xmlns:a16="http://schemas.microsoft.com/office/drawing/2014/main" id="{08CF87A8-C889-544A-4829-5D35482BE043}"/>
                </a:ext>
              </a:extLst>
            </p:cNvPr>
            <p:cNvSpPr/>
            <p:nvPr/>
          </p:nvSpPr>
          <p:spPr>
            <a:xfrm>
              <a:off x="6390049" y="1306575"/>
              <a:ext cx="3902906" cy="1991243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483"/>
                <a:gd name="f8" fmla="val 260"/>
                <a:gd name="f9" fmla="val 482"/>
                <a:gd name="f10" fmla="val 127"/>
                <a:gd name="f11" fmla="val 96"/>
                <a:gd name="f12" fmla="val 480"/>
                <a:gd name="f13" fmla="val 95"/>
                <a:gd name="f14" fmla="val 478"/>
                <a:gd name="f15" fmla="val 94"/>
                <a:gd name="f16" fmla="val 474"/>
                <a:gd name="f17" fmla="val 90"/>
                <a:gd name="f18" fmla="val 473"/>
                <a:gd name="f19" fmla="val 89"/>
                <a:gd name="f20" fmla="val 470"/>
                <a:gd name="f21" fmla="val 463"/>
                <a:gd name="f22" fmla="val 88"/>
                <a:gd name="f23" fmla="val 459"/>
                <a:gd name="f24" fmla="val 87"/>
                <a:gd name="f25" fmla="val 456"/>
                <a:gd name="f26" fmla="val 454"/>
                <a:gd name="f27" fmla="val 455"/>
                <a:gd name="f28" fmla="val 451"/>
                <a:gd name="f29" fmla="val 97"/>
                <a:gd name="f30" fmla="val 450"/>
                <a:gd name="f31" fmla="val 448"/>
                <a:gd name="f32" fmla="val 445"/>
                <a:gd name="f33" fmla="val 91"/>
                <a:gd name="f34" fmla="val 440"/>
                <a:gd name="f35" fmla="val 437"/>
                <a:gd name="f36" fmla="val 431"/>
                <a:gd name="f37" fmla="val 426"/>
                <a:gd name="f38" fmla="val 423"/>
                <a:gd name="f39" fmla="val 419"/>
                <a:gd name="f40" fmla="val 80"/>
                <a:gd name="f41" fmla="val 413"/>
                <a:gd name="f42" fmla="val 77"/>
                <a:gd name="f43" fmla="val 403"/>
                <a:gd name="f44" fmla="val 394"/>
                <a:gd name="f45" fmla="val 393"/>
                <a:gd name="f46" fmla="val 75"/>
                <a:gd name="f47" fmla="val 392"/>
                <a:gd name="f48" fmla="val 72"/>
                <a:gd name="f49" fmla="val 386"/>
                <a:gd name="f50" fmla="val 69"/>
                <a:gd name="f51" fmla="val 64"/>
                <a:gd name="f52" fmla="val 362"/>
                <a:gd name="f53" fmla="val 59"/>
                <a:gd name="f54" fmla="val 361"/>
                <a:gd name="f55" fmla="val 61"/>
                <a:gd name="f56" fmla="val 356"/>
                <a:gd name="f57" fmla="val 65"/>
                <a:gd name="f58" fmla="val 357"/>
                <a:gd name="f59" fmla="val 71"/>
                <a:gd name="f60" fmla="val 351"/>
                <a:gd name="f61" fmla="val 73"/>
                <a:gd name="f62" fmla="val 347"/>
                <a:gd name="f63" fmla="val 342"/>
                <a:gd name="f64" fmla="val 70"/>
                <a:gd name="f65" fmla="val 340"/>
                <a:gd name="f66" fmla="val 336"/>
                <a:gd name="f67" fmla="val 332"/>
                <a:gd name="f68" fmla="val 68"/>
                <a:gd name="f69" fmla="val 331"/>
                <a:gd name="f70" fmla="val 74"/>
                <a:gd name="f71" fmla="val 328"/>
                <a:gd name="f72" fmla="val 78"/>
                <a:gd name="f73" fmla="val 323"/>
                <a:gd name="f74" fmla="val 320"/>
                <a:gd name="f75" fmla="val 67"/>
                <a:gd name="f76" fmla="val 60"/>
                <a:gd name="f77" fmla="val 57"/>
                <a:gd name="f78" fmla="val 52"/>
                <a:gd name="f79" fmla="val 316"/>
                <a:gd name="f80" fmla="val 51"/>
                <a:gd name="f81" fmla="val 312"/>
                <a:gd name="f82" fmla="val 310"/>
                <a:gd name="f83" fmla="val 49"/>
                <a:gd name="f84" fmla="val 306"/>
                <a:gd name="f85" fmla="val 46"/>
                <a:gd name="f86" fmla="val 303"/>
                <a:gd name="f87" fmla="val 50"/>
                <a:gd name="f88" fmla="val 301"/>
                <a:gd name="f89" fmla="val 55"/>
                <a:gd name="f90" fmla="val 292"/>
                <a:gd name="f91" fmla="val 287"/>
                <a:gd name="f92" fmla="val 53"/>
                <a:gd name="f93" fmla="val 286"/>
                <a:gd name="f94" fmla="val 277"/>
                <a:gd name="f95" fmla="val 272"/>
                <a:gd name="f96" fmla="val 271"/>
                <a:gd name="f97" fmla="val 268"/>
                <a:gd name="f98" fmla="val 45"/>
                <a:gd name="f99" fmla="val 264"/>
                <a:gd name="f100" fmla="val 44"/>
                <a:gd name="f101" fmla="val 259"/>
                <a:gd name="f102" fmla="val 253"/>
                <a:gd name="f103" fmla="val 247"/>
                <a:gd name="f104" fmla="val 251"/>
                <a:gd name="f105" fmla="val 255"/>
                <a:gd name="f106" fmla="val 48"/>
                <a:gd name="f107" fmla="val 262"/>
                <a:gd name="f108" fmla="val 39"/>
                <a:gd name="f109" fmla="val 266"/>
                <a:gd name="f110" fmla="val 35"/>
                <a:gd name="f111" fmla="val 270"/>
                <a:gd name="f112" fmla="val 29"/>
                <a:gd name="f113" fmla="val 19"/>
                <a:gd name="f114" fmla="val 12"/>
                <a:gd name="f115" fmla="val 254"/>
                <a:gd name="f116" fmla="val 11"/>
                <a:gd name="f117" fmla="val 8"/>
                <a:gd name="f118" fmla="val 249"/>
                <a:gd name="f119" fmla="val 1"/>
                <a:gd name="f120" fmla="val 242"/>
                <a:gd name="f121" fmla="val 241"/>
                <a:gd name="f122" fmla="val 233"/>
                <a:gd name="f123" fmla="val 9"/>
                <a:gd name="f124" fmla="val 231"/>
                <a:gd name="f125" fmla="val 16"/>
                <a:gd name="f126" fmla="val 222"/>
                <a:gd name="f127" fmla="val 22"/>
                <a:gd name="f128" fmla="val 216"/>
                <a:gd name="f129" fmla="val 206"/>
                <a:gd name="f130" fmla="val 23"/>
                <a:gd name="f131" fmla="val 195"/>
                <a:gd name="f132" fmla="val 190"/>
                <a:gd name="f133" fmla="val 189"/>
                <a:gd name="f134" fmla="val 188"/>
                <a:gd name="f135" fmla="val 187"/>
                <a:gd name="f136" fmla="val 172"/>
                <a:gd name="f137" fmla="val 169"/>
                <a:gd name="f138" fmla="val 54"/>
                <a:gd name="f139" fmla="val 171"/>
                <a:gd name="f140" fmla="val 63"/>
                <a:gd name="f141" fmla="val 170"/>
                <a:gd name="f142" fmla="val 167"/>
                <a:gd name="f143" fmla="val 162"/>
                <a:gd name="f144" fmla="val 160"/>
                <a:gd name="f145" fmla="val 158"/>
                <a:gd name="f146" fmla="val 66"/>
                <a:gd name="f147" fmla="val 155"/>
                <a:gd name="f148" fmla="val 62"/>
                <a:gd name="f149" fmla="val 152"/>
                <a:gd name="f150" fmla="val 150"/>
                <a:gd name="f151" fmla="val 148"/>
                <a:gd name="f152" fmla="val 149"/>
                <a:gd name="f153" fmla="val 79"/>
                <a:gd name="f154" fmla="val 145"/>
                <a:gd name="f155" fmla="val 143"/>
                <a:gd name="f156" fmla="val 76"/>
                <a:gd name="f157" fmla="val 144"/>
                <a:gd name="f158" fmla="val 58"/>
                <a:gd name="f159" fmla="val 137"/>
                <a:gd name="f160" fmla="val 56"/>
                <a:gd name="f161" fmla="val 131"/>
                <a:gd name="f162" fmla="val 128"/>
                <a:gd name="f163" fmla="val 125"/>
                <a:gd name="f164" fmla="val 123"/>
                <a:gd name="f165" fmla="val 126"/>
                <a:gd name="f166" fmla="val 81"/>
                <a:gd name="f167" fmla="val 86"/>
                <a:gd name="f168" fmla="val 132"/>
                <a:gd name="f169" fmla="val 101"/>
                <a:gd name="f170" fmla="val 121"/>
                <a:gd name="f171" fmla="val 113"/>
                <a:gd name="f172" fmla="val 108"/>
                <a:gd name="f173" fmla="val 103"/>
                <a:gd name="f174" fmla="val 104"/>
                <a:gd name="f175" fmla="val 102"/>
                <a:gd name="f176" fmla="val 98"/>
                <a:gd name="f177" fmla="val 93"/>
                <a:gd name="f178" fmla="val 85"/>
                <a:gd name="f179" fmla="val 99"/>
                <a:gd name="f180" fmla="val 83"/>
                <a:gd name="f181" fmla="val 106"/>
                <a:gd name="f182" fmla="val 107"/>
                <a:gd name="f183" fmla="val 112"/>
                <a:gd name="f184" fmla="val 109"/>
                <a:gd name="f185" fmla="val 100"/>
                <a:gd name="f186" fmla="val 118"/>
                <a:gd name="f187" fmla="val 116"/>
                <a:gd name="f188" fmla="val 43"/>
                <a:gd name="f189" fmla="val 40"/>
                <a:gd name="f190" fmla="val 38"/>
                <a:gd name="f191" fmla="val 41"/>
                <a:gd name="f192" fmla="val 130"/>
                <a:gd name="f193" fmla="val 129"/>
                <a:gd name="f194" fmla="val 33"/>
                <a:gd name="f195" fmla="val 30"/>
                <a:gd name="f196" fmla="val 32"/>
                <a:gd name="f197" fmla="val 135"/>
                <a:gd name="f198" fmla="val 31"/>
                <a:gd name="f199" fmla="val 136"/>
                <a:gd name="f200" fmla="val 26"/>
                <a:gd name="f201" fmla="val 133"/>
                <a:gd name="f202" fmla="val 21"/>
                <a:gd name="f203" fmla="val 15"/>
                <a:gd name="f204" fmla="val 14"/>
                <a:gd name="f205" fmla="val 111"/>
                <a:gd name="f206" fmla="val 18"/>
                <a:gd name="f207" fmla="val 24"/>
                <a:gd name="f208" fmla="val 117"/>
                <a:gd name="f209" fmla="val 42"/>
                <a:gd name="f210" fmla="val 114"/>
                <a:gd name="f211" fmla="val 36"/>
                <a:gd name="f212" fmla="val 20"/>
                <a:gd name="f213" fmla="val 17"/>
                <a:gd name="f214" fmla="val 13"/>
                <a:gd name="f215" fmla="val 10"/>
                <a:gd name="f216" fmla="val 4"/>
                <a:gd name="f217" fmla="val 3"/>
                <a:gd name="f218" fmla="val 2"/>
                <a:gd name="f219" fmla="val 6"/>
                <a:gd name="f220" fmla="val 122"/>
                <a:gd name="f221" fmla="val 124"/>
                <a:gd name="f222" fmla="val 7"/>
                <a:gd name="f223" fmla="val 140"/>
                <a:gd name="f224" fmla="val 141"/>
                <a:gd name="f225" fmla="val 157"/>
                <a:gd name="f226" fmla="val 163"/>
                <a:gd name="f227" fmla="val 164"/>
                <a:gd name="f228" fmla="val 168"/>
                <a:gd name="f229" fmla="val 178"/>
                <a:gd name="f230" fmla="val 183"/>
                <a:gd name="f231" fmla="val 185"/>
                <a:gd name="f232" fmla="val 186"/>
                <a:gd name="f233" fmla="val 197"/>
                <a:gd name="f234" fmla="val 199"/>
                <a:gd name="f235" fmla="val 201"/>
                <a:gd name="f236" fmla="val 204"/>
                <a:gd name="f237" fmla="val 205"/>
                <a:gd name="f238" fmla="val 208"/>
                <a:gd name="f239" fmla="val 209"/>
                <a:gd name="f240" fmla="val 34"/>
                <a:gd name="f241" fmla="val 214"/>
                <a:gd name="f242" fmla="val 219"/>
                <a:gd name="f243" fmla="val 220"/>
                <a:gd name="f244" fmla="val 223"/>
                <a:gd name="f245" fmla="val 28"/>
                <a:gd name="f246" fmla="val 225"/>
                <a:gd name="f247" fmla="val 224"/>
                <a:gd name="f248" fmla="val 228"/>
                <a:gd name="f249" fmla="val 232"/>
                <a:gd name="f250" fmla="val 236"/>
                <a:gd name="f251" fmla="val 239"/>
                <a:gd name="f252" fmla="val 244"/>
                <a:gd name="f253" fmla="val 248"/>
                <a:gd name="f254" fmla="val 47"/>
                <a:gd name="f255" fmla="val 250"/>
                <a:gd name="f256" fmla="val 256"/>
                <a:gd name="f257" fmla="val 258"/>
                <a:gd name="f258" fmla="val 257"/>
                <a:gd name="f259" fmla="val 243"/>
                <a:gd name="f260" fmla="val 235"/>
                <a:gd name="f261" fmla="val 229"/>
                <a:gd name="f262" fmla="val 226"/>
                <a:gd name="f263" fmla="val 210"/>
                <a:gd name="f264" fmla="val 82"/>
                <a:gd name="f265" fmla="val 212"/>
                <a:gd name="f266" fmla="val 211"/>
                <a:gd name="f267" fmla="val 213"/>
                <a:gd name="f268" fmla="val 105"/>
                <a:gd name="f269" fmla="val 196"/>
                <a:gd name="f270" fmla="val 191"/>
                <a:gd name="f271" fmla="val 134"/>
                <a:gd name="f272" fmla="val 142"/>
                <a:gd name="f273" fmla="val 198"/>
                <a:gd name="f274" fmla="val 151"/>
                <a:gd name="f275" fmla="val 156"/>
                <a:gd name="f276" fmla="val 194"/>
                <a:gd name="f277" fmla="val 203"/>
                <a:gd name="f278" fmla="val 174"/>
                <a:gd name="f279" fmla="val 182"/>
                <a:gd name="f280" fmla="val 217"/>
                <a:gd name="f281" fmla="val 192"/>
                <a:gd name="f282" fmla="val 240"/>
                <a:gd name="f283" fmla="val 215"/>
                <a:gd name="f284" fmla="val 275"/>
                <a:gd name="f285" fmla="val 282"/>
                <a:gd name="f286" fmla="val 218"/>
                <a:gd name="f287" fmla="val 283"/>
                <a:gd name="f288" fmla="val 289"/>
                <a:gd name="f289" fmla="val 295"/>
                <a:gd name="f290" fmla="val 298"/>
                <a:gd name="f291" fmla="val 200"/>
                <a:gd name="f292" fmla="val 307"/>
                <a:gd name="f293" fmla="val 317"/>
                <a:gd name="f294" fmla="val 325"/>
                <a:gd name="f295" fmla="val 327"/>
                <a:gd name="f296" fmla="val 339"/>
                <a:gd name="f297" fmla="val 334"/>
                <a:gd name="f298" fmla="val 238"/>
                <a:gd name="f299" fmla="val 329"/>
                <a:gd name="f300" fmla="val 326"/>
                <a:gd name="f301" fmla="val 335"/>
                <a:gd name="f302" fmla="val 245"/>
                <a:gd name="f303" fmla="val 345"/>
                <a:gd name="f304" fmla="val 353"/>
                <a:gd name="f305" fmla="val 230"/>
                <a:gd name="f306" fmla="val 358"/>
                <a:gd name="f307" fmla="val 355"/>
                <a:gd name="f308" fmla="val 349"/>
                <a:gd name="f309" fmla="val 348"/>
                <a:gd name="f310" fmla="val 346"/>
                <a:gd name="f311" fmla="val 344"/>
                <a:gd name="f312" fmla="val 341"/>
                <a:gd name="f313" fmla="val 354"/>
                <a:gd name="f314" fmla="val 367"/>
                <a:gd name="f315" fmla="val 165"/>
                <a:gd name="f316" fmla="val 371"/>
                <a:gd name="f317" fmla="val 381"/>
                <a:gd name="f318" fmla="val 400"/>
                <a:gd name="f319" fmla="val 166"/>
                <a:gd name="f320" fmla="val 401"/>
                <a:gd name="f321" fmla="val 402"/>
                <a:gd name="f322" fmla="val 159"/>
                <a:gd name="f323" fmla="val 406"/>
                <a:gd name="f324" fmla="val 153"/>
                <a:gd name="f325" fmla="val 411"/>
                <a:gd name="f326" fmla="val 421"/>
                <a:gd name="f327" fmla="val 433"/>
                <a:gd name="f328" fmla="val 427"/>
                <a:gd name="f329" fmla="val 416"/>
                <a:gd name="f330" fmla="val 173"/>
                <a:gd name="f331" fmla="val 410"/>
                <a:gd name="f332" fmla="val 409"/>
                <a:gd name="f333" fmla="val 175"/>
                <a:gd name="f334" fmla="val 405"/>
                <a:gd name="f335" fmla="val 202"/>
                <a:gd name="f336" fmla="val 418"/>
                <a:gd name="f337" fmla="val 420"/>
                <a:gd name="f338" fmla="val 422"/>
                <a:gd name="f339" fmla="val 193"/>
                <a:gd name="f340" fmla="val 184"/>
                <a:gd name="f341" fmla="val 429"/>
                <a:gd name="f342" fmla="val 177"/>
                <a:gd name="f343" fmla="val 430"/>
                <a:gd name="f344" fmla="val 432"/>
                <a:gd name="f345" fmla="val 435"/>
                <a:gd name="f346" fmla="val 161"/>
                <a:gd name="f347" fmla="val 438"/>
                <a:gd name="f348" fmla="val 439"/>
                <a:gd name="f349" fmla="val 446"/>
                <a:gd name="f350" fmla="val 452"/>
                <a:gd name="f351" fmla="val 453"/>
                <a:gd name="f352" fmla="val 457"/>
                <a:gd name="f353" fmla="val 464"/>
                <a:gd name="f354" fmla="val 472"/>
                <a:gd name="f355" fmla="val 476"/>
                <a:gd name="f356" fmla="val 146"/>
                <a:gd name="f357" fmla="val 479"/>
                <a:gd name="f358" fmla="val 477"/>
                <a:gd name="f359" fmla="+- 0 0 -90"/>
                <a:gd name="f360" fmla="*/ f4 1 483"/>
                <a:gd name="f361" fmla="*/ f5 1 260"/>
                <a:gd name="f362" fmla="val f6"/>
                <a:gd name="f363" fmla="val f7"/>
                <a:gd name="f364" fmla="val f8"/>
                <a:gd name="f365" fmla="*/ f359 f0 1"/>
                <a:gd name="f366" fmla="+- f364 0 f362"/>
                <a:gd name="f367" fmla="+- f363 0 f362"/>
                <a:gd name="f368" fmla="*/ f365 1 f3"/>
                <a:gd name="f369" fmla="*/ f367 1 483"/>
                <a:gd name="f370" fmla="*/ f366 1 260"/>
                <a:gd name="f371" fmla="*/ 2147483646 f367 1"/>
                <a:gd name="f372" fmla="*/ 2147483646 f366 1"/>
                <a:gd name="f373" fmla="+- f368 0 f1"/>
                <a:gd name="f374" fmla="*/ f371 1 483"/>
                <a:gd name="f375" fmla="*/ f372 1 260"/>
                <a:gd name="f376" fmla="*/ 0 1 f369"/>
                <a:gd name="f377" fmla="*/ f363 1 f369"/>
                <a:gd name="f378" fmla="*/ 0 1 f370"/>
                <a:gd name="f379" fmla="*/ f364 1 f370"/>
                <a:gd name="f380" fmla="*/ f374 1 f369"/>
                <a:gd name="f381" fmla="*/ f375 1 f370"/>
                <a:gd name="f382" fmla="*/ f376 f360 1"/>
                <a:gd name="f383" fmla="*/ f377 f360 1"/>
                <a:gd name="f384" fmla="*/ f379 f361 1"/>
                <a:gd name="f385" fmla="*/ f378 f361 1"/>
                <a:gd name="f386" fmla="*/ f380 f360 1"/>
                <a:gd name="f387" fmla="*/ f381 f36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  <a:cxn ang="f373">
                  <a:pos x="f386" y="f387"/>
                </a:cxn>
              </a:cxnLst>
              <a:rect l="f382" t="f385" r="f383" b="f384"/>
              <a:pathLst>
                <a:path w="483" h="260">
                  <a:moveTo>
                    <a:pt x="f9" y="f10"/>
                  </a:moveTo>
                  <a:cubicBezTo>
                    <a:pt x="f7" y="f11"/>
                    <a:pt x="f7" y="f11"/>
                    <a:pt x="f7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4" y="f15"/>
                    <a:pt x="f16" y="f17"/>
                    <a:pt x="f16" y="f17"/>
                  </a:cubicBezTo>
                  <a:cubicBezTo>
                    <a:pt x="f18" y="f19"/>
                    <a:pt x="f20" y="f19"/>
                    <a:pt x="f20" y="f19"/>
                  </a:cubicBezTo>
                  <a:cubicBezTo>
                    <a:pt x="f21" y="f22"/>
                    <a:pt x="f21" y="f22"/>
                    <a:pt x="f21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5" y="f24"/>
                    <a:pt x="f25" y="f24"/>
                    <a:pt x="f25" y="f24"/>
                  </a:cubicBezTo>
                  <a:cubicBezTo>
                    <a:pt x="f26" y="f24"/>
                    <a:pt x="f26" y="f24"/>
                    <a:pt x="f26" y="f24"/>
                  </a:cubicBezTo>
                  <a:cubicBezTo>
                    <a:pt x="f27" y="f13"/>
                    <a:pt x="f27" y="f13"/>
                    <a:pt x="f27" y="f13"/>
                  </a:cubicBezTo>
                  <a:cubicBezTo>
                    <a:pt x="f27" y="f13"/>
                    <a:pt x="f28" y="f29"/>
                    <a:pt x="f28" y="f29"/>
                  </a:cubicBezTo>
                  <a:cubicBezTo>
                    <a:pt x="f30" y="f29"/>
                    <a:pt x="f31" y="f15"/>
                    <a:pt x="f31" y="f15"/>
                  </a:cubicBezTo>
                  <a:cubicBezTo>
                    <a:pt x="f32" y="f33"/>
                    <a:pt x="f32" y="f33"/>
                    <a:pt x="f32" y="f33"/>
                  </a:cubicBezTo>
                  <a:cubicBezTo>
                    <a:pt x="f32" y="f19"/>
                    <a:pt x="f32" y="f19"/>
                    <a:pt x="f32" y="f19"/>
                  </a:cubicBezTo>
                  <a:cubicBezTo>
                    <a:pt x="f34" y="f19"/>
                    <a:pt x="f34" y="f19"/>
                    <a:pt x="f34" y="f19"/>
                  </a:cubicBezTo>
                  <a:cubicBezTo>
                    <a:pt x="f35" y="f17"/>
                    <a:pt x="f35" y="f17"/>
                    <a:pt x="f35" y="f17"/>
                  </a:cubicBezTo>
                  <a:cubicBezTo>
                    <a:pt x="f36" y="f19"/>
                    <a:pt x="f36" y="f19"/>
                    <a:pt x="f36" y="f19"/>
                  </a:cubicBezTo>
                  <a:cubicBezTo>
                    <a:pt x="f37" y="f19"/>
                    <a:pt x="f37" y="f19"/>
                    <a:pt x="f37" y="f19"/>
                  </a:cubicBezTo>
                  <a:cubicBezTo>
                    <a:pt x="f38" y="f17"/>
                    <a:pt x="f38" y="f17"/>
                    <a:pt x="f38" y="f17"/>
                  </a:cubicBezTo>
                  <a:cubicBezTo>
                    <a:pt x="f39" y="f24"/>
                    <a:pt x="f39" y="f24"/>
                    <a:pt x="f39" y="f24"/>
                  </a:cubicBezTo>
                  <a:cubicBezTo>
                    <a:pt x="f39" y="f40"/>
                    <a:pt x="f39" y="f40"/>
                    <a:pt x="f39" y="f40"/>
                  </a:cubicBezTo>
                  <a:cubicBezTo>
                    <a:pt x="f41" y="f42"/>
                    <a:pt x="f41" y="f42"/>
                    <a:pt x="f41" y="f42"/>
                  </a:cubicBezTo>
                  <a:cubicBezTo>
                    <a:pt x="f43" y="f42"/>
                    <a:pt x="f43" y="f42"/>
                    <a:pt x="f43" y="f42"/>
                  </a:cubicBezTo>
                  <a:cubicBezTo>
                    <a:pt x="f44" y="f42"/>
                    <a:pt x="f44" y="f42"/>
                    <a:pt x="f44" y="f42"/>
                  </a:cubicBezTo>
                  <a:cubicBezTo>
                    <a:pt x="f45" y="f46"/>
                    <a:pt x="f45" y="f46"/>
                    <a:pt x="f45" y="f46"/>
                  </a:cubicBezTo>
                  <a:cubicBezTo>
                    <a:pt x="f47" y="f48"/>
                    <a:pt x="f47" y="f48"/>
                    <a:pt x="f47" y="f48"/>
                  </a:cubicBezTo>
                  <a:cubicBezTo>
                    <a:pt x="f49" y="f50"/>
                    <a:pt x="f49" y="f50"/>
                    <a:pt x="f49" y="f50"/>
                  </a:cubicBezTo>
                  <a:cubicBezTo>
                    <a:pt x="f49" y="f51"/>
                    <a:pt x="f49" y="f51"/>
                    <a:pt x="f49" y="f51"/>
                  </a:cubicBezTo>
                  <a:cubicBezTo>
                    <a:pt x="f52" y="f53"/>
                    <a:pt x="f52" y="f53"/>
                    <a:pt x="f52" y="f53"/>
                  </a:cubicBezTo>
                  <a:cubicBezTo>
                    <a:pt x="f54" y="f55"/>
                    <a:pt x="f54" y="f55"/>
                    <a:pt x="f54" y="f55"/>
                  </a:cubicBezTo>
                  <a:cubicBezTo>
                    <a:pt x="f56" y="f57"/>
                    <a:pt x="f56" y="f57"/>
                    <a:pt x="f56" y="f57"/>
                  </a:cubicBezTo>
                  <a:cubicBezTo>
                    <a:pt x="f58" y="f59"/>
                    <a:pt x="f58" y="f59"/>
                    <a:pt x="f58" y="f59"/>
                  </a:cubicBezTo>
                  <a:cubicBezTo>
                    <a:pt x="f60" y="f61"/>
                    <a:pt x="f60" y="f61"/>
                    <a:pt x="f60" y="f61"/>
                  </a:cubicBezTo>
                  <a:cubicBezTo>
                    <a:pt x="f62" y="f48"/>
                    <a:pt x="f62" y="f48"/>
                    <a:pt x="f62" y="f48"/>
                  </a:cubicBezTo>
                  <a:cubicBezTo>
                    <a:pt x="f63" y="f64"/>
                    <a:pt x="f63" y="f64"/>
                    <a:pt x="f63" y="f64"/>
                  </a:cubicBezTo>
                  <a:cubicBezTo>
                    <a:pt x="f65" y="f48"/>
                    <a:pt x="f65" y="f48"/>
                    <a:pt x="f65" y="f48"/>
                  </a:cubicBezTo>
                  <a:cubicBezTo>
                    <a:pt x="f66" y="f59"/>
                    <a:pt x="f66" y="f59"/>
                    <a:pt x="f66" y="f59"/>
                  </a:cubicBezTo>
                  <a:cubicBezTo>
                    <a:pt x="f67" y="f68"/>
                    <a:pt x="f67" y="f68"/>
                    <a:pt x="f67" y="f68"/>
                  </a:cubicBezTo>
                  <a:cubicBezTo>
                    <a:pt x="f69" y="f70"/>
                    <a:pt x="f69" y="f70"/>
                    <a:pt x="f69" y="f70"/>
                  </a:cubicBezTo>
                  <a:cubicBezTo>
                    <a:pt x="f71" y="f72"/>
                    <a:pt x="f71" y="f72"/>
                    <a:pt x="f71" y="f72"/>
                  </a:cubicBezTo>
                  <a:cubicBezTo>
                    <a:pt x="f73" y="f61"/>
                    <a:pt x="f73" y="f61"/>
                    <a:pt x="f73" y="f61"/>
                  </a:cubicBezTo>
                  <a:cubicBezTo>
                    <a:pt x="f74" y="f75"/>
                    <a:pt x="f74" y="f75"/>
                    <a:pt x="f74" y="f75"/>
                  </a:cubicBezTo>
                  <a:cubicBezTo>
                    <a:pt x="f73" y="f76"/>
                    <a:pt x="f73" y="f76"/>
                    <a:pt x="f73" y="f76"/>
                  </a:cubicBezTo>
                  <a:cubicBezTo>
                    <a:pt x="f73" y="f77"/>
                    <a:pt x="f73" y="f77"/>
                    <a:pt x="f73" y="f77"/>
                  </a:cubicBezTo>
                  <a:cubicBezTo>
                    <a:pt x="f74" y="f78"/>
                    <a:pt x="f74" y="f78"/>
                    <a:pt x="f74" y="f78"/>
                  </a:cubicBezTo>
                  <a:cubicBezTo>
                    <a:pt x="f79" y="f80"/>
                    <a:pt x="f79" y="f80"/>
                    <a:pt x="f79" y="f80"/>
                  </a:cubicBezTo>
                  <a:cubicBezTo>
                    <a:pt x="f81" y="f80"/>
                    <a:pt x="f81" y="f80"/>
                    <a:pt x="f81" y="f80"/>
                  </a:cubicBezTo>
                  <a:cubicBezTo>
                    <a:pt x="f82" y="f83"/>
                    <a:pt x="f82" y="f83"/>
                    <a:pt x="f82" y="f83"/>
                  </a:cubicBezTo>
                  <a:cubicBezTo>
                    <a:pt x="f84" y="f85"/>
                    <a:pt x="f84" y="f85"/>
                    <a:pt x="f84" y="f85"/>
                  </a:cubicBezTo>
                  <a:cubicBezTo>
                    <a:pt x="f86" y="f87"/>
                    <a:pt x="f86" y="f87"/>
                    <a:pt x="f86" y="f87"/>
                  </a:cubicBezTo>
                  <a:cubicBezTo>
                    <a:pt x="f88" y="f89"/>
                    <a:pt x="f88" y="f89"/>
                    <a:pt x="f88" y="f89"/>
                  </a:cubicBezTo>
                  <a:cubicBezTo>
                    <a:pt x="f90" y="f89"/>
                    <a:pt x="f90" y="f89"/>
                    <a:pt x="f90" y="f89"/>
                  </a:cubicBezTo>
                  <a:cubicBezTo>
                    <a:pt x="f91" y="f92"/>
                    <a:pt x="f91" y="f92"/>
                    <a:pt x="f91" y="f92"/>
                  </a:cubicBezTo>
                  <a:cubicBezTo>
                    <a:pt x="f93" y="f83"/>
                    <a:pt x="f93" y="f83"/>
                    <a:pt x="f93" y="f83"/>
                  </a:cubicBezTo>
                  <a:cubicBezTo>
                    <a:pt x="f94" y="f83"/>
                    <a:pt x="f94" y="f83"/>
                    <a:pt x="f94" y="f83"/>
                  </a:cubicBezTo>
                  <a:cubicBezTo>
                    <a:pt x="f95" y="f78"/>
                    <a:pt x="f95" y="f78"/>
                    <a:pt x="f95" y="f78"/>
                  </a:cubicBezTo>
                  <a:cubicBezTo>
                    <a:pt x="f96" y="f83"/>
                    <a:pt x="f96" y="f83"/>
                    <a:pt x="f96" y="f83"/>
                  </a:cubicBezTo>
                  <a:cubicBezTo>
                    <a:pt x="f97" y="f98"/>
                    <a:pt x="f97" y="f98"/>
                    <a:pt x="f97" y="f98"/>
                  </a:cubicBezTo>
                  <a:cubicBezTo>
                    <a:pt x="f99" y="f100"/>
                    <a:pt x="f99" y="f100"/>
                    <a:pt x="f99" y="f100"/>
                  </a:cubicBezTo>
                  <a:cubicBezTo>
                    <a:pt x="f101" y="f83"/>
                    <a:pt x="f101" y="f83"/>
                    <a:pt x="f101" y="f83"/>
                  </a:cubicBezTo>
                  <a:cubicBezTo>
                    <a:pt x="f102" y="f78"/>
                    <a:pt x="f102" y="f78"/>
                    <a:pt x="f102" y="f78"/>
                  </a:cubicBezTo>
                  <a:cubicBezTo>
                    <a:pt x="f103" y="f77"/>
                    <a:pt x="f103" y="f77"/>
                    <a:pt x="f103" y="f77"/>
                  </a:cubicBezTo>
                  <a:cubicBezTo>
                    <a:pt x="f104" y="f80"/>
                    <a:pt x="f104" y="f80"/>
                    <a:pt x="f104" y="f80"/>
                  </a:cubicBezTo>
                  <a:cubicBezTo>
                    <a:pt x="f105" y="f106"/>
                    <a:pt x="f105" y="f106"/>
                    <a:pt x="f105" y="f106"/>
                  </a:cubicBezTo>
                  <a:cubicBezTo>
                    <a:pt x="f107" y="f108"/>
                    <a:pt x="f107" y="f108"/>
                    <a:pt x="f107" y="f108"/>
                  </a:cubicBezTo>
                  <a:cubicBezTo>
                    <a:pt x="f109" y="f110"/>
                    <a:pt x="f109" y="f110"/>
                    <a:pt x="f109" y="f110"/>
                  </a:cubicBezTo>
                  <a:cubicBezTo>
                    <a:pt x="f111" y="f112"/>
                    <a:pt x="f111" y="f112"/>
                    <a:pt x="f111" y="f112"/>
                  </a:cubicBezTo>
                  <a:cubicBezTo>
                    <a:pt x="f97" y="f113"/>
                    <a:pt x="f97" y="f113"/>
                    <a:pt x="f97" y="f113"/>
                  </a:cubicBezTo>
                  <a:cubicBezTo>
                    <a:pt x="f8" y="f114"/>
                    <a:pt x="f8" y="f114"/>
                    <a:pt x="f8" y="f114"/>
                  </a:cubicBezTo>
                  <a:cubicBezTo>
                    <a:pt x="f115" y="f116"/>
                    <a:pt x="f115" y="f116"/>
                    <a:pt x="f115" y="f116"/>
                  </a:cubicBezTo>
                  <a:cubicBezTo>
                    <a:pt x="f115" y="f117"/>
                    <a:pt x="f115" y="f117"/>
                    <a:pt x="f115" y="f117"/>
                  </a:cubicBezTo>
                  <a:cubicBezTo>
                    <a:pt x="f118" y="f119"/>
                    <a:pt x="f118" y="f119"/>
                    <a:pt x="f118" y="f119"/>
                  </a:cubicBezTo>
                  <a:cubicBezTo>
                    <a:pt x="f118" y="f119"/>
                    <a:pt x="f120" y="f6"/>
                    <a:pt x="f121" y="f6"/>
                  </a:cubicBezTo>
                  <a:cubicBezTo>
                    <a:pt x="f121" y="f119"/>
                    <a:pt x="f122" y="f123"/>
                    <a:pt x="f122" y="f123"/>
                  </a:cubicBezTo>
                  <a:cubicBezTo>
                    <a:pt x="f124" y="f125"/>
                    <a:pt x="f124" y="f125"/>
                    <a:pt x="f124" y="f125"/>
                  </a:cubicBezTo>
                  <a:cubicBezTo>
                    <a:pt x="f126" y="f127"/>
                    <a:pt x="f126" y="f127"/>
                    <a:pt x="f126" y="f127"/>
                  </a:cubicBezTo>
                  <a:cubicBezTo>
                    <a:pt x="f128" y="f113"/>
                    <a:pt x="f128" y="f113"/>
                    <a:pt x="f128" y="f113"/>
                  </a:cubicBezTo>
                  <a:cubicBezTo>
                    <a:pt x="f129" y="f130"/>
                    <a:pt x="f129" y="f130"/>
                    <a:pt x="f129" y="f130"/>
                  </a:cubicBezTo>
                  <a:cubicBezTo>
                    <a:pt x="f131" y="f112"/>
                    <a:pt x="f131" y="f112"/>
                    <a:pt x="f131" y="f112"/>
                  </a:cubicBezTo>
                  <a:cubicBezTo>
                    <a:pt x="f132" y="f110"/>
                    <a:pt x="f132" y="f110"/>
                    <a:pt x="f132" y="f110"/>
                  </a:cubicBezTo>
                  <a:cubicBezTo>
                    <a:pt x="f132" y="f110"/>
                    <a:pt x="f133" y="f85"/>
                    <a:pt x="f134" y="f85"/>
                  </a:cubicBezTo>
                  <a:cubicBezTo>
                    <a:pt x="f135" y="f85"/>
                    <a:pt x="f136" y="f87"/>
                    <a:pt x="f136" y="f87"/>
                  </a:cubicBezTo>
                  <a:cubicBezTo>
                    <a:pt x="f137" y="f138"/>
                    <a:pt x="f137" y="f138"/>
                    <a:pt x="f137" y="f138"/>
                  </a:cubicBezTo>
                  <a:cubicBezTo>
                    <a:pt x="f137" y="f138"/>
                    <a:pt x="f139" y="f140"/>
                    <a:pt x="f141" y="f51"/>
                  </a:cubicBezTo>
                  <a:cubicBezTo>
                    <a:pt x="f141" y="f51"/>
                    <a:pt x="f142" y="f140"/>
                    <a:pt x="f142" y="f140"/>
                  </a:cubicBezTo>
                  <a:cubicBezTo>
                    <a:pt x="f143" y="f55"/>
                    <a:pt x="f143" y="f55"/>
                    <a:pt x="f143" y="f55"/>
                  </a:cubicBezTo>
                  <a:cubicBezTo>
                    <a:pt x="f143" y="f55"/>
                    <a:pt x="f144" y="f57"/>
                    <a:pt x="f145" y="f146"/>
                  </a:cubicBezTo>
                  <a:cubicBezTo>
                    <a:pt x="f147" y="f75"/>
                    <a:pt x="f147" y="f148"/>
                    <a:pt x="f147" y="f148"/>
                  </a:cubicBezTo>
                  <a:cubicBezTo>
                    <a:pt x="f149" y="f53"/>
                    <a:pt x="f149" y="f53"/>
                    <a:pt x="f149" y="f53"/>
                  </a:cubicBezTo>
                  <a:cubicBezTo>
                    <a:pt x="f150" y="f53"/>
                    <a:pt x="f150" y="f53"/>
                    <a:pt x="f150" y="f53"/>
                  </a:cubicBezTo>
                  <a:cubicBezTo>
                    <a:pt x="f151" y="f57"/>
                    <a:pt x="f151" y="f57"/>
                    <a:pt x="f151" y="f57"/>
                  </a:cubicBezTo>
                  <a:cubicBezTo>
                    <a:pt x="f151" y="f57"/>
                    <a:pt x="f151" y="f64"/>
                    <a:pt x="f151" y="f64"/>
                  </a:cubicBezTo>
                  <a:cubicBezTo>
                    <a:pt x="f152" y="f59"/>
                    <a:pt x="f151" y="f153"/>
                    <a:pt x="f151" y="f153"/>
                  </a:cubicBezTo>
                  <a:cubicBezTo>
                    <a:pt x="f154" y="f40"/>
                    <a:pt x="f154" y="f40"/>
                    <a:pt x="f154" y="f40"/>
                  </a:cubicBezTo>
                  <a:cubicBezTo>
                    <a:pt x="f155" y="f156"/>
                    <a:pt x="f155" y="f156"/>
                    <a:pt x="f155" y="f156"/>
                  </a:cubicBezTo>
                  <a:cubicBezTo>
                    <a:pt x="f154" y="f68"/>
                    <a:pt x="f154" y="f68"/>
                    <a:pt x="f154" y="f68"/>
                  </a:cubicBezTo>
                  <a:cubicBezTo>
                    <a:pt x="f157" y="f140"/>
                    <a:pt x="f157" y="f140"/>
                    <a:pt x="f157" y="f140"/>
                  </a:cubicBezTo>
                  <a:cubicBezTo>
                    <a:pt x="f155" y="f158"/>
                    <a:pt x="f155" y="f158"/>
                    <a:pt x="f155" y="f158"/>
                  </a:cubicBezTo>
                  <a:cubicBezTo>
                    <a:pt x="f159" y="f160"/>
                    <a:pt x="f159" y="f160"/>
                    <a:pt x="f159" y="f160"/>
                  </a:cubicBezTo>
                  <a:cubicBezTo>
                    <a:pt x="f161" y="f160"/>
                    <a:pt x="f161" y="f160"/>
                    <a:pt x="f161" y="f160"/>
                  </a:cubicBezTo>
                  <a:cubicBezTo>
                    <a:pt x="f162" y="f64"/>
                    <a:pt x="f162" y="f64"/>
                    <a:pt x="f162" y="f64"/>
                  </a:cubicBezTo>
                  <a:cubicBezTo>
                    <a:pt x="f163" y="f61"/>
                    <a:pt x="f163" y="f61"/>
                    <a:pt x="f163" y="f61"/>
                  </a:cubicBezTo>
                  <a:cubicBezTo>
                    <a:pt x="f164" y="f156"/>
                    <a:pt x="f164" y="f156"/>
                    <a:pt x="f164" y="f156"/>
                  </a:cubicBezTo>
                  <a:cubicBezTo>
                    <a:pt x="f165" y="f166"/>
                    <a:pt x="f165" y="f166"/>
                    <a:pt x="f165" y="f166"/>
                  </a:cubicBezTo>
                  <a:cubicBezTo>
                    <a:pt x="f163" y="f167"/>
                    <a:pt x="f163" y="f167"/>
                    <a:pt x="f163" y="f167"/>
                  </a:cubicBezTo>
                  <a:cubicBezTo>
                    <a:pt x="f165" y="f22"/>
                    <a:pt x="f165" y="f22"/>
                    <a:pt x="f165" y="f22"/>
                  </a:cubicBezTo>
                  <a:cubicBezTo>
                    <a:pt x="f168" y="f15"/>
                    <a:pt x="f168" y="f15"/>
                    <a:pt x="f168" y="f15"/>
                  </a:cubicBezTo>
                  <a:cubicBezTo>
                    <a:pt x="f162" y="f169"/>
                    <a:pt x="f162" y="f169"/>
                    <a:pt x="f162" y="f169"/>
                  </a:cubicBezTo>
                  <a:cubicBezTo>
                    <a:pt x="f170" y="f15"/>
                    <a:pt x="f170" y="f15"/>
                    <a:pt x="f170" y="f15"/>
                  </a:cubicBezTo>
                  <a:cubicBezTo>
                    <a:pt x="f171" y="f22"/>
                    <a:pt x="f171" y="f22"/>
                    <a:pt x="f171" y="f22"/>
                  </a:cubicBezTo>
                  <a:cubicBezTo>
                    <a:pt x="f172" y="f22"/>
                    <a:pt x="f172" y="f22"/>
                    <a:pt x="f172" y="f22"/>
                  </a:cubicBezTo>
                  <a:cubicBezTo>
                    <a:pt x="f173" y="f22"/>
                    <a:pt x="f173" y="f22"/>
                    <a:pt x="f173" y="f22"/>
                  </a:cubicBezTo>
                  <a:cubicBezTo>
                    <a:pt x="f174" y="f13"/>
                    <a:pt x="f174" y="f13"/>
                    <a:pt x="f174" y="f13"/>
                  </a:cubicBezTo>
                  <a:cubicBezTo>
                    <a:pt x="f175" y="f11"/>
                    <a:pt x="f175" y="f11"/>
                    <a:pt x="f175" y="f11"/>
                  </a:cubicBezTo>
                  <a:cubicBezTo>
                    <a:pt x="f176" y="f13"/>
                    <a:pt x="f176" y="f13"/>
                    <a:pt x="f176" y="f13"/>
                  </a:cubicBezTo>
                  <a:cubicBezTo>
                    <a:pt x="f177" y="f29"/>
                    <a:pt x="f177" y="f29"/>
                    <a:pt x="f177" y="f29"/>
                  </a:cubicBezTo>
                  <a:cubicBezTo>
                    <a:pt x="f19" y="f176"/>
                    <a:pt x="f19" y="f176"/>
                    <a:pt x="f19" y="f176"/>
                  </a:cubicBezTo>
                  <a:cubicBezTo>
                    <a:pt x="f178" y="f179"/>
                    <a:pt x="f178" y="f179"/>
                    <a:pt x="f178" y="f179"/>
                  </a:cubicBezTo>
                  <a:cubicBezTo>
                    <a:pt x="f180" y="f29"/>
                    <a:pt x="f180" y="f29"/>
                    <a:pt x="f180" y="f29"/>
                  </a:cubicBezTo>
                  <a:cubicBezTo>
                    <a:pt x="f153" y="f176"/>
                    <a:pt x="f153" y="f176"/>
                    <a:pt x="f153" y="f176"/>
                  </a:cubicBezTo>
                  <a:cubicBezTo>
                    <a:pt x="f61" y="f175"/>
                    <a:pt x="f61" y="f175"/>
                    <a:pt x="f61" y="f175"/>
                  </a:cubicBezTo>
                  <a:cubicBezTo>
                    <a:pt x="f146" y="f181"/>
                    <a:pt x="f146" y="f181"/>
                    <a:pt x="f146" y="f181"/>
                  </a:cubicBezTo>
                  <a:cubicBezTo>
                    <a:pt x="f51" y="f182"/>
                    <a:pt x="f51" y="f182"/>
                    <a:pt x="f51" y="f182"/>
                  </a:cubicBezTo>
                  <a:cubicBezTo>
                    <a:pt x="f148" y="f183"/>
                    <a:pt x="f148" y="f183"/>
                    <a:pt x="f148" y="f183"/>
                  </a:cubicBezTo>
                  <a:cubicBezTo>
                    <a:pt x="f53" y="f183"/>
                    <a:pt x="f53" y="f183"/>
                    <a:pt x="f53" y="f183"/>
                  </a:cubicBezTo>
                  <a:cubicBezTo>
                    <a:pt x="f160" y="f184"/>
                    <a:pt x="f160" y="f184"/>
                    <a:pt x="f160" y="f184"/>
                  </a:cubicBezTo>
                  <a:cubicBezTo>
                    <a:pt x="f77" y="f181"/>
                    <a:pt x="f77" y="f181"/>
                    <a:pt x="f77" y="f181"/>
                  </a:cubicBezTo>
                  <a:cubicBezTo>
                    <a:pt x="f76" y="f174"/>
                    <a:pt x="f76" y="f174"/>
                    <a:pt x="f76" y="f174"/>
                  </a:cubicBezTo>
                  <a:cubicBezTo>
                    <a:pt x="f53" y="f185"/>
                    <a:pt x="f53" y="f185"/>
                    <a:pt x="f53" y="f185"/>
                  </a:cubicBezTo>
                  <a:cubicBezTo>
                    <a:pt x="f89" y="f179"/>
                    <a:pt x="f89" y="f179"/>
                    <a:pt x="f89" y="f179"/>
                  </a:cubicBezTo>
                  <a:cubicBezTo>
                    <a:pt x="f92" y="f179"/>
                    <a:pt x="f92" y="f179"/>
                    <a:pt x="f92" y="f179"/>
                  </a:cubicBezTo>
                  <a:cubicBezTo>
                    <a:pt x="f87" y="f176"/>
                    <a:pt x="f87" y="f176"/>
                    <a:pt x="f87" y="f176"/>
                  </a:cubicBezTo>
                  <a:cubicBezTo>
                    <a:pt x="f78" y="f175"/>
                    <a:pt x="f78" y="f175"/>
                    <a:pt x="f78" y="f175"/>
                  </a:cubicBezTo>
                  <a:cubicBezTo>
                    <a:pt x="f78" y="f184"/>
                    <a:pt x="f78" y="f184"/>
                    <a:pt x="f78" y="f184"/>
                  </a:cubicBezTo>
                  <a:cubicBezTo>
                    <a:pt x="f138" y="f183"/>
                    <a:pt x="f138" y="f183"/>
                    <a:pt x="f138" y="f183"/>
                  </a:cubicBezTo>
                  <a:cubicBezTo>
                    <a:pt x="f78" y="f186"/>
                    <a:pt x="f78" y="f186"/>
                    <a:pt x="f78" y="f186"/>
                  </a:cubicBezTo>
                  <a:cubicBezTo>
                    <a:pt x="f83" y="f187"/>
                    <a:pt x="f83" y="f187"/>
                    <a:pt x="f83" y="f187"/>
                  </a:cubicBezTo>
                  <a:cubicBezTo>
                    <a:pt x="f85" y="f187"/>
                    <a:pt x="f85" y="f187"/>
                    <a:pt x="f85" y="f187"/>
                  </a:cubicBezTo>
                  <a:cubicBezTo>
                    <a:pt x="f188" y="f186"/>
                    <a:pt x="f188" y="f186"/>
                    <a:pt x="f188" y="f186"/>
                  </a:cubicBezTo>
                  <a:cubicBezTo>
                    <a:pt x="f189" y="f170"/>
                    <a:pt x="f189" y="f170"/>
                    <a:pt x="f189" y="f170"/>
                  </a:cubicBezTo>
                  <a:cubicBezTo>
                    <a:pt x="f190" y="f164"/>
                    <a:pt x="f190" y="f164"/>
                    <a:pt x="f190" y="f164"/>
                  </a:cubicBezTo>
                  <a:cubicBezTo>
                    <a:pt x="f191" y="f192"/>
                    <a:pt x="f191" y="f192"/>
                    <a:pt x="f191" y="f192"/>
                  </a:cubicBezTo>
                  <a:cubicBezTo>
                    <a:pt x="f191" y="f192"/>
                    <a:pt x="f108" y="f193"/>
                    <a:pt x="f108" y="f193"/>
                  </a:cubicBezTo>
                  <a:cubicBezTo>
                    <a:pt x="f190" y="f162"/>
                    <a:pt x="f194" y="f162"/>
                    <a:pt x="f194" y="f162"/>
                  </a:cubicBezTo>
                  <a:cubicBezTo>
                    <a:pt x="f195" y="f10"/>
                    <a:pt x="f195" y="f10"/>
                    <a:pt x="f195" y="f10"/>
                  </a:cubicBezTo>
                  <a:cubicBezTo>
                    <a:pt x="f195" y="f193"/>
                    <a:pt x="f195" y="f193"/>
                    <a:pt x="f195" y="f193"/>
                  </a:cubicBezTo>
                  <a:cubicBezTo>
                    <a:pt x="f196" y="f168"/>
                    <a:pt x="f196" y="f168"/>
                    <a:pt x="f196" y="f168"/>
                  </a:cubicBezTo>
                  <a:cubicBezTo>
                    <a:pt x="f194" y="f197"/>
                    <a:pt x="f194" y="f197"/>
                    <a:pt x="f194" y="f197"/>
                  </a:cubicBezTo>
                  <a:cubicBezTo>
                    <a:pt x="f198" y="f199"/>
                    <a:pt x="f198" y="f199"/>
                    <a:pt x="f198" y="f199"/>
                  </a:cubicBezTo>
                  <a:cubicBezTo>
                    <a:pt x="f200" y="f201"/>
                    <a:pt x="f200" y="f201"/>
                    <a:pt x="f200" y="f201"/>
                  </a:cubicBezTo>
                  <a:cubicBezTo>
                    <a:pt x="f130" y="f192"/>
                    <a:pt x="f130" y="f192"/>
                    <a:pt x="f130" y="f192"/>
                  </a:cubicBezTo>
                  <a:cubicBezTo>
                    <a:pt x="f130" y="f162"/>
                    <a:pt x="f130" y="f162"/>
                    <a:pt x="f130" y="f162"/>
                  </a:cubicBezTo>
                  <a:cubicBezTo>
                    <a:pt x="f202" y="f164"/>
                    <a:pt x="f202" y="f164"/>
                    <a:pt x="f202" y="f164"/>
                  </a:cubicBezTo>
                  <a:cubicBezTo>
                    <a:pt x="f130" y="f170"/>
                    <a:pt x="f130" y="f170"/>
                    <a:pt x="f130" y="f170"/>
                  </a:cubicBezTo>
                  <a:cubicBezTo>
                    <a:pt x="f130" y="f186"/>
                    <a:pt x="f130" y="f186"/>
                    <a:pt x="f130" y="f186"/>
                  </a:cubicBezTo>
                  <a:cubicBezTo>
                    <a:pt x="f113" y="f187"/>
                    <a:pt x="f113" y="f187"/>
                    <a:pt x="f113" y="f187"/>
                  </a:cubicBezTo>
                  <a:cubicBezTo>
                    <a:pt x="f203" y="f171"/>
                    <a:pt x="f203" y="f171"/>
                    <a:pt x="f203" y="f171"/>
                  </a:cubicBezTo>
                  <a:cubicBezTo>
                    <a:pt x="f204" y="f205"/>
                    <a:pt x="f204" y="f205"/>
                    <a:pt x="f204" y="f205"/>
                  </a:cubicBezTo>
                  <a:cubicBezTo>
                    <a:pt x="f125" y="f205"/>
                    <a:pt x="f125" y="f205"/>
                    <a:pt x="f125" y="f205"/>
                  </a:cubicBezTo>
                  <a:cubicBezTo>
                    <a:pt x="f206" y="f183"/>
                    <a:pt x="f206" y="f183"/>
                    <a:pt x="f206" y="f183"/>
                  </a:cubicBezTo>
                  <a:cubicBezTo>
                    <a:pt x="f206" y="f183"/>
                    <a:pt x="f127" y="f171"/>
                    <a:pt x="f127" y="f171"/>
                  </a:cubicBezTo>
                  <a:cubicBezTo>
                    <a:pt x="f130" y="f171"/>
                    <a:pt x="f207" y="f187"/>
                    <a:pt x="f207" y="f187"/>
                  </a:cubicBezTo>
                  <a:cubicBezTo>
                    <a:pt x="f198" y="f186"/>
                    <a:pt x="f198" y="f186"/>
                    <a:pt x="f198" y="f186"/>
                  </a:cubicBezTo>
                  <a:cubicBezTo>
                    <a:pt x="f190" y="f208"/>
                    <a:pt x="f190" y="f208"/>
                    <a:pt x="f190" y="f208"/>
                  </a:cubicBezTo>
                  <a:cubicBezTo>
                    <a:pt x="f209" y="f210"/>
                    <a:pt x="f209" y="f210"/>
                    <a:pt x="f209" y="f210"/>
                  </a:cubicBezTo>
                  <a:cubicBezTo>
                    <a:pt x="f188" y="f184"/>
                    <a:pt x="f188" y="f184"/>
                    <a:pt x="f188" y="f184"/>
                  </a:cubicBezTo>
                  <a:cubicBezTo>
                    <a:pt x="f211" y="f169"/>
                    <a:pt x="f211" y="f169"/>
                    <a:pt x="f211" y="f169"/>
                  </a:cubicBezTo>
                  <a:cubicBezTo>
                    <a:pt x="f195" y="f29"/>
                    <a:pt x="f195" y="f29"/>
                    <a:pt x="f195" y="f29"/>
                  </a:cubicBezTo>
                  <a:cubicBezTo>
                    <a:pt x="f200" y="f177"/>
                    <a:pt x="f200" y="f177"/>
                    <a:pt x="f200" y="f177"/>
                  </a:cubicBezTo>
                  <a:cubicBezTo>
                    <a:pt x="f212" y="f33"/>
                    <a:pt x="f212" y="f33"/>
                    <a:pt x="f212" y="f33"/>
                  </a:cubicBezTo>
                  <a:cubicBezTo>
                    <a:pt x="f213" y="f17"/>
                    <a:pt x="f213" y="f17"/>
                    <a:pt x="f213" y="f17"/>
                  </a:cubicBezTo>
                  <a:cubicBezTo>
                    <a:pt x="f213" y="f24"/>
                    <a:pt x="f213" y="f24"/>
                    <a:pt x="f213" y="f24"/>
                  </a:cubicBezTo>
                  <a:cubicBezTo>
                    <a:pt x="f214" y="f24"/>
                    <a:pt x="f214" y="f24"/>
                    <a:pt x="f214" y="f24"/>
                  </a:cubicBezTo>
                  <a:cubicBezTo>
                    <a:pt x="f215" y="f24"/>
                    <a:pt x="f215" y="f24"/>
                    <a:pt x="f215" y="f24"/>
                  </a:cubicBezTo>
                  <a:cubicBezTo>
                    <a:pt x="f123" y="f24"/>
                    <a:pt x="f123" y="f24"/>
                    <a:pt x="f123" y="f24"/>
                  </a:cubicBezTo>
                  <a:cubicBezTo>
                    <a:pt x="f117" y="f19"/>
                    <a:pt x="f117" y="f19"/>
                    <a:pt x="f117" y="f19"/>
                  </a:cubicBezTo>
                  <a:cubicBezTo>
                    <a:pt x="f216" y="f177"/>
                    <a:pt x="f216" y="f177"/>
                    <a:pt x="f216" y="f177"/>
                  </a:cubicBezTo>
                  <a:cubicBezTo>
                    <a:pt x="f216" y="f177"/>
                    <a:pt x="f216" y="f177"/>
                    <a:pt x="f216" y="f177"/>
                  </a:cubicBezTo>
                  <a:cubicBezTo>
                    <a:pt x="f216" y="f15"/>
                    <a:pt x="f216" y="f15"/>
                    <a:pt x="f216" y="f15"/>
                  </a:cubicBezTo>
                  <a:cubicBezTo>
                    <a:pt x="f217" y="f13"/>
                    <a:pt x="f217" y="f13"/>
                    <a:pt x="f217" y="f13"/>
                  </a:cubicBezTo>
                  <a:cubicBezTo>
                    <a:pt x="f217" y="f11"/>
                    <a:pt x="f217" y="f11"/>
                    <a:pt x="f217" y="f11"/>
                  </a:cubicBezTo>
                  <a:cubicBezTo>
                    <a:pt x="f218" y="f179"/>
                    <a:pt x="f218" y="f179"/>
                    <a:pt x="f218" y="f179"/>
                  </a:cubicBezTo>
                  <a:cubicBezTo>
                    <a:pt x="f217" y="f185"/>
                    <a:pt x="f217" y="f185"/>
                    <a:pt x="f217" y="f185"/>
                  </a:cubicBezTo>
                  <a:cubicBezTo>
                    <a:pt x="f219" y="f175"/>
                    <a:pt x="f219" y="f175"/>
                    <a:pt x="f219" y="f175"/>
                  </a:cubicBezTo>
                  <a:cubicBezTo>
                    <a:pt x="f117" y="f182"/>
                    <a:pt x="f117" y="f182"/>
                    <a:pt x="f117" y="f182"/>
                  </a:cubicBezTo>
                  <a:cubicBezTo>
                    <a:pt x="f216" y="f183"/>
                    <a:pt x="f216" y="f183"/>
                    <a:pt x="f216" y="f183"/>
                  </a:cubicBezTo>
                  <a:cubicBezTo>
                    <a:pt x="f117" y="f220"/>
                    <a:pt x="f117" y="f220"/>
                    <a:pt x="f117" y="f220"/>
                  </a:cubicBezTo>
                  <a:cubicBezTo>
                    <a:pt x="f219" y="f221"/>
                    <a:pt x="f219" y="f221"/>
                    <a:pt x="f219" y="f221"/>
                  </a:cubicBezTo>
                  <a:cubicBezTo>
                    <a:pt x="f222" y="f165"/>
                    <a:pt x="f222" y="f165"/>
                    <a:pt x="f222" y="f165"/>
                  </a:cubicBezTo>
                  <a:cubicBezTo>
                    <a:pt x="f219" y="f10"/>
                    <a:pt x="f219" y="f10"/>
                    <a:pt x="f219" y="f10"/>
                  </a:cubicBezTo>
                  <a:cubicBezTo>
                    <a:pt x="f117" y="f193"/>
                    <a:pt x="f117" y="f193"/>
                    <a:pt x="f117" y="f193"/>
                  </a:cubicBezTo>
                  <a:cubicBezTo>
                    <a:pt x="f117" y="f193"/>
                    <a:pt x="f222" y="f161"/>
                    <a:pt x="f222" y="f161"/>
                  </a:cubicBezTo>
                  <a:cubicBezTo>
                    <a:pt x="f117" y="f161"/>
                    <a:pt x="f123" y="f201"/>
                    <a:pt x="f123" y="f201"/>
                  </a:cubicBezTo>
                  <a:cubicBezTo>
                    <a:pt x="f117" y="f159"/>
                    <a:pt x="f117" y="f159"/>
                    <a:pt x="f117" y="f159"/>
                  </a:cubicBezTo>
                  <a:cubicBezTo>
                    <a:pt x="f215" y="f223"/>
                    <a:pt x="f215" y="f223"/>
                    <a:pt x="f215" y="f223"/>
                  </a:cubicBezTo>
                  <a:cubicBezTo>
                    <a:pt x="f114" y="f224"/>
                    <a:pt x="f114" y="f224"/>
                    <a:pt x="f114" y="f224"/>
                  </a:cubicBezTo>
                  <a:cubicBezTo>
                    <a:pt x="f116" y="f155"/>
                    <a:pt x="f116" y="f155"/>
                    <a:pt x="f116" y="f155"/>
                  </a:cubicBezTo>
                  <a:cubicBezTo>
                    <a:pt x="f6" y="f225"/>
                    <a:pt x="f6" y="f225"/>
                    <a:pt x="f6" y="f225"/>
                  </a:cubicBezTo>
                  <a:cubicBezTo>
                    <a:pt x="f218" y="f225"/>
                    <a:pt x="f218" y="f225"/>
                    <a:pt x="f218" y="f225"/>
                  </a:cubicBezTo>
                  <a:cubicBezTo>
                    <a:pt x="f216" y="f145"/>
                    <a:pt x="f216" y="f145"/>
                    <a:pt x="f216" y="f145"/>
                  </a:cubicBezTo>
                  <a:cubicBezTo>
                    <a:pt x="f216" y="f226"/>
                    <a:pt x="f216" y="f226"/>
                    <a:pt x="f216" y="f226"/>
                  </a:cubicBezTo>
                  <a:cubicBezTo>
                    <a:pt x="f119" y="f226"/>
                    <a:pt x="f119" y="f226"/>
                    <a:pt x="f119" y="f226"/>
                  </a:cubicBezTo>
                  <a:cubicBezTo>
                    <a:pt x="f218" y="f227"/>
                    <a:pt x="f218" y="f227"/>
                    <a:pt x="f218" y="f227"/>
                  </a:cubicBezTo>
                  <a:cubicBezTo>
                    <a:pt x="f119" y="f228"/>
                    <a:pt x="f119" y="f228"/>
                    <a:pt x="f119" y="f228"/>
                  </a:cubicBezTo>
                  <a:cubicBezTo>
                    <a:pt x="f119" y="f139"/>
                    <a:pt x="f119" y="f139"/>
                    <a:pt x="f119" y="f139"/>
                  </a:cubicBezTo>
                  <a:cubicBezTo>
                    <a:pt x="f6" y="f229"/>
                    <a:pt x="f6" y="f229"/>
                    <a:pt x="f6" y="f229"/>
                  </a:cubicBezTo>
                  <a:cubicBezTo>
                    <a:pt x="f218" y="f230"/>
                    <a:pt x="f218" y="f230"/>
                    <a:pt x="f218" y="f230"/>
                  </a:cubicBezTo>
                  <a:cubicBezTo>
                    <a:pt x="f219" y="f231"/>
                    <a:pt x="f219" y="f231"/>
                    <a:pt x="f219" y="f231"/>
                  </a:cubicBezTo>
                  <a:cubicBezTo>
                    <a:pt x="f123" y="f232"/>
                    <a:pt x="f123" y="f232"/>
                    <a:pt x="f123" y="f232"/>
                  </a:cubicBezTo>
                  <a:cubicBezTo>
                    <a:pt x="f214" y="f131"/>
                    <a:pt x="f214" y="f131"/>
                    <a:pt x="f214" y="f131"/>
                  </a:cubicBezTo>
                  <a:cubicBezTo>
                    <a:pt x="f125" y="f233"/>
                    <a:pt x="f125" y="f233"/>
                    <a:pt x="f125" y="f233"/>
                  </a:cubicBezTo>
                  <a:cubicBezTo>
                    <a:pt x="f203" y="f234"/>
                    <a:pt x="f203" y="f234"/>
                    <a:pt x="f203" y="f234"/>
                  </a:cubicBezTo>
                  <a:cubicBezTo>
                    <a:pt x="f114" y="f235"/>
                    <a:pt x="f114" y="f235"/>
                    <a:pt x="f114" y="f235"/>
                  </a:cubicBezTo>
                  <a:cubicBezTo>
                    <a:pt x="f214" y="f236"/>
                    <a:pt x="f214" y="f236"/>
                    <a:pt x="f214" y="f236"/>
                  </a:cubicBezTo>
                  <a:cubicBezTo>
                    <a:pt x="f203" y="f237"/>
                    <a:pt x="f203" y="f237"/>
                    <a:pt x="f203" y="f237"/>
                  </a:cubicBezTo>
                  <a:cubicBezTo>
                    <a:pt x="f206" y="f237"/>
                    <a:pt x="f206" y="f237"/>
                    <a:pt x="f206" y="f237"/>
                  </a:cubicBezTo>
                  <a:cubicBezTo>
                    <a:pt x="f202" y="f238"/>
                    <a:pt x="f202" y="f238"/>
                    <a:pt x="f202" y="f238"/>
                  </a:cubicBezTo>
                  <a:cubicBezTo>
                    <a:pt x="f127" y="f239"/>
                    <a:pt x="f127" y="f239"/>
                    <a:pt x="f127" y="f239"/>
                  </a:cubicBezTo>
                  <a:cubicBezTo>
                    <a:pt x="f240" y="f241"/>
                    <a:pt x="f240" y="f241"/>
                    <a:pt x="f240" y="f241"/>
                  </a:cubicBezTo>
                  <a:cubicBezTo>
                    <a:pt x="f110" y="f241"/>
                    <a:pt x="f110" y="f241"/>
                    <a:pt x="f110" y="f241"/>
                  </a:cubicBezTo>
                  <a:cubicBezTo>
                    <a:pt x="f240" y="f242"/>
                    <a:pt x="f240" y="f242"/>
                    <a:pt x="f240" y="f242"/>
                  </a:cubicBezTo>
                  <a:cubicBezTo>
                    <a:pt x="f196" y="f243"/>
                    <a:pt x="f196" y="f243"/>
                    <a:pt x="f196" y="f243"/>
                  </a:cubicBezTo>
                  <a:cubicBezTo>
                    <a:pt x="f195" y="f244"/>
                    <a:pt x="f195" y="f244"/>
                    <a:pt x="f195" y="f244"/>
                  </a:cubicBezTo>
                  <a:cubicBezTo>
                    <a:pt x="f245" y="f246"/>
                    <a:pt x="f245" y="f246"/>
                    <a:pt x="f245" y="f246"/>
                  </a:cubicBezTo>
                  <a:cubicBezTo>
                    <a:pt x="f198" y="f247"/>
                    <a:pt x="f198" y="f247"/>
                    <a:pt x="f198" y="f247"/>
                  </a:cubicBezTo>
                  <a:cubicBezTo>
                    <a:pt x="f112" y="f248"/>
                    <a:pt x="f112" y="f248"/>
                    <a:pt x="f112" y="f248"/>
                  </a:cubicBezTo>
                  <a:cubicBezTo>
                    <a:pt x="f200" y="f249"/>
                    <a:pt x="f200" y="f249"/>
                    <a:pt x="f200" y="f249"/>
                  </a:cubicBezTo>
                  <a:cubicBezTo>
                    <a:pt x="f112" y="f250"/>
                    <a:pt x="f112" y="f250"/>
                    <a:pt x="f112" y="f250"/>
                  </a:cubicBezTo>
                  <a:cubicBezTo>
                    <a:pt x="f110" y="f251"/>
                    <a:pt x="f110" y="f251"/>
                    <a:pt x="f110" y="f251"/>
                  </a:cubicBezTo>
                  <a:cubicBezTo>
                    <a:pt x="f189" y="f252"/>
                    <a:pt x="f189" y="f252"/>
                    <a:pt x="f189" y="f252"/>
                  </a:cubicBezTo>
                  <a:cubicBezTo>
                    <a:pt x="f189" y="f103"/>
                    <a:pt x="f189" y="f103"/>
                    <a:pt x="f189" y="f103"/>
                  </a:cubicBezTo>
                  <a:cubicBezTo>
                    <a:pt x="f209" y="f253"/>
                    <a:pt x="f209" y="f253"/>
                    <a:pt x="f209" y="f253"/>
                  </a:cubicBezTo>
                  <a:cubicBezTo>
                    <a:pt x="f98" y="f253"/>
                    <a:pt x="f98" y="f253"/>
                    <a:pt x="f98" y="f253"/>
                  </a:cubicBezTo>
                  <a:cubicBezTo>
                    <a:pt x="f254" y="f255"/>
                    <a:pt x="f254" y="f255"/>
                    <a:pt x="f254" y="f255"/>
                  </a:cubicBezTo>
                  <a:cubicBezTo>
                    <a:pt x="f87" y="f105"/>
                    <a:pt x="f87" y="f105"/>
                    <a:pt x="f87" y="f105"/>
                  </a:cubicBezTo>
                  <a:cubicBezTo>
                    <a:pt x="f83" y="f256"/>
                    <a:pt x="f83" y="f256"/>
                    <a:pt x="f83" y="f256"/>
                  </a:cubicBezTo>
                  <a:cubicBezTo>
                    <a:pt x="f78" y="f101"/>
                    <a:pt x="f78" y="f101"/>
                    <a:pt x="f78" y="f101"/>
                  </a:cubicBezTo>
                  <a:cubicBezTo>
                    <a:pt x="f160" y="f101"/>
                    <a:pt x="f160" y="f101"/>
                    <a:pt x="f160" y="f101"/>
                  </a:cubicBezTo>
                  <a:cubicBezTo>
                    <a:pt x="f53" y="f256"/>
                    <a:pt x="f53" y="f256"/>
                    <a:pt x="f53" y="f256"/>
                  </a:cubicBezTo>
                  <a:cubicBezTo>
                    <a:pt x="f55" y="f257"/>
                    <a:pt x="f55" y="f257"/>
                    <a:pt x="f55" y="f257"/>
                  </a:cubicBezTo>
                  <a:cubicBezTo>
                    <a:pt x="f55" y="f8"/>
                    <a:pt x="f55" y="f8"/>
                    <a:pt x="f55" y="f8"/>
                  </a:cubicBezTo>
                  <a:cubicBezTo>
                    <a:pt x="f148" y="f8"/>
                    <a:pt x="f148" y="f8"/>
                    <a:pt x="f148" y="f8"/>
                  </a:cubicBezTo>
                  <a:cubicBezTo>
                    <a:pt x="f51" y="f258"/>
                    <a:pt x="f51" y="f258"/>
                    <a:pt x="f51" y="f258"/>
                  </a:cubicBezTo>
                  <a:cubicBezTo>
                    <a:pt x="f75" y="f102"/>
                    <a:pt x="f75" y="f102"/>
                    <a:pt x="f75" y="f102"/>
                  </a:cubicBezTo>
                  <a:cubicBezTo>
                    <a:pt x="f75" y="f102"/>
                    <a:pt x="f51" y="f252"/>
                    <a:pt x="f140" y="f252"/>
                  </a:cubicBezTo>
                  <a:cubicBezTo>
                    <a:pt x="f148" y="f259"/>
                    <a:pt x="f160" y="f260"/>
                    <a:pt x="f160" y="f260"/>
                  </a:cubicBezTo>
                  <a:cubicBezTo>
                    <a:pt x="f53" y="f261"/>
                    <a:pt x="f53" y="f261"/>
                    <a:pt x="f53" y="f261"/>
                  </a:cubicBezTo>
                  <a:cubicBezTo>
                    <a:pt x="f140" y="f262"/>
                    <a:pt x="f140" y="f262"/>
                    <a:pt x="f140" y="f262"/>
                  </a:cubicBezTo>
                  <a:cubicBezTo>
                    <a:pt x="f140" y="f246"/>
                    <a:pt x="f140" y="f246"/>
                    <a:pt x="f140" y="f246"/>
                  </a:cubicBezTo>
                  <a:cubicBezTo>
                    <a:pt x="f51" y="f262"/>
                    <a:pt x="f51" y="f262"/>
                    <a:pt x="f51" y="f262"/>
                  </a:cubicBezTo>
                  <a:cubicBezTo>
                    <a:pt x="f140" y="f247"/>
                    <a:pt x="f140" y="f247"/>
                    <a:pt x="f140" y="f247"/>
                  </a:cubicBezTo>
                  <a:cubicBezTo>
                    <a:pt x="f140" y="f247"/>
                    <a:pt x="f140" y="f247"/>
                    <a:pt x="f140" y="f247"/>
                  </a:cubicBezTo>
                  <a:cubicBezTo>
                    <a:pt x="f140" y="f247"/>
                    <a:pt x="f140" y="f247"/>
                    <a:pt x="f140" y="f247"/>
                  </a:cubicBezTo>
                  <a:cubicBezTo>
                    <a:pt x="f76" y="f126"/>
                    <a:pt x="f76" y="f126"/>
                    <a:pt x="f76" y="f126"/>
                  </a:cubicBezTo>
                  <a:cubicBezTo>
                    <a:pt x="f140" y="f241"/>
                    <a:pt x="f140" y="f241"/>
                    <a:pt x="f140" y="f241"/>
                  </a:cubicBezTo>
                  <a:cubicBezTo>
                    <a:pt x="f61" y="f263"/>
                    <a:pt x="f61" y="f263"/>
                    <a:pt x="f61" y="f263"/>
                  </a:cubicBezTo>
                  <a:cubicBezTo>
                    <a:pt x="f264" y="f239"/>
                    <a:pt x="f264" y="f239"/>
                    <a:pt x="f264" y="f239"/>
                  </a:cubicBezTo>
                  <a:cubicBezTo>
                    <a:pt x="f24" y="f265"/>
                    <a:pt x="f24" y="f265"/>
                    <a:pt x="f24" y="f265"/>
                  </a:cubicBezTo>
                  <a:cubicBezTo>
                    <a:pt x="f177" y="f266"/>
                    <a:pt x="f177" y="f266"/>
                    <a:pt x="f177" y="f266"/>
                  </a:cubicBezTo>
                  <a:cubicBezTo>
                    <a:pt x="f185" y="f267"/>
                    <a:pt x="f185" y="f267"/>
                    <a:pt x="f185" y="f267"/>
                  </a:cubicBezTo>
                  <a:cubicBezTo>
                    <a:pt x="f182" y="f266"/>
                    <a:pt x="f182" y="f266"/>
                    <a:pt x="f182" y="f266"/>
                  </a:cubicBezTo>
                  <a:cubicBezTo>
                    <a:pt x="f268" y="f237"/>
                    <a:pt x="f268" y="f237"/>
                    <a:pt x="f268" y="f237"/>
                  </a:cubicBezTo>
                  <a:cubicBezTo>
                    <a:pt x="f184" y="f269"/>
                    <a:pt x="f184" y="f269"/>
                    <a:pt x="f184" y="f269"/>
                  </a:cubicBezTo>
                  <a:cubicBezTo>
                    <a:pt x="f220" y="f270"/>
                    <a:pt x="f220" y="f270"/>
                    <a:pt x="f220" y="f270"/>
                  </a:cubicBezTo>
                  <a:cubicBezTo>
                    <a:pt x="f271" y="f133"/>
                    <a:pt x="f271" y="f133"/>
                    <a:pt x="f271" y="f133"/>
                  </a:cubicBezTo>
                  <a:cubicBezTo>
                    <a:pt x="f272" y="f273"/>
                    <a:pt x="f272" y="f273"/>
                    <a:pt x="f272" y="f273"/>
                  </a:cubicBezTo>
                  <a:cubicBezTo>
                    <a:pt x="f274" y="f131"/>
                    <a:pt x="f274" y="f131"/>
                    <a:pt x="f274" y="f131"/>
                  </a:cubicBezTo>
                  <a:cubicBezTo>
                    <a:pt x="f275" y="f276"/>
                    <a:pt x="f275" y="f276"/>
                    <a:pt x="f275" y="f276"/>
                  </a:cubicBezTo>
                  <a:cubicBezTo>
                    <a:pt x="f144" y="f277"/>
                    <a:pt x="f144" y="f277"/>
                    <a:pt x="f144" y="f277"/>
                  </a:cubicBezTo>
                  <a:cubicBezTo>
                    <a:pt x="f227" y="f265"/>
                    <a:pt x="f227" y="f265"/>
                    <a:pt x="f227" y="f265"/>
                  </a:cubicBezTo>
                  <a:cubicBezTo>
                    <a:pt x="f278" y="f265"/>
                    <a:pt x="f278" y="f265"/>
                    <a:pt x="f278" y="f265"/>
                  </a:cubicBezTo>
                  <a:cubicBezTo>
                    <a:pt x="f279" y="f128"/>
                    <a:pt x="f279" y="f128"/>
                    <a:pt x="f279" y="f128"/>
                  </a:cubicBezTo>
                  <a:cubicBezTo>
                    <a:pt x="f133" y="f280"/>
                    <a:pt x="f133" y="f280"/>
                    <a:pt x="f133" y="f280"/>
                  </a:cubicBezTo>
                  <a:cubicBezTo>
                    <a:pt x="f133" y="f244"/>
                    <a:pt x="f133" y="f244"/>
                    <a:pt x="f133" y="f244"/>
                  </a:cubicBezTo>
                  <a:cubicBezTo>
                    <a:pt x="f270" y="f126"/>
                    <a:pt x="f270" y="f126"/>
                    <a:pt x="f270" y="f126"/>
                  </a:cubicBezTo>
                  <a:cubicBezTo>
                    <a:pt x="f281" y="f244"/>
                    <a:pt x="f281" y="f244"/>
                    <a:pt x="f281" y="f244"/>
                  </a:cubicBezTo>
                  <a:cubicBezTo>
                    <a:pt x="f276" y="f242"/>
                    <a:pt x="f276" y="f242"/>
                    <a:pt x="f276" y="f242"/>
                  </a:cubicBezTo>
                  <a:cubicBezTo>
                    <a:pt x="f235" y="f241"/>
                    <a:pt x="f235" y="f241"/>
                    <a:pt x="f235" y="f241"/>
                  </a:cubicBezTo>
                  <a:cubicBezTo>
                    <a:pt x="f265" y="f267"/>
                    <a:pt x="f265" y="f267"/>
                    <a:pt x="f265" y="f267"/>
                  </a:cubicBezTo>
                  <a:cubicBezTo>
                    <a:pt x="f243" y="f280"/>
                    <a:pt x="f243" y="f280"/>
                    <a:pt x="f243" y="f280"/>
                  </a:cubicBezTo>
                  <a:cubicBezTo>
                    <a:pt x="f247" y="f266"/>
                    <a:pt x="f247" y="f266"/>
                    <a:pt x="f247" y="f266"/>
                  </a:cubicBezTo>
                  <a:cubicBezTo>
                    <a:pt x="f248" y="f129"/>
                    <a:pt x="f248" y="f129"/>
                    <a:pt x="f248" y="f129"/>
                  </a:cubicBezTo>
                  <a:cubicBezTo>
                    <a:pt x="f282" y="f266"/>
                    <a:pt x="f282" y="f266"/>
                    <a:pt x="f282" y="f266"/>
                  </a:cubicBezTo>
                  <a:cubicBezTo>
                    <a:pt x="f259" y="f283"/>
                    <a:pt x="f259" y="f283"/>
                    <a:pt x="f259" y="f283"/>
                  </a:cubicBezTo>
                  <a:cubicBezTo>
                    <a:pt x="f102" y="f283"/>
                    <a:pt x="f102" y="f283"/>
                    <a:pt x="f102" y="f283"/>
                  </a:cubicBezTo>
                  <a:cubicBezTo>
                    <a:pt x="f101" y="f243"/>
                    <a:pt x="f101" y="f243"/>
                    <a:pt x="f101" y="f243"/>
                  </a:cubicBezTo>
                  <a:cubicBezTo>
                    <a:pt x="f284" y="f128"/>
                    <a:pt x="f284" y="f128"/>
                    <a:pt x="f284" y="f128"/>
                  </a:cubicBezTo>
                  <a:cubicBezTo>
                    <a:pt x="f285" y="f286"/>
                    <a:pt x="f285" y="f286"/>
                    <a:pt x="f285" y="f286"/>
                  </a:cubicBezTo>
                  <a:cubicBezTo>
                    <a:pt x="f287" y="f128"/>
                    <a:pt x="f287" y="f128"/>
                    <a:pt x="f287" y="f128"/>
                  </a:cubicBezTo>
                  <a:cubicBezTo>
                    <a:pt x="f288" y="f128"/>
                    <a:pt x="f288" y="f128"/>
                    <a:pt x="f288" y="f128"/>
                  </a:cubicBezTo>
                  <a:cubicBezTo>
                    <a:pt x="f289" y="f237"/>
                    <a:pt x="f289" y="f237"/>
                    <a:pt x="f289" y="f237"/>
                  </a:cubicBezTo>
                  <a:cubicBezTo>
                    <a:pt x="f290" y="f291"/>
                    <a:pt x="f290" y="f291"/>
                    <a:pt x="f290" y="f291"/>
                  </a:cubicBezTo>
                  <a:cubicBezTo>
                    <a:pt x="f292" y="f291"/>
                    <a:pt x="f292" y="f291"/>
                    <a:pt x="f292" y="f291"/>
                  </a:cubicBezTo>
                  <a:cubicBezTo>
                    <a:pt x="f293" y="f286"/>
                    <a:pt x="f293" y="f286"/>
                    <a:pt x="f293" y="f286"/>
                  </a:cubicBezTo>
                  <a:cubicBezTo>
                    <a:pt x="f294" y="f243"/>
                    <a:pt x="f294" y="f243"/>
                    <a:pt x="f294" y="f243"/>
                  </a:cubicBezTo>
                  <a:cubicBezTo>
                    <a:pt x="f295" y="f247"/>
                    <a:pt x="f295" y="f247"/>
                    <a:pt x="f295" y="f247"/>
                  </a:cubicBezTo>
                  <a:cubicBezTo>
                    <a:pt x="f296" y="f244"/>
                    <a:pt x="f296" y="f244"/>
                    <a:pt x="f296" y="f244"/>
                  </a:cubicBezTo>
                  <a:cubicBezTo>
                    <a:pt x="f297" y="f298"/>
                    <a:pt x="f297" y="f298"/>
                    <a:pt x="f297" y="f298"/>
                  </a:cubicBezTo>
                  <a:cubicBezTo>
                    <a:pt x="f299" y="f251"/>
                    <a:pt x="f299" y="f251"/>
                    <a:pt x="f299" y="f251"/>
                  </a:cubicBezTo>
                  <a:cubicBezTo>
                    <a:pt x="f300" y="f255"/>
                    <a:pt x="f300" y="f255"/>
                    <a:pt x="f300" y="f255"/>
                  </a:cubicBezTo>
                  <a:cubicBezTo>
                    <a:pt x="f295" y="f255"/>
                    <a:pt x="f295" y="f255"/>
                    <a:pt x="f295" y="f255"/>
                  </a:cubicBezTo>
                  <a:cubicBezTo>
                    <a:pt x="f299" y="f255"/>
                    <a:pt x="f299" y="f255"/>
                    <a:pt x="f299" y="f255"/>
                  </a:cubicBezTo>
                  <a:cubicBezTo>
                    <a:pt x="f69" y="f118"/>
                    <a:pt x="f69" y="f118"/>
                    <a:pt x="f69" y="f118"/>
                  </a:cubicBezTo>
                  <a:cubicBezTo>
                    <a:pt x="f67" y="f118"/>
                    <a:pt x="f67" y="f118"/>
                    <a:pt x="f67" y="f118"/>
                  </a:cubicBezTo>
                  <a:cubicBezTo>
                    <a:pt x="f301" y="f255"/>
                    <a:pt x="f301" y="f255"/>
                    <a:pt x="f301" y="f255"/>
                  </a:cubicBezTo>
                  <a:cubicBezTo>
                    <a:pt x="f63" y="f302"/>
                    <a:pt x="f63" y="f302"/>
                    <a:pt x="f63" y="f302"/>
                  </a:cubicBezTo>
                  <a:cubicBezTo>
                    <a:pt x="f303" y="f121"/>
                    <a:pt x="f303" y="f121"/>
                    <a:pt x="f303" y="f121"/>
                  </a:cubicBezTo>
                  <a:cubicBezTo>
                    <a:pt x="f304" y="f305"/>
                    <a:pt x="f304" y="f305"/>
                    <a:pt x="f304" y="f305"/>
                  </a:cubicBezTo>
                  <a:cubicBezTo>
                    <a:pt x="f58" y="f244"/>
                    <a:pt x="f58" y="f244"/>
                    <a:pt x="f58" y="f244"/>
                  </a:cubicBezTo>
                  <a:cubicBezTo>
                    <a:pt x="f306" y="f241"/>
                    <a:pt x="f306" y="f241"/>
                    <a:pt x="f306" y="f241"/>
                  </a:cubicBezTo>
                  <a:cubicBezTo>
                    <a:pt x="f2" y="f277"/>
                    <a:pt x="f2" y="f277"/>
                    <a:pt x="f2" y="f277"/>
                  </a:cubicBezTo>
                  <a:cubicBezTo>
                    <a:pt x="f2" y="f234"/>
                    <a:pt x="f2" y="f234"/>
                    <a:pt x="f2" y="f234"/>
                  </a:cubicBezTo>
                  <a:cubicBezTo>
                    <a:pt x="f307" y="f276"/>
                    <a:pt x="f307" y="f276"/>
                    <a:pt x="f307" y="f276"/>
                  </a:cubicBezTo>
                  <a:cubicBezTo>
                    <a:pt x="f307" y="f276"/>
                    <a:pt x="f308" y="f273"/>
                    <a:pt x="f308" y="f273"/>
                  </a:cubicBezTo>
                  <a:cubicBezTo>
                    <a:pt x="f309" y="f273"/>
                    <a:pt x="f310" y="f269"/>
                    <a:pt x="f310" y="f269"/>
                  </a:cubicBezTo>
                  <a:cubicBezTo>
                    <a:pt x="f311" y="f281"/>
                    <a:pt x="f311" y="f281"/>
                    <a:pt x="f311" y="f281"/>
                  </a:cubicBezTo>
                  <a:cubicBezTo>
                    <a:pt x="f312" y="f281"/>
                    <a:pt x="f312" y="f281"/>
                    <a:pt x="f312" y="f281"/>
                  </a:cubicBezTo>
                  <a:cubicBezTo>
                    <a:pt x="f311" y="f132"/>
                    <a:pt x="f311" y="f132"/>
                    <a:pt x="f311" y="f132"/>
                  </a:cubicBezTo>
                  <a:cubicBezTo>
                    <a:pt x="f308" y="f231"/>
                    <a:pt x="f308" y="f231"/>
                    <a:pt x="f308" y="f231"/>
                  </a:cubicBezTo>
                  <a:cubicBezTo>
                    <a:pt x="f304" y="f3"/>
                    <a:pt x="f304" y="f3"/>
                    <a:pt x="f304" y="f3"/>
                  </a:cubicBezTo>
                  <a:cubicBezTo>
                    <a:pt x="f313" y="f229"/>
                    <a:pt x="f313" y="f229"/>
                    <a:pt x="f313" y="f229"/>
                  </a:cubicBezTo>
                  <a:cubicBezTo>
                    <a:pt x="f314" y="f315"/>
                    <a:pt x="f314" y="f315"/>
                    <a:pt x="f314" y="f315"/>
                  </a:cubicBezTo>
                  <a:cubicBezTo>
                    <a:pt x="f316" y="f227"/>
                    <a:pt x="f316" y="f227"/>
                    <a:pt x="f316" y="f227"/>
                  </a:cubicBezTo>
                  <a:cubicBezTo>
                    <a:pt x="f317" y="f227"/>
                    <a:pt x="f317" y="f227"/>
                    <a:pt x="f317" y="f227"/>
                  </a:cubicBezTo>
                  <a:cubicBezTo>
                    <a:pt x="f49" y="f226"/>
                    <a:pt x="f49" y="f226"/>
                    <a:pt x="f49" y="f226"/>
                  </a:cubicBezTo>
                  <a:cubicBezTo>
                    <a:pt x="f47" y="f315"/>
                    <a:pt x="f47" y="f315"/>
                    <a:pt x="f47" y="f315"/>
                  </a:cubicBezTo>
                  <a:cubicBezTo>
                    <a:pt x="f47" y="f228"/>
                    <a:pt x="f47" y="f228"/>
                    <a:pt x="f47" y="f228"/>
                  </a:cubicBezTo>
                  <a:cubicBezTo>
                    <a:pt x="f47" y="f228"/>
                    <a:pt x="f318" y="f319"/>
                    <a:pt x="f320" y="f319"/>
                  </a:cubicBezTo>
                  <a:cubicBezTo>
                    <a:pt x="f320" y="f142"/>
                    <a:pt x="f43" y="f319"/>
                    <a:pt x="f43" y="f319"/>
                  </a:cubicBezTo>
                  <a:cubicBezTo>
                    <a:pt x="f321" y="f227"/>
                    <a:pt x="f321" y="f227"/>
                    <a:pt x="f321" y="f227"/>
                  </a:cubicBezTo>
                  <a:cubicBezTo>
                    <a:pt x="f43" y="f322"/>
                    <a:pt x="f43" y="f322"/>
                    <a:pt x="f43" y="f322"/>
                  </a:cubicBezTo>
                  <a:cubicBezTo>
                    <a:pt x="f323" y="f324"/>
                    <a:pt x="f323" y="f324"/>
                    <a:pt x="f323" y="f324"/>
                  </a:cubicBezTo>
                  <a:cubicBezTo>
                    <a:pt x="f325" y="f152"/>
                    <a:pt x="f325" y="f152"/>
                    <a:pt x="f325" y="f152"/>
                  </a:cubicBezTo>
                  <a:cubicBezTo>
                    <a:pt x="f39" y="f150"/>
                    <a:pt x="f39" y="f150"/>
                    <a:pt x="f39" y="f150"/>
                  </a:cubicBezTo>
                  <a:cubicBezTo>
                    <a:pt x="f326" y="f147"/>
                    <a:pt x="f326" y="f147"/>
                    <a:pt x="f326" y="f147"/>
                  </a:cubicBezTo>
                  <a:cubicBezTo>
                    <a:pt x="f37" y="f274"/>
                    <a:pt x="f37" y="f274"/>
                    <a:pt x="f37" y="f274"/>
                  </a:cubicBezTo>
                  <a:cubicBezTo>
                    <a:pt x="f327" y="f157"/>
                    <a:pt x="f327" y="f157"/>
                    <a:pt x="f327" y="f157"/>
                  </a:cubicBezTo>
                  <a:cubicBezTo>
                    <a:pt x="f327" y="f149"/>
                    <a:pt x="f327" y="f149"/>
                    <a:pt x="f327" y="f149"/>
                  </a:cubicBezTo>
                  <a:cubicBezTo>
                    <a:pt x="f328" y="f145"/>
                    <a:pt x="f328" y="f145"/>
                    <a:pt x="f328" y="f145"/>
                  </a:cubicBezTo>
                  <a:cubicBezTo>
                    <a:pt x="f38" y="f144"/>
                    <a:pt x="f38" y="f144"/>
                    <a:pt x="f38" y="f144"/>
                  </a:cubicBezTo>
                  <a:cubicBezTo>
                    <a:pt x="f39" y="f319"/>
                    <a:pt x="f39" y="f319"/>
                    <a:pt x="f39" y="f319"/>
                  </a:cubicBezTo>
                  <a:cubicBezTo>
                    <a:pt x="f329" y="f139"/>
                    <a:pt x="f329" y="f139"/>
                    <a:pt x="f329" y="f139"/>
                  </a:cubicBezTo>
                  <a:cubicBezTo>
                    <a:pt x="f329" y="f139"/>
                    <a:pt x="f325" y="f330"/>
                    <a:pt x="f325" y="f278"/>
                  </a:cubicBezTo>
                  <a:cubicBezTo>
                    <a:pt x="f331" y="f278"/>
                    <a:pt x="f332" y="f333"/>
                    <a:pt x="f332" y="f333"/>
                  </a:cubicBezTo>
                  <a:cubicBezTo>
                    <a:pt x="f334" y="f232"/>
                    <a:pt x="f334" y="f232"/>
                    <a:pt x="f334" y="f232"/>
                  </a:cubicBezTo>
                  <a:cubicBezTo>
                    <a:pt x="f331" y="f263"/>
                    <a:pt x="f331" y="f263"/>
                    <a:pt x="f331" y="f263"/>
                  </a:cubicBezTo>
                  <a:cubicBezTo>
                    <a:pt x="f329" y="f335"/>
                    <a:pt x="f329" y="f335"/>
                    <a:pt x="f329" y="f335"/>
                  </a:cubicBezTo>
                  <a:cubicBezTo>
                    <a:pt x="f336" y="f235"/>
                    <a:pt x="f336" y="f235"/>
                    <a:pt x="f336" y="f235"/>
                  </a:cubicBezTo>
                  <a:cubicBezTo>
                    <a:pt x="f337" y="f269"/>
                    <a:pt x="f337" y="f269"/>
                    <a:pt x="f337" y="f269"/>
                  </a:cubicBezTo>
                  <a:cubicBezTo>
                    <a:pt x="f338" y="f339"/>
                    <a:pt x="f338" y="f339"/>
                    <a:pt x="f338" y="f339"/>
                  </a:cubicBezTo>
                  <a:cubicBezTo>
                    <a:pt x="f37" y="f270"/>
                    <a:pt x="f37" y="f270"/>
                    <a:pt x="f37" y="f270"/>
                  </a:cubicBezTo>
                  <a:cubicBezTo>
                    <a:pt x="f37" y="f232"/>
                    <a:pt x="f37" y="f232"/>
                    <a:pt x="f37" y="f232"/>
                  </a:cubicBezTo>
                  <a:cubicBezTo>
                    <a:pt x="f328" y="f340"/>
                    <a:pt x="f328" y="f340"/>
                    <a:pt x="f328" y="f340"/>
                  </a:cubicBezTo>
                  <a:cubicBezTo>
                    <a:pt x="f341" y="f342"/>
                    <a:pt x="f341" y="f342"/>
                    <a:pt x="f341" y="f342"/>
                  </a:cubicBezTo>
                  <a:cubicBezTo>
                    <a:pt x="f341" y="f333"/>
                    <a:pt x="f341" y="f333"/>
                    <a:pt x="f341" y="f333"/>
                  </a:cubicBezTo>
                  <a:cubicBezTo>
                    <a:pt x="f37" y="f278"/>
                    <a:pt x="f37" y="f278"/>
                    <a:pt x="f37" y="f278"/>
                  </a:cubicBezTo>
                  <a:cubicBezTo>
                    <a:pt x="f343" y="f315"/>
                    <a:pt x="f343" y="f315"/>
                    <a:pt x="f343" y="f315"/>
                  </a:cubicBezTo>
                  <a:cubicBezTo>
                    <a:pt x="f344" y="f143"/>
                    <a:pt x="f344" y="f143"/>
                    <a:pt x="f344" y="f143"/>
                  </a:cubicBezTo>
                  <a:cubicBezTo>
                    <a:pt x="f345" y="f346"/>
                    <a:pt x="f345" y="f346"/>
                    <a:pt x="f345" y="f346"/>
                  </a:cubicBezTo>
                  <a:cubicBezTo>
                    <a:pt x="f347" y="f144"/>
                    <a:pt x="f347" y="f144"/>
                    <a:pt x="f347" y="f144"/>
                  </a:cubicBezTo>
                  <a:cubicBezTo>
                    <a:pt x="f348" y="f143"/>
                    <a:pt x="f348" y="f143"/>
                    <a:pt x="f348" y="f143"/>
                  </a:cubicBezTo>
                  <a:cubicBezTo>
                    <a:pt x="f349" y="f225"/>
                    <a:pt x="f349" y="f225"/>
                    <a:pt x="f349" y="f225"/>
                  </a:cubicBezTo>
                  <a:cubicBezTo>
                    <a:pt x="f349" y="f225"/>
                    <a:pt x="f350" y="f143"/>
                    <a:pt x="f350" y="f143"/>
                  </a:cubicBezTo>
                  <a:cubicBezTo>
                    <a:pt x="f351" y="f143"/>
                    <a:pt x="f26" y="f225"/>
                    <a:pt x="f26" y="f225"/>
                  </a:cubicBezTo>
                  <a:cubicBezTo>
                    <a:pt x="f352" y="f275"/>
                    <a:pt x="f352" y="f275"/>
                    <a:pt x="f352" y="f275"/>
                  </a:cubicBezTo>
                  <a:cubicBezTo>
                    <a:pt x="f352" y="f275"/>
                    <a:pt x="f21" y="f150"/>
                    <a:pt x="f353" y="f152"/>
                  </a:cubicBezTo>
                  <a:cubicBezTo>
                    <a:pt x="f353" y="f152"/>
                    <a:pt x="f354" y="f154"/>
                    <a:pt x="f354" y="f154"/>
                  </a:cubicBezTo>
                  <a:cubicBezTo>
                    <a:pt x="f18" y="f154"/>
                    <a:pt x="f355" y="f154"/>
                    <a:pt x="f355" y="f154"/>
                  </a:cubicBezTo>
                  <a:cubicBezTo>
                    <a:pt x="f12" y="f356"/>
                    <a:pt x="f12" y="f356"/>
                    <a:pt x="f12" y="f356"/>
                  </a:cubicBezTo>
                  <a:cubicBezTo>
                    <a:pt x="f12" y="f157"/>
                    <a:pt x="f12" y="f157"/>
                    <a:pt x="f12" y="f157"/>
                  </a:cubicBezTo>
                  <a:cubicBezTo>
                    <a:pt x="f357" y="f223"/>
                    <a:pt x="f357" y="f223"/>
                    <a:pt x="f357" y="f223"/>
                  </a:cubicBezTo>
                  <a:cubicBezTo>
                    <a:pt x="f14" y="f197"/>
                    <a:pt x="f14" y="f197"/>
                    <a:pt x="f14" y="f197"/>
                  </a:cubicBezTo>
                  <a:cubicBezTo>
                    <a:pt x="f16" y="f161"/>
                    <a:pt x="f16" y="f161"/>
                    <a:pt x="f16" y="f161"/>
                  </a:cubicBezTo>
                  <a:cubicBezTo>
                    <a:pt x="f358" y="f193"/>
                    <a:pt x="f358" y="f193"/>
                    <a:pt x="f358" y="f193"/>
                  </a:cubicBezTo>
                  <a:lnTo>
                    <a:pt x="f9" y="f10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7" name="Freeform 337">
              <a:extLst>
                <a:ext uri="{FF2B5EF4-FFF2-40B4-BE49-F238E27FC236}">
                  <a16:creationId xmlns:a16="http://schemas.microsoft.com/office/drawing/2014/main" id="{B1FD797F-D52E-0A76-2DC7-731F34156513}"/>
                </a:ext>
              </a:extLst>
            </p:cNvPr>
            <p:cNvSpPr/>
            <p:nvPr/>
          </p:nvSpPr>
          <p:spPr>
            <a:xfrm>
              <a:off x="6983453" y="3382063"/>
              <a:ext cx="73517" cy="778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4"/>
                <a:gd name="f7" fmla="val 6"/>
                <a:gd name="f8" fmla="val 30"/>
                <a:gd name="f9" fmla="+- 0 0 -90"/>
                <a:gd name="f10" fmla="*/ f3 1 54"/>
                <a:gd name="f11" fmla="*/ f4 1 6"/>
                <a:gd name="f12" fmla="val f5"/>
                <a:gd name="f13" fmla="val f6"/>
                <a:gd name="f14" fmla="val f7"/>
                <a:gd name="f15" fmla="*/ f9 f0 1"/>
                <a:gd name="f16" fmla="+- f14 0 f12"/>
                <a:gd name="f17" fmla="+- f13 0 f12"/>
                <a:gd name="f18" fmla="*/ f15 1 f2"/>
                <a:gd name="f19" fmla="*/ f16 1 6"/>
                <a:gd name="f20" fmla="*/ f17 1 54"/>
                <a:gd name="f21" fmla="*/ 2147483646 f17 1"/>
                <a:gd name="f22" fmla="*/ 2147483646 f16 1"/>
                <a:gd name="f23" fmla="*/ 0 f16 1"/>
                <a:gd name="f24" fmla="*/ 0 f17 1"/>
                <a:gd name="f25" fmla="+- f18 0 f1"/>
                <a:gd name="f26" fmla="*/ f21 1 54"/>
                <a:gd name="f27" fmla="*/ f22 1 6"/>
                <a:gd name="f28" fmla="*/ f23 1 6"/>
                <a:gd name="f29" fmla="*/ f24 1 54"/>
                <a:gd name="f30" fmla="*/ 0 1 f20"/>
                <a:gd name="f31" fmla="*/ f13 1 f20"/>
                <a:gd name="f32" fmla="*/ 0 1 f19"/>
                <a:gd name="f33" fmla="*/ f14 1 f19"/>
                <a:gd name="f34" fmla="*/ f26 1 f20"/>
                <a:gd name="f35" fmla="*/ f27 1 f19"/>
                <a:gd name="f36" fmla="*/ f28 1 f19"/>
                <a:gd name="f37" fmla="*/ f29 1 f20"/>
                <a:gd name="f38" fmla="*/ f30 f10 1"/>
                <a:gd name="f39" fmla="*/ f31 f10 1"/>
                <a:gd name="f40" fmla="*/ f33 f11 1"/>
                <a:gd name="f41" fmla="*/ f32 f11 1"/>
                <a:gd name="f42" fmla="*/ f34 f10 1"/>
                <a:gd name="f43" fmla="*/ f35 f11 1"/>
                <a:gd name="f44" fmla="*/ f36 f11 1"/>
                <a:gd name="f45" fmla="*/ f3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">
                  <a:pos x="f42" y="f43"/>
                </a:cxn>
                <a:cxn ang="f25">
                  <a:pos x="f42" y="f43"/>
                </a:cxn>
                <a:cxn ang="f25">
                  <a:pos x="f42" y="f44"/>
                </a:cxn>
                <a:cxn ang="f25">
                  <a:pos x="f45" y="f43"/>
                </a:cxn>
                <a:cxn ang="f25">
                  <a:pos x="f42" y="f43"/>
                </a:cxn>
              </a:cxnLst>
              <a:rect l="f38" t="f41" r="f39" b="f40"/>
              <a:pathLst>
                <a:path w="54" h="6">
                  <a:moveTo>
                    <a:pt x="f7" y="f7"/>
                  </a:moveTo>
                  <a:lnTo>
                    <a:pt x="f8" y="f7"/>
                  </a:lnTo>
                  <a:lnTo>
                    <a:pt x="f6" y="f5"/>
                  </a:lnTo>
                  <a:lnTo>
                    <a:pt x="f5" y="f7"/>
                  </a:lnTo>
                  <a:lnTo>
                    <a:pt x="f7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8" name="Freeform 338">
              <a:extLst>
                <a:ext uri="{FF2B5EF4-FFF2-40B4-BE49-F238E27FC236}">
                  <a16:creationId xmlns:a16="http://schemas.microsoft.com/office/drawing/2014/main" id="{590E91D3-9777-4598-0023-70B217D16DEF}"/>
                </a:ext>
              </a:extLst>
            </p:cNvPr>
            <p:cNvSpPr/>
            <p:nvPr/>
          </p:nvSpPr>
          <p:spPr>
            <a:xfrm>
              <a:off x="6870726" y="2737520"/>
              <a:ext cx="1040669" cy="69592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9"/>
                <a:gd name="f7" fmla="val 91"/>
                <a:gd name="f8" fmla="val 89"/>
                <a:gd name="f9" fmla="val 79"/>
                <a:gd name="f10" fmla="val 87"/>
                <a:gd name="f11" fmla="val 77"/>
                <a:gd name="f12" fmla="val 88"/>
                <a:gd name="f13" fmla="val 73"/>
                <a:gd name="f14" fmla="val 96"/>
                <a:gd name="f15" fmla="val 71"/>
                <a:gd name="f16" fmla="val 101"/>
                <a:gd name="f17" fmla="val 67"/>
                <a:gd name="f18" fmla="val 105"/>
                <a:gd name="f19" fmla="val 63"/>
                <a:gd name="f20" fmla="val 107"/>
                <a:gd name="f21" fmla="val 51"/>
                <a:gd name="f22" fmla="val 114"/>
                <a:gd name="f23" fmla="val 50"/>
                <a:gd name="f24" fmla="val 116"/>
                <a:gd name="f25" fmla="val 40"/>
                <a:gd name="f26" fmla="val 124"/>
                <a:gd name="f27" fmla="val 41"/>
                <a:gd name="f28" fmla="val 126"/>
                <a:gd name="f29" fmla="val 35"/>
                <a:gd name="f30" fmla="val 34"/>
                <a:gd name="f31" fmla="val 29"/>
                <a:gd name="f32" fmla="val 122"/>
                <a:gd name="f33" fmla="val 27"/>
                <a:gd name="f34" fmla="val 23"/>
                <a:gd name="f35" fmla="val 104"/>
                <a:gd name="f36" fmla="val 100"/>
                <a:gd name="f37" fmla="val 14"/>
                <a:gd name="f38" fmla="val 6"/>
                <a:gd name="f39" fmla="val 82"/>
                <a:gd name="f40" fmla="val 9"/>
                <a:gd name="f41" fmla="val 74"/>
                <a:gd name="f42" fmla="val 62"/>
                <a:gd name="f43" fmla="val 3"/>
                <a:gd name="f44" fmla="val 49"/>
                <a:gd name="f45" fmla="val 7"/>
                <a:gd name="f46" fmla="val 45"/>
                <a:gd name="f47" fmla="val 16"/>
                <a:gd name="f48" fmla="val 47"/>
                <a:gd name="f49" fmla="val 24"/>
                <a:gd name="f50" fmla="val 33"/>
                <a:gd name="f51" fmla="val 22"/>
                <a:gd name="f52" fmla="val 20"/>
                <a:gd name="f53" fmla="val 13"/>
                <a:gd name="f54" fmla="val 21"/>
                <a:gd name="f55" fmla="val 26"/>
                <a:gd name="f56" fmla="val 4"/>
                <a:gd name="f57" fmla="val 37"/>
                <a:gd name="f58" fmla="val 42"/>
                <a:gd name="f59" fmla="val 19"/>
                <a:gd name="f60" fmla="val 52"/>
                <a:gd name="f61" fmla="val 59"/>
                <a:gd name="f62" fmla="val 64"/>
                <a:gd name="f63" fmla="val 72"/>
                <a:gd name="f64" fmla="val 76"/>
                <a:gd name="f65" fmla="val 84"/>
                <a:gd name="f66" fmla="val 80"/>
                <a:gd name="f67" fmla="val 38"/>
                <a:gd name="f68" fmla="val 85"/>
                <a:gd name="f69" fmla="val 46"/>
                <a:gd name="f70" fmla="val 86"/>
                <a:gd name="f71" fmla="val 48"/>
                <a:gd name="f72" fmla="val 90"/>
                <a:gd name="f73" fmla="val 53"/>
                <a:gd name="f74" fmla="val 58"/>
                <a:gd name="f75" fmla="val 83"/>
                <a:gd name="f76" fmla="val 66"/>
                <a:gd name="f77" fmla="val 68"/>
                <a:gd name="f78" fmla="val 78"/>
                <a:gd name="f79" fmla="+- 0 0 -90"/>
                <a:gd name="f80" fmla="*/ f3 1 129"/>
                <a:gd name="f81" fmla="*/ f4 1 91"/>
                <a:gd name="f82" fmla="val f5"/>
                <a:gd name="f83" fmla="val f6"/>
                <a:gd name="f84" fmla="val f7"/>
                <a:gd name="f85" fmla="*/ f79 f0 1"/>
                <a:gd name="f86" fmla="+- f84 0 f82"/>
                <a:gd name="f87" fmla="+- f83 0 f82"/>
                <a:gd name="f88" fmla="*/ f85 1 f2"/>
                <a:gd name="f89" fmla="*/ f87 1 129"/>
                <a:gd name="f90" fmla="*/ f86 1 91"/>
                <a:gd name="f91" fmla="*/ 2147483646 f87 1"/>
                <a:gd name="f92" fmla="*/ 2147483646 f86 1"/>
                <a:gd name="f93" fmla="*/ 0 f87 1"/>
                <a:gd name="f94" fmla="+- f88 0 f1"/>
                <a:gd name="f95" fmla="*/ f91 1 129"/>
                <a:gd name="f96" fmla="*/ f92 1 91"/>
                <a:gd name="f97" fmla="*/ f93 1 129"/>
                <a:gd name="f98" fmla="*/ 0 1 f89"/>
                <a:gd name="f99" fmla="*/ f83 1 f89"/>
                <a:gd name="f100" fmla="*/ 0 1 f90"/>
                <a:gd name="f101" fmla="*/ f84 1 f90"/>
                <a:gd name="f102" fmla="*/ f95 1 f89"/>
                <a:gd name="f103" fmla="*/ f96 1 f90"/>
                <a:gd name="f104" fmla="*/ f97 1 f89"/>
                <a:gd name="f105" fmla="*/ f98 f80 1"/>
                <a:gd name="f106" fmla="*/ f99 f80 1"/>
                <a:gd name="f107" fmla="*/ f101 f81 1"/>
                <a:gd name="f108" fmla="*/ f100 f81 1"/>
                <a:gd name="f109" fmla="*/ f102 f80 1"/>
                <a:gd name="f110" fmla="*/ f103 f81 1"/>
                <a:gd name="f111" fmla="*/ f104 f8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11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</a:cxnLst>
              <a:rect l="f105" t="f108" r="f106" b="f107"/>
              <a:pathLst>
                <a:path w="129" h="91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20" y="f21"/>
                    <a:pt x="f20" y="f21"/>
                    <a:pt x="f20" y="f21"/>
                  </a:cubicBezTo>
                  <a:cubicBezTo>
                    <a:pt x="f22" y="f23"/>
                    <a:pt x="f22" y="f23"/>
                    <a:pt x="f22" y="f23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28" y="f29"/>
                    <a:pt x="f28" y="f29"/>
                    <a:pt x="f28" y="f29"/>
                  </a:cubicBezTo>
                  <a:cubicBezTo>
                    <a:pt x="f6" y="f30"/>
                    <a:pt x="f6" y="f30"/>
                    <a:pt x="f6" y="f30"/>
                  </a:cubicBezTo>
                  <a:cubicBezTo>
                    <a:pt x="f6" y="f31"/>
                    <a:pt x="f6" y="f31"/>
                    <a:pt x="f6" y="f31"/>
                  </a:cubicBezTo>
                  <a:cubicBezTo>
                    <a:pt x="f32" y="f33"/>
                    <a:pt x="f32" y="f33"/>
                    <a:pt x="f32" y="f33"/>
                  </a:cubicBezTo>
                  <a:cubicBezTo>
                    <a:pt x="f22" y="f34"/>
                    <a:pt x="f22" y="f34"/>
                    <a:pt x="f22" y="f34"/>
                  </a:cubicBezTo>
                  <a:cubicBezTo>
                    <a:pt x="f35" y="f34"/>
                    <a:pt x="f35" y="f34"/>
                    <a:pt x="f35" y="f34"/>
                  </a:cubicBezTo>
                  <a:cubicBezTo>
                    <a:pt x="f36" y="f37"/>
                    <a:pt x="f36" y="f37"/>
                    <a:pt x="f36" y="f37"/>
                  </a:cubicBezTo>
                  <a:cubicBezTo>
                    <a:pt x="f14" y="f38"/>
                    <a:pt x="f14" y="f38"/>
                    <a:pt x="f14" y="f38"/>
                  </a:cubicBezTo>
                  <a:cubicBezTo>
                    <a:pt x="f7" y="f38"/>
                    <a:pt x="f7" y="f38"/>
                    <a:pt x="f7" y="f38"/>
                  </a:cubicBezTo>
                  <a:cubicBezTo>
                    <a:pt x="f39" y="f40"/>
                    <a:pt x="f39" y="f40"/>
                    <a:pt x="f39" y="f40"/>
                  </a:cubicBezTo>
                  <a:cubicBezTo>
                    <a:pt x="f41" y="f5"/>
                    <a:pt x="f41" y="f5"/>
                    <a:pt x="f41" y="f5"/>
                  </a:cubicBezTo>
                  <a:cubicBezTo>
                    <a:pt x="f42" y="f43"/>
                    <a:pt x="f42" y="f43"/>
                    <a:pt x="f42" y="f43"/>
                  </a:cubicBezTo>
                  <a:cubicBezTo>
                    <a:pt x="f44" y="f45"/>
                    <a:pt x="f44" y="f45"/>
                    <a:pt x="f44" y="f45"/>
                  </a:cubicBezTo>
                  <a:cubicBezTo>
                    <a:pt x="f46" y="f47"/>
                    <a:pt x="f46" y="f47"/>
                    <a:pt x="f46" y="f47"/>
                  </a:cubicBezTo>
                  <a:cubicBezTo>
                    <a:pt x="f48" y="f34"/>
                    <a:pt x="f48" y="f34"/>
                    <a:pt x="f48" y="f34"/>
                  </a:cubicBezTo>
                  <a:cubicBezTo>
                    <a:pt x="f25" y="f49"/>
                    <a:pt x="f25" y="f49"/>
                    <a:pt x="f25" y="f49"/>
                  </a:cubicBezTo>
                  <a:cubicBezTo>
                    <a:pt x="f50" y="f34"/>
                    <a:pt x="f50" y="f34"/>
                    <a:pt x="f50" y="f34"/>
                  </a:cubicBezTo>
                  <a:cubicBezTo>
                    <a:pt x="f33" y="f49"/>
                    <a:pt x="f33" y="f49"/>
                    <a:pt x="f33" y="f49"/>
                  </a:cubicBezTo>
                  <a:cubicBezTo>
                    <a:pt x="f51" y="f52"/>
                    <a:pt x="f51" y="f52"/>
                    <a:pt x="f51" y="f52"/>
                  </a:cubicBezTo>
                  <a:cubicBezTo>
                    <a:pt x="f53" y="f54"/>
                    <a:pt x="f53" y="f54"/>
                    <a:pt x="f53" y="f54"/>
                  </a:cubicBezTo>
                  <a:cubicBezTo>
                    <a:pt x="f43" y="f55"/>
                    <a:pt x="f43" y="f55"/>
                    <a:pt x="f43" y="f55"/>
                  </a:cubicBezTo>
                  <a:cubicBezTo>
                    <a:pt x="f5" y="f50"/>
                    <a:pt x="f5" y="f50"/>
                    <a:pt x="f5" y="f50"/>
                  </a:cubicBezTo>
                  <a:cubicBezTo>
                    <a:pt x="f56" y="f57"/>
                    <a:pt x="f56" y="f57"/>
                    <a:pt x="f56" y="f57"/>
                  </a:cubicBezTo>
                  <a:cubicBezTo>
                    <a:pt x="f38" y="f58"/>
                    <a:pt x="f38" y="f58"/>
                    <a:pt x="f38" y="f58"/>
                  </a:cubicBezTo>
                  <a:cubicBezTo>
                    <a:pt x="f53" y="f27"/>
                    <a:pt x="f53" y="f27"/>
                    <a:pt x="f53" y="f27"/>
                  </a:cubicBezTo>
                  <a:cubicBezTo>
                    <a:pt x="f59" y="f27"/>
                    <a:pt x="f59" y="f27"/>
                    <a:pt x="f59" y="f27"/>
                  </a:cubicBezTo>
                  <a:cubicBezTo>
                    <a:pt x="f55" y="f44"/>
                    <a:pt x="f55" y="f44"/>
                    <a:pt x="f55" y="f44"/>
                  </a:cubicBezTo>
                  <a:cubicBezTo>
                    <a:pt x="f52" y="f23"/>
                    <a:pt x="f52" y="f23"/>
                    <a:pt x="f52" y="f23"/>
                  </a:cubicBezTo>
                  <a:cubicBezTo>
                    <a:pt x="f47" y="f23"/>
                    <a:pt x="f47" y="f23"/>
                    <a:pt x="f47" y="f23"/>
                  </a:cubicBezTo>
                  <a:cubicBezTo>
                    <a:pt x="f53" y="f60"/>
                    <a:pt x="f53" y="f60"/>
                    <a:pt x="f53" y="f60"/>
                  </a:cubicBezTo>
                  <a:cubicBezTo>
                    <a:pt x="f47" y="f61"/>
                    <a:pt x="f47" y="f61"/>
                    <a:pt x="f47" y="f61"/>
                  </a:cubicBezTo>
                  <a:cubicBezTo>
                    <a:pt x="f47" y="f61"/>
                    <a:pt x="f52" y="f42"/>
                    <a:pt x="f52" y="f19"/>
                  </a:cubicBezTo>
                  <a:cubicBezTo>
                    <a:pt x="f52" y="f62"/>
                    <a:pt x="f52" y="f63"/>
                    <a:pt x="f52" y="f63"/>
                  </a:cubicBezTo>
                  <a:cubicBezTo>
                    <a:pt x="f49" y="f64"/>
                    <a:pt x="f49" y="f64"/>
                    <a:pt x="f49" y="f64"/>
                  </a:cubicBezTo>
                  <a:cubicBezTo>
                    <a:pt x="f34" y="f65"/>
                    <a:pt x="f34" y="f65"/>
                    <a:pt x="f34" y="f65"/>
                  </a:cubicBezTo>
                  <a:cubicBezTo>
                    <a:pt x="f49" y="f39"/>
                    <a:pt x="f49" y="f39"/>
                    <a:pt x="f49" y="f39"/>
                  </a:cubicBezTo>
                  <a:cubicBezTo>
                    <a:pt x="f31" y="f66"/>
                    <a:pt x="f31" y="f66"/>
                    <a:pt x="f31" y="f66"/>
                  </a:cubicBezTo>
                  <a:cubicBezTo>
                    <a:pt x="f50" y="f9"/>
                    <a:pt x="f50" y="f9"/>
                    <a:pt x="f50" y="f9"/>
                  </a:cubicBezTo>
                  <a:cubicBezTo>
                    <a:pt x="f67" y="f39"/>
                    <a:pt x="f67" y="f39"/>
                    <a:pt x="f67" y="f39"/>
                  </a:cubicBezTo>
                  <a:cubicBezTo>
                    <a:pt x="f58" y="f68"/>
                    <a:pt x="f58" y="f68"/>
                    <a:pt x="f58" y="f68"/>
                  </a:cubicBezTo>
                  <a:cubicBezTo>
                    <a:pt x="f69" y="f70"/>
                    <a:pt x="f69" y="f70"/>
                    <a:pt x="f69" y="f70"/>
                  </a:cubicBezTo>
                  <a:cubicBezTo>
                    <a:pt x="f69" y="f8"/>
                    <a:pt x="f69" y="f8"/>
                    <a:pt x="f69" y="f8"/>
                  </a:cubicBezTo>
                  <a:cubicBezTo>
                    <a:pt x="f71" y="f72"/>
                    <a:pt x="f71" y="f72"/>
                    <a:pt x="f71" y="f72"/>
                  </a:cubicBezTo>
                  <a:cubicBezTo>
                    <a:pt x="f21" y="f7"/>
                    <a:pt x="f21" y="f7"/>
                    <a:pt x="f21" y="f7"/>
                  </a:cubicBezTo>
                  <a:cubicBezTo>
                    <a:pt x="f73" y="f8"/>
                    <a:pt x="f73" y="f8"/>
                    <a:pt x="f73" y="f8"/>
                  </a:cubicBezTo>
                  <a:cubicBezTo>
                    <a:pt x="f74" y="f10"/>
                    <a:pt x="f74" y="f10"/>
                    <a:pt x="f74" y="f10"/>
                  </a:cubicBezTo>
                  <a:cubicBezTo>
                    <a:pt x="f61" y="f39"/>
                    <a:pt x="f61" y="f39"/>
                    <a:pt x="f61" y="f39"/>
                  </a:cubicBezTo>
                  <a:cubicBezTo>
                    <a:pt x="f19" y="f75"/>
                    <a:pt x="f19" y="f75"/>
                    <a:pt x="f19" y="f75"/>
                  </a:cubicBezTo>
                  <a:cubicBezTo>
                    <a:pt x="f76" y="f75"/>
                    <a:pt x="f76" y="f75"/>
                    <a:pt x="f76" y="f75"/>
                  </a:cubicBezTo>
                  <a:cubicBezTo>
                    <a:pt x="f77" y="f68"/>
                    <a:pt x="f77" y="f68"/>
                    <a:pt x="f77" y="f68"/>
                  </a:cubicBezTo>
                  <a:cubicBezTo>
                    <a:pt x="f63" y="f65"/>
                    <a:pt x="f63" y="f65"/>
                    <a:pt x="f63" y="f65"/>
                  </a:cubicBezTo>
                  <a:cubicBezTo>
                    <a:pt x="f41" y="f39"/>
                    <a:pt x="f41" y="f39"/>
                    <a:pt x="f41" y="f39"/>
                  </a:cubicBezTo>
                  <a:cubicBezTo>
                    <a:pt x="f11" y="f9"/>
                    <a:pt x="f11" y="f9"/>
                    <a:pt x="f11" y="f9"/>
                  </a:cubicBezTo>
                  <a:cubicBezTo>
                    <a:pt x="f78" y="f66"/>
                    <a:pt x="f78" y="f66"/>
                    <a:pt x="f78" y="f66"/>
                  </a:cubicBezTo>
                  <a:cubicBezTo>
                    <a:pt x="f9" y="f75"/>
                    <a:pt x="f9" y="f75"/>
                    <a:pt x="f9" y="f75"/>
                  </a:cubicBezTo>
                  <a:cubicBezTo>
                    <a:pt x="f39" y="f75"/>
                    <a:pt x="f39" y="f75"/>
                    <a:pt x="f39" y="f75"/>
                  </a:cubicBezTo>
                  <a:cubicBezTo>
                    <a:pt x="f70" y="f39"/>
                    <a:pt x="f70" y="f39"/>
                    <a:pt x="f70" y="f39"/>
                  </a:cubicBezTo>
                  <a:cubicBezTo>
                    <a:pt x="f12" y="f39"/>
                    <a:pt x="f12" y="f39"/>
                    <a:pt x="f12" y="f39"/>
                  </a:cubicBezTo>
                  <a:cubicBezTo>
                    <a:pt x="f12" y="f75"/>
                    <a:pt x="f12" y="f75"/>
                    <a:pt x="f12" y="f75"/>
                  </a:cubicBezTo>
                  <a:cubicBezTo>
                    <a:pt x="f72" y="f39"/>
                    <a:pt x="f72" y="f39"/>
                    <a:pt x="f72" y="f39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9" name="Freeform 339">
              <a:extLst>
                <a:ext uri="{FF2B5EF4-FFF2-40B4-BE49-F238E27FC236}">
                  <a16:creationId xmlns:a16="http://schemas.microsoft.com/office/drawing/2014/main" id="{1B5BF547-ADED-BE1B-6226-A9CF1B0E56BA}"/>
                </a:ext>
              </a:extLst>
            </p:cNvPr>
            <p:cNvSpPr/>
            <p:nvPr/>
          </p:nvSpPr>
          <p:spPr>
            <a:xfrm>
              <a:off x="6934441" y="3358718"/>
              <a:ext cx="22869" cy="1400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"/>
                <a:gd name="f7" fmla="val 12"/>
                <a:gd name="f8" fmla="+- 0 0 -90"/>
                <a:gd name="f9" fmla="*/ f3 1 18"/>
                <a:gd name="f10" fmla="*/ f4 1 12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6 1 18"/>
                <a:gd name="f19" fmla="*/ f15 1 12"/>
                <a:gd name="f20" fmla="*/ 0 f16 1"/>
                <a:gd name="f21" fmla="*/ 0 f15 1"/>
                <a:gd name="f22" fmla="*/ 2147483646 f15 1"/>
                <a:gd name="f23" fmla="*/ 2147483646 f16 1"/>
                <a:gd name="f24" fmla="+- f17 0 f1"/>
                <a:gd name="f25" fmla="*/ f20 1 18"/>
                <a:gd name="f26" fmla="*/ f21 1 12"/>
                <a:gd name="f27" fmla="*/ f22 1 12"/>
                <a:gd name="f28" fmla="*/ f23 1 18"/>
                <a:gd name="f29" fmla="*/ 0 1 f18"/>
                <a:gd name="f30" fmla="*/ f12 1 f18"/>
                <a:gd name="f31" fmla="*/ 0 1 f19"/>
                <a:gd name="f32" fmla="*/ f13 1 f19"/>
                <a:gd name="f33" fmla="*/ f25 1 f18"/>
                <a:gd name="f34" fmla="*/ f26 1 f19"/>
                <a:gd name="f35" fmla="*/ f27 1 f19"/>
                <a:gd name="f36" fmla="*/ f28 1 f18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10 1"/>
                <a:gd name="f44" fmla="*/ f36 f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1" y="f43"/>
                </a:cxn>
                <a:cxn ang="f24">
                  <a:pos x="f44" y="f43"/>
                </a:cxn>
                <a:cxn ang="f24">
                  <a:pos x="f44" y="f43"/>
                </a:cxn>
                <a:cxn ang="f24">
                  <a:pos x="f41" y="f42"/>
                </a:cxn>
              </a:cxnLst>
              <a:rect l="f37" t="f40" r="f38" b="f39"/>
              <a:pathLst>
                <a:path w="18" h="12">
                  <a:moveTo>
                    <a:pt x="f5" y="f5"/>
                  </a:moveTo>
                  <a:lnTo>
                    <a:pt x="f5" y="f7"/>
                  </a:lnTo>
                  <a:lnTo>
                    <a:pt x="f6" y="f7"/>
                  </a:lnTo>
                  <a:lnTo>
                    <a:pt x="f7" y="f7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0" name="Rectangle 1169">
              <a:extLst>
                <a:ext uri="{FF2B5EF4-FFF2-40B4-BE49-F238E27FC236}">
                  <a16:creationId xmlns:a16="http://schemas.microsoft.com/office/drawing/2014/main" id="{E80B60AB-54A5-63E7-0985-E64CAF88194A}"/>
                </a:ext>
              </a:extLst>
            </p:cNvPr>
            <p:cNvSpPr/>
            <p:nvPr/>
          </p:nvSpPr>
          <p:spPr>
            <a:xfrm>
              <a:off x="6093083" y="2997521"/>
              <a:ext cx="9802" cy="1554"/>
            </a:xfrm>
            <a:prstGeom prst="rect">
              <a:avLst/>
            </a:pr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1" name="Freeform 347">
              <a:extLst>
                <a:ext uri="{FF2B5EF4-FFF2-40B4-BE49-F238E27FC236}">
                  <a16:creationId xmlns:a16="http://schemas.microsoft.com/office/drawing/2014/main" id="{FB3267D4-346B-1C71-8E80-73E6E2D8F101}"/>
                </a:ext>
              </a:extLst>
            </p:cNvPr>
            <p:cNvSpPr/>
            <p:nvPr/>
          </p:nvSpPr>
          <p:spPr>
            <a:xfrm>
              <a:off x="5797385" y="1864104"/>
              <a:ext cx="668188" cy="75196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3"/>
                <a:gd name="f7" fmla="val 98"/>
                <a:gd name="f8" fmla="val 23"/>
                <a:gd name="f9" fmla="val 87"/>
                <a:gd name="f10" fmla="val 24"/>
                <a:gd name="f11" fmla="val 86"/>
                <a:gd name="f12" fmla="val 82"/>
                <a:gd name="f13" fmla="val 80"/>
                <a:gd name="f14" fmla="val 26"/>
                <a:gd name="f15" fmla="val 78"/>
                <a:gd name="f16" fmla="val 75"/>
                <a:gd name="f17" fmla="val 70"/>
                <a:gd name="f18" fmla="val 69"/>
                <a:gd name="f19" fmla="val 65"/>
                <a:gd name="f20" fmla="val 62"/>
                <a:gd name="f21" fmla="val 60"/>
                <a:gd name="f22" fmla="val 30"/>
                <a:gd name="f23" fmla="val 59"/>
                <a:gd name="f24" fmla="val 56"/>
                <a:gd name="f25" fmla="val 29"/>
                <a:gd name="f26" fmla="val 54"/>
                <a:gd name="f27" fmla="val 31"/>
                <a:gd name="f28" fmla="val 50"/>
                <a:gd name="f29" fmla="val 32"/>
                <a:gd name="f30" fmla="val 44"/>
                <a:gd name="f31" fmla="val 34"/>
                <a:gd name="f32" fmla="val 43"/>
                <a:gd name="f33" fmla="val 36"/>
                <a:gd name="f34" fmla="val 38"/>
                <a:gd name="f35" fmla="val 35"/>
                <a:gd name="f36" fmla="val 37"/>
                <a:gd name="f37" fmla="val 41"/>
                <a:gd name="f38" fmla="val 28"/>
                <a:gd name="f39" fmla="val 42"/>
                <a:gd name="f40" fmla="val 47"/>
                <a:gd name="f41" fmla="val 49"/>
                <a:gd name="f42" fmla="val 22"/>
                <a:gd name="f43" fmla="val 19"/>
                <a:gd name="f44" fmla="val 51"/>
                <a:gd name="f45" fmla="val 52"/>
                <a:gd name="f46" fmla="val 53"/>
                <a:gd name="f47" fmla="val 17"/>
                <a:gd name="f48" fmla="val 21"/>
                <a:gd name="f49" fmla="val 63"/>
                <a:gd name="f50" fmla="val 66"/>
                <a:gd name="f51" fmla="val 68"/>
                <a:gd name="f52" fmla="val 14"/>
                <a:gd name="f53" fmla="val 12"/>
                <a:gd name="f54" fmla="val 11"/>
                <a:gd name="f55" fmla="val 77"/>
                <a:gd name="f56" fmla="val 18"/>
                <a:gd name="f57" fmla="val 81"/>
                <a:gd name="f58" fmla="val 15"/>
                <a:gd name="f59" fmla="val 13"/>
                <a:gd name="f60" fmla="val 9"/>
                <a:gd name="f61" fmla="val 6"/>
                <a:gd name="f62" fmla="val 4"/>
                <a:gd name="f63" fmla="val 76"/>
                <a:gd name="f64" fmla="val 72"/>
                <a:gd name="f65" fmla="val 2"/>
                <a:gd name="f66" fmla="val 1"/>
                <a:gd name="f67" fmla="val 5"/>
                <a:gd name="f68" fmla="val 55"/>
                <a:gd name="f69" fmla="val 8"/>
                <a:gd name="f70" fmla="val 48"/>
                <a:gd name="f71" fmla="val 40"/>
                <a:gd name="f72" fmla="val 25"/>
                <a:gd name="f73" fmla="val 46"/>
                <a:gd name="f74" fmla="val 71"/>
                <a:gd name="f75" fmla="val 3"/>
                <a:gd name="f76" fmla="val 73"/>
                <a:gd name="f77" fmla="val 79"/>
                <a:gd name="f78" fmla="val 84"/>
                <a:gd name="f79" fmla="val 91"/>
                <a:gd name="f80" fmla="val 95"/>
                <a:gd name="f81" fmla="val 7"/>
                <a:gd name="f82" fmla="val 97"/>
                <a:gd name="f83" fmla="val 16"/>
                <a:gd name="f84" fmla="val 93"/>
                <a:gd name="f85" fmla="val 20"/>
                <a:gd name="f86" fmla="val 92"/>
                <a:gd name="f87" fmla="+- 0 0 -90"/>
                <a:gd name="f88" fmla="*/ f3 1 83"/>
                <a:gd name="f89" fmla="*/ f4 1 98"/>
                <a:gd name="f90" fmla="val f5"/>
                <a:gd name="f91" fmla="val f6"/>
                <a:gd name="f92" fmla="val f7"/>
                <a:gd name="f93" fmla="*/ f87 f0 1"/>
                <a:gd name="f94" fmla="+- f92 0 f90"/>
                <a:gd name="f95" fmla="+- f91 0 f90"/>
                <a:gd name="f96" fmla="*/ f93 1 f2"/>
                <a:gd name="f97" fmla="*/ f95 1 83"/>
                <a:gd name="f98" fmla="*/ f94 1 98"/>
                <a:gd name="f99" fmla="*/ 2147483646 f95 1"/>
                <a:gd name="f100" fmla="*/ 2147483646 f94 1"/>
                <a:gd name="f101" fmla="*/ 0 f94 1"/>
                <a:gd name="f102" fmla="+- f96 0 f1"/>
                <a:gd name="f103" fmla="*/ f99 1 83"/>
                <a:gd name="f104" fmla="*/ f100 1 98"/>
                <a:gd name="f105" fmla="*/ f101 1 98"/>
                <a:gd name="f106" fmla="*/ 0 1 f97"/>
                <a:gd name="f107" fmla="*/ f91 1 f97"/>
                <a:gd name="f108" fmla="*/ 0 1 f98"/>
                <a:gd name="f109" fmla="*/ f92 1 f98"/>
                <a:gd name="f110" fmla="*/ f103 1 f97"/>
                <a:gd name="f111" fmla="*/ f104 1 f98"/>
                <a:gd name="f112" fmla="*/ f105 1 f98"/>
                <a:gd name="f113" fmla="*/ f106 f88 1"/>
                <a:gd name="f114" fmla="*/ f107 f88 1"/>
                <a:gd name="f115" fmla="*/ f109 f89 1"/>
                <a:gd name="f116" fmla="*/ f108 f89 1"/>
                <a:gd name="f117" fmla="*/ f110 f88 1"/>
                <a:gd name="f118" fmla="*/ f111 f89 1"/>
                <a:gd name="f119" fmla="*/ f112 f8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9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  <a:cxn ang="f102">
                  <a:pos x="f117" y="f118"/>
                </a:cxn>
              </a:cxnLst>
              <a:rect l="f113" t="f116" r="f114" b="f115"/>
              <a:pathLst>
                <a:path w="83" h="98">
                  <a:moveTo>
                    <a:pt x="f8" y="f9"/>
                  </a:moveTo>
                  <a:cubicBezTo>
                    <a:pt x="f8" y="f9"/>
                    <a:pt x="f10" y="f9"/>
                    <a:pt x="f10" y="f11"/>
                  </a:cubicBezTo>
                  <a:cubicBezTo>
                    <a:pt x="f10" y="f11"/>
                    <a:pt x="f10" y="f12"/>
                    <a:pt x="f10" y="f12"/>
                  </a:cubicBezTo>
                  <a:cubicBezTo>
                    <a:pt x="f10" y="f13"/>
                    <a:pt x="f10" y="f13"/>
                    <a:pt x="f10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0" y="f16"/>
                    <a:pt x="f10" y="f16"/>
                    <a:pt x="f10" y="f16"/>
                  </a:cubicBezTo>
                  <a:cubicBezTo>
                    <a:pt x="f10" y="f16"/>
                    <a:pt x="f8" y="f17"/>
                    <a:pt x="f8" y="f17"/>
                  </a:cubicBezTo>
                  <a:cubicBezTo>
                    <a:pt x="f8" y="f18"/>
                    <a:pt x="f10" y="f19"/>
                    <a:pt x="f10" y="f19"/>
                  </a:cubicBezTo>
                  <a:cubicBezTo>
                    <a:pt x="f10" y="f19"/>
                    <a:pt x="f10" y="f20"/>
                    <a:pt x="f10" y="f20"/>
                  </a:cubicBezTo>
                  <a:cubicBezTo>
                    <a:pt x="f14" y="f21"/>
                    <a:pt x="f14" y="f21"/>
                    <a:pt x="f14" y="f21"/>
                  </a:cubicBezTo>
                  <a:cubicBezTo>
                    <a:pt x="f22" y="f23"/>
                    <a:pt x="f22" y="f23"/>
                    <a:pt x="f22" y="f23"/>
                  </a:cubicBezTo>
                  <a:cubicBezTo>
                    <a:pt x="f22" y="f24"/>
                    <a:pt x="f22" y="f24"/>
                    <a:pt x="f22" y="f24"/>
                  </a:cubicBezTo>
                  <a:cubicBezTo>
                    <a:pt x="f25" y="f26"/>
                    <a:pt x="f25" y="f26"/>
                    <a:pt x="f25" y="f26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33" y="f34"/>
                    <a:pt x="f33" y="f34"/>
                    <a:pt x="f33" y="f34"/>
                  </a:cubicBezTo>
                  <a:cubicBezTo>
                    <a:pt x="f34" y="f35"/>
                    <a:pt x="f34" y="f35"/>
                    <a:pt x="f34" y="f35"/>
                  </a:cubicBezTo>
                  <a:cubicBezTo>
                    <a:pt x="f36" y="f29"/>
                    <a:pt x="f36" y="f29"/>
                    <a:pt x="f36" y="f29"/>
                  </a:cubicBezTo>
                  <a:cubicBezTo>
                    <a:pt x="f34" y="f22"/>
                    <a:pt x="f34" y="f22"/>
                    <a:pt x="f34" y="f22"/>
                  </a:cubicBezTo>
                  <a:cubicBezTo>
                    <a:pt x="f37" y="f38"/>
                    <a:pt x="f37" y="f38"/>
                    <a:pt x="f37" y="f38"/>
                  </a:cubicBezTo>
                  <a:cubicBezTo>
                    <a:pt x="f39" y="f38"/>
                    <a:pt x="f39" y="f38"/>
                    <a:pt x="f39" y="f38"/>
                  </a:cubicBezTo>
                  <a:cubicBezTo>
                    <a:pt x="f30" y="f10"/>
                    <a:pt x="f30" y="f10"/>
                    <a:pt x="f30" y="f10"/>
                  </a:cubicBezTo>
                  <a:cubicBezTo>
                    <a:pt x="f40" y="f10"/>
                    <a:pt x="f40" y="f10"/>
                    <a:pt x="f40" y="f10"/>
                  </a:cubicBezTo>
                  <a:cubicBezTo>
                    <a:pt x="f41" y="f10"/>
                    <a:pt x="f41" y="f10"/>
                    <a:pt x="f41" y="f10"/>
                  </a:cubicBezTo>
                  <a:cubicBezTo>
                    <a:pt x="f41" y="f42"/>
                    <a:pt x="f41" y="f42"/>
                    <a:pt x="f41" y="f42"/>
                  </a:cubicBezTo>
                  <a:cubicBezTo>
                    <a:pt x="f28" y="f43"/>
                    <a:pt x="f28" y="f43"/>
                    <a:pt x="f28" y="f43"/>
                  </a:cubicBezTo>
                  <a:cubicBezTo>
                    <a:pt x="f44" y="f43"/>
                    <a:pt x="f44" y="f43"/>
                    <a:pt x="f44" y="f43"/>
                  </a:cubicBezTo>
                  <a:cubicBezTo>
                    <a:pt x="f45" y="f43"/>
                    <a:pt x="f45" y="f43"/>
                    <a:pt x="f45" y="f43"/>
                  </a:cubicBezTo>
                  <a:cubicBezTo>
                    <a:pt x="f46" y="f47"/>
                    <a:pt x="f46" y="f47"/>
                    <a:pt x="f46" y="f47"/>
                  </a:cubicBezTo>
                  <a:cubicBezTo>
                    <a:pt x="f26" y="f43"/>
                    <a:pt x="f26" y="f43"/>
                    <a:pt x="f26" y="f43"/>
                  </a:cubicBezTo>
                  <a:cubicBezTo>
                    <a:pt x="f24" y="f48"/>
                    <a:pt x="f24" y="f48"/>
                    <a:pt x="f24" y="f48"/>
                  </a:cubicBezTo>
                  <a:cubicBezTo>
                    <a:pt x="f23" y="f42"/>
                    <a:pt x="f23" y="f42"/>
                    <a:pt x="f23" y="f42"/>
                  </a:cubicBezTo>
                  <a:cubicBezTo>
                    <a:pt x="f20" y="f48"/>
                    <a:pt x="f20" y="f48"/>
                    <a:pt x="f20" y="f48"/>
                  </a:cubicBezTo>
                  <a:cubicBezTo>
                    <a:pt x="f49" y="f42"/>
                    <a:pt x="f49" y="f42"/>
                    <a:pt x="f49" y="f42"/>
                  </a:cubicBezTo>
                  <a:cubicBezTo>
                    <a:pt x="f50" y="f43"/>
                    <a:pt x="f50" y="f43"/>
                    <a:pt x="f50" y="f43"/>
                  </a:cubicBezTo>
                  <a:cubicBezTo>
                    <a:pt x="f51" y="f52"/>
                    <a:pt x="f51" y="f52"/>
                    <a:pt x="f51" y="f52"/>
                  </a:cubicBezTo>
                  <a:cubicBezTo>
                    <a:pt x="f17" y="f53"/>
                    <a:pt x="f17" y="f53"/>
                    <a:pt x="f17" y="f53"/>
                  </a:cubicBezTo>
                  <a:cubicBezTo>
                    <a:pt x="f16" y="f54"/>
                    <a:pt x="f16" y="f54"/>
                    <a:pt x="f16" y="f54"/>
                  </a:cubicBezTo>
                  <a:cubicBezTo>
                    <a:pt x="f15" y="f52"/>
                    <a:pt x="f15" y="f52"/>
                    <a:pt x="f15" y="f52"/>
                  </a:cubicBezTo>
                  <a:cubicBezTo>
                    <a:pt x="f15" y="f47"/>
                    <a:pt x="f15" y="f47"/>
                    <a:pt x="f15" y="f47"/>
                  </a:cubicBezTo>
                  <a:cubicBezTo>
                    <a:pt x="f55" y="f43"/>
                    <a:pt x="f55" y="f43"/>
                    <a:pt x="f55" y="f43"/>
                  </a:cubicBezTo>
                  <a:cubicBezTo>
                    <a:pt x="f15" y="f56"/>
                    <a:pt x="f15" y="f56"/>
                    <a:pt x="f15" y="f56"/>
                  </a:cubicBezTo>
                  <a:cubicBezTo>
                    <a:pt x="f55" y="f43"/>
                    <a:pt x="f55" y="f43"/>
                    <a:pt x="f55" y="f43"/>
                  </a:cubicBezTo>
                  <a:cubicBezTo>
                    <a:pt x="f55" y="f43"/>
                    <a:pt x="f55" y="f43"/>
                    <a:pt x="f55" y="f43"/>
                  </a:cubicBezTo>
                  <a:cubicBezTo>
                    <a:pt x="f57" y="f58"/>
                    <a:pt x="f57" y="f58"/>
                    <a:pt x="f57" y="f58"/>
                  </a:cubicBezTo>
                  <a:cubicBezTo>
                    <a:pt x="f12" y="f59"/>
                    <a:pt x="f12" y="f59"/>
                    <a:pt x="f12" y="f59"/>
                  </a:cubicBezTo>
                  <a:cubicBezTo>
                    <a:pt x="f57" y="f53"/>
                    <a:pt x="f57" y="f53"/>
                    <a:pt x="f57" y="f53"/>
                  </a:cubicBezTo>
                  <a:cubicBezTo>
                    <a:pt x="f13" y="f60"/>
                    <a:pt x="f13" y="f60"/>
                    <a:pt x="f13" y="f60"/>
                  </a:cubicBezTo>
                  <a:cubicBezTo>
                    <a:pt x="f6" y="f61"/>
                    <a:pt x="f6" y="f61"/>
                    <a:pt x="f6" y="f61"/>
                  </a:cubicBezTo>
                  <a:cubicBezTo>
                    <a:pt x="f13" y="f62"/>
                    <a:pt x="f13" y="f62"/>
                    <a:pt x="f13" y="f62"/>
                  </a:cubicBezTo>
                  <a:cubicBezTo>
                    <a:pt x="f63" y="f5"/>
                    <a:pt x="f63" y="f5"/>
                    <a:pt x="f63" y="f5"/>
                  </a:cubicBezTo>
                  <a:cubicBezTo>
                    <a:pt x="f64" y="f62"/>
                    <a:pt x="f64" y="f62"/>
                    <a:pt x="f64" y="f62"/>
                  </a:cubicBezTo>
                  <a:cubicBezTo>
                    <a:pt x="f18" y="f65"/>
                    <a:pt x="f18" y="f65"/>
                    <a:pt x="f18" y="f65"/>
                  </a:cubicBezTo>
                  <a:cubicBezTo>
                    <a:pt x="f18" y="f66"/>
                    <a:pt x="f18" y="f66"/>
                    <a:pt x="f18" y="f66"/>
                  </a:cubicBezTo>
                  <a:cubicBezTo>
                    <a:pt x="f50" y="f66"/>
                    <a:pt x="f50" y="f66"/>
                    <a:pt x="f50" y="f66"/>
                  </a:cubicBezTo>
                  <a:cubicBezTo>
                    <a:pt x="f20" y="f66"/>
                    <a:pt x="f20" y="f66"/>
                    <a:pt x="f20" y="f66"/>
                  </a:cubicBezTo>
                  <a:cubicBezTo>
                    <a:pt x="f23" y="f67"/>
                    <a:pt x="f23" y="f67"/>
                    <a:pt x="f23" y="f67"/>
                  </a:cubicBezTo>
                  <a:cubicBezTo>
                    <a:pt x="f24" y="f61"/>
                    <a:pt x="f24" y="f61"/>
                    <a:pt x="f24" y="f61"/>
                  </a:cubicBezTo>
                  <a:cubicBezTo>
                    <a:pt x="f68" y="f61"/>
                    <a:pt x="f68" y="f61"/>
                    <a:pt x="f68" y="f61"/>
                  </a:cubicBezTo>
                  <a:cubicBezTo>
                    <a:pt x="f46" y="f69"/>
                    <a:pt x="f46" y="f69"/>
                    <a:pt x="f46" y="f69"/>
                  </a:cubicBezTo>
                  <a:cubicBezTo>
                    <a:pt x="f28" y="f69"/>
                    <a:pt x="f28" y="f69"/>
                    <a:pt x="f28" y="f69"/>
                  </a:cubicBezTo>
                  <a:cubicBezTo>
                    <a:pt x="f70" y="f59"/>
                    <a:pt x="f70" y="f59"/>
                    <a:pt x="f70" y="f59"/>
                  </a:cubicBezTo>
                  <a:cubicBezTo>
                    <a:pt x="f32" y="f52"/>
                    <a:pt x="f32" y="f52"/>
                    <a:pt x="f32" y="f52"/>
                  </a:cubicBezTo>
                  <a:cubicBezTo>
                    <a:pt x="f37" y="f43"/>
                    <a:pt x="f37" y="f43"/>
                    <a:pt x="f37" y="f43"/>
                  </a:cubicBezTo>
                  <a:cubicBezTo>
                    <a:pt x="f71" y="f42"/>
                    <a:pt x="f71" y="f42"/>
                    <a:pt x="f71" y="f42"/>
                  </a:cubicBezTo>
                  <a:cubicBezTo>
                    <a:pt x="f36" y="f42"/>
                    <a:pt x="f36" y="f42"/>
                    <a:pt x="f36" y="f42"/>
                  </a:cubicBezTo>
                  <a:cubicBezTo>
                    <a:pt x="f29" y="f38"/>
                    <a:pt x="f29" y="f38"/>
                    <a:pt x="f29" y="f38"/>
                  </a:cubicBezTo>
                  <a:cubicBezTo>
                    <a:pt x="f29" y="f27"/>
                    <a:pt x="f29" y="f27"/>
                    <a:pt x="f29" y="f27"/>
                  </a:cubicBezTo>
                  <a:cubicBezTo>
                    <a:pt x="f38" y="f34"/>
                    <a:pt x="f38" y="f34"/>
                    <a:pt x="f38" y="f34"/>
                  </a:cubicBezTo>
                  <a:cubicBezTo>
                    <a:pt x="f14" y="f37"/>
                    <a:pt x="f14" y="f37"/>
                    <a:pt x="f14" y="f37"/>
                  </a:cubicBezTo>
                  <a:cubicBezTo>
                    <a:pt x="f72" y="f73"/>
                    <a:pt x="f72" y="f73"/>
                    <a:pt x="f72" y="f73"/>
                  </a:cubicBezTo>
                  <a:cubicBezTo>
                    <a:pt x="f8" y="f41"/>
                    <a:pt x="f8" y="f41"/>
                    <a:pt x="f8" y="f41"/>
                  </a:cubicBezTo>
                  <a:cubicBezTo>
                    <a:pt x="f47" y="f21"/>
                    <a:pt x="f47" y="f21"/>
                    <a:pt x="f47" y="f21"/>
                  </a:cubicBezTo>
                  <a:cubicBezTo>
                    <a:pt x="f59" y="f49"/>
                    <a:pt x="f59" y="f49"/>
                    <a:pt x="f59" y="f49"/>
                  </a:cubicBezTo>
                  <a:cubicBezTo>
                    <a:pt x="f69" y="f19"/>
                    <a:pt x="f69" y="f19"/>
                    <a:pt x="f69" y="f19"/>
                  </a:cubicBezTo>
                  <a:cubicBezTo>
                    <a:pt x="f61" y="f18"/>
                    <a:pt x="f61" y="f18"/>
                    <a:pt x="f61" y="f18"/>
                  </a:cubicBezTo>
                  <a:cubicBezTo>
                    <a:pt x="f62" y="f74"/>
                    <a:pt x="f62" y="f74"/>
                    <a:pt x="f62" y="f74"/>
                  </a:cubicBezTo>
                  <a:cubicBezTo>
                    <a:pt x="f75" y="f76"/>
                    <a:pt x="f75" y="f76"/>
                    <a:pt x="f75" y="f76"/>
                  </a:cubicBezTo>
                  <a:cubicBezTo>
                    <a:pt x="f65" y="f63"/>
                    <a:pt x="f65" y="f63"/>
                    <a:pt x="f65" y="f63"/>
                  </a:cubicBezTo>
                  <a:cubicBezTo>
                    <a:pt x="f5" y="f77"/>
                    <a:pt x="f5" y="f77"/>
                    <a:pt x="f5" y="f77"/>
                  </a:cubicBezTo>
                  <a:cubicBezTo>
                    <a:pt x="f66" y="f78"/>
                    <a:pt x="f66" y="f78"/>
                    <a:pt x="f66" y="f78"/>
                  </a:cubicBezTo>
                  <a:cubicBezTo>
                    <a:pt x="f65" y="f9"/>
                    <a:pt x="f65" y="f9"/>
                    <a:pt x="f65" y="f9"/>
                  </a:cubicBezTo>
                  <a:cubicBezTo>
                    <a:pt x="f75" y="f79"/>
                    <a:pt x="f75" y="f79"/>
                    <a:pt x="f75" y="f79"/>
                  </a:cubicBezTo>
                  <a:cubicBezTo>
                    <a:pt x="f75" y="f80"/>
                    <a:pt x="f75" y="f80"/>
                    <a:pt x="f75" y="f80"/>
                  </a:cubicBezTo>
                  <a:cubicBezTo>
                    <a:pt x="f81" y="f7"/>
                    <a:pt x="f81" y="f7"/>
                    <a:pt x="f81" y="f7"/>
                  </a:cubicBezTo>
                  <a:cubicBezTo>
                    <a:pt x="f54" y="f82"/>
                    <a:pt x="f54" y="f82"/>
                    <a:pt x="f54" y="f82"/>
                  </a:cubicBezTo>
                  <a:cubicBezTo>
                    <a:pt x="f83" y="f84"/>
                    <a:pt x="f83" y="f84"/>
                    <a:pt x="f83" y="f84"/>
                  </a:cubicBezTo>
                  <a:cubicBezTo>
                    <a:pt x="f43" y="f79"/>
                    <a:pt x="f43" y="f79"/>
                    <a:pt x="f43" y="f79"/>
                  </a:cubicBezTo>
                  <a:cubicBezTo>
                    <a:pt x="f85" y="f86"/>
                    <a:pt x="f85" y="f86"/>
                    <a:pt x="f85" y="f86"/>
                  </a:cubicBezTo>
                  <a:cubicBezTo>
                    <a:pt x="f85" y="f84"/>
                    <a:pt x="f85" y="f84"/>
                    <a:pt x="f85" y="f84"/>
                  </a:cubicBezTo>
                  <a:cubicBezTo>
                    <a:pt x="f48" y="f86"/>
                    <a:pt x="f48" y="f86"/>
                    <a:pt x="f48" y="f86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2" name="Freeform 348">
              <a:extLst>
                <a:ext uri="{FF2B5EF4-FFF2-40B4-BE49-F238E27FC236}">
                  <a16:creationId xmlns:a16="http://schemas.microsoft.com/office/drawing/2014/main" id="{E9F156D6-1513-CB10-7F6B-A88D2230452A}"/>
                </a:ext>
              </a:extLst>
            </p:cNvPr>
            <p:cNvSpPr/>
            <p:nvPr/>
          </p:nvSpPr>
          <p:spPr>
            <a:xfrm>
              <a:off x="5957487" y="2010463"/>
              <a:ext cx="330006" cy="71927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9895"/>
                <a:gd name="f8" fmla="val 2316"/>
                <a:gd name="f9" fmla="val 2211"/>
                <a:gd name="f10" fmla="val 9756"/>
                <a:gd name="f11" fmla="val 1895"/>
                <a:gd name="f12" fmla="val 1579"/>
                <a:gd name="f13" fmla="val 1158"/>
                <a:gd name="f14" fmla="val 9268"/>
                <a:gd name="f15" fmla="val 632"/>
                <a:gd name="f16" fmla="val 9024"/>
                <a:gd name="f17" fmla="val 8537"/>
                <a:gd name="f18" fmla="val 526"/>
                <a:gd name="f19" fmla="val 7805"/>
                <a:gd name="f20" fmla="val 211"/>
                <a:gd name="f21" fmla="val 7561"/>
                <a:gd name="f22" fmla="val 7317"/>
                <a:gd name="f23" fmla="val 7073"/>
                <a:gd name="f24" fmla="val 316"/>
                <a:gd name="f25" fmla="val 6585"/>
                <a:gd name="f26" fmla="val 5854"/>
                <a:gd name="f27" fmla="val 5366"/>
                <a:gd name="f28" fmla="val 947"/>
                <a:gd name="f29" fmla="val 5122"/>
                <a:gd name="f30" fmla="val 4390"/>
                <a:gd name="f31" fmla="val 4146"/>
                <a:gd name="f32" fmla="val 1368"/>
                <a:gd name="f33" fmla="val 1684"/>
                <a:gd name="f34" fmla="val 3902"/>
                <a:gd name="f35" fmla="val 2000"/>
                <a:gd name="f36" fmla="val 3415"/>
                <a:gd name="f37" fmla="val 2526"/>
                <a:gd name="f38" fmla="val 2927"/>
                <a:gd name="f39" fmla="val 2632"/>
                <a:gd name="f40" fmla="val 2683"/>
                <a:gd name="f41" fmla="val 3263"/>
                <a:gd name="f42" fmla="val 2195"/>
                <a:gd name="f43" fmla="val 3684"/>
                <a:gd name="f44" fmla="val 2439"/>
                <a:gd name="f45" fmla="val 3895"/>
                <a:gd name="f46" fmla="val 4211"/>
                <a:gd name="f47" fmla="val 1463"/>
                <a:gd name="f48" fmla="val 4316"/>
                <a:gd name="f49" fmla="val 976"/>
                <a:gd name="f50" fmla="val 4526"/>
                <a:gd name="f51" fmla="val 4842"/>
                <a:gd name="f52" fmla="val 732"/>
                <a:gd name="f53" fmla="val 5263"/>
                <a:gd name="f54" fmla="val 5368"/>
                <a:gd name="f55" fmla="val 813"/>
                <a:gd name="f56" fmla="val 5544"/>
                <a:gd name="f57" fmla="val 895"/>
                <a:gd name="f58" fmla="val 5719"/>
                <a:gd name="f59" fmla="val 5895"/>
                <a:gd name="f60" fmla="val 6211"/>
                <a:gd name="f61" fmla="val 6421"/>
                <a:gd name="f62" fmla="val 6632"/>
                <a:gd name="f63" fmla="val 7053"/>
                <a:gd name="f64" fmla="val 7158"/>
                <a:gd name="f65" fmla="val 244"/>
                <a:gd name="f66" fmla="val 7684"/>
                <a:gd name="f67" fmla="val 7789"/>
                <a:gd name="f68" fmla="val 488"/>
                <a:gd name="f69" fmla="val 8316"/>
                <a:gd name="f70" fmla="val 329"/>
                <a:gd name="f71" fmla="val 8217"/>
                <a:gd name="f72" fmla="val 647"/>
                <a:gd name="f73" fmla="val 8415"/>
                <a:gd name="f74" fmla="val 746"/>
                <a:gd name="f75" fmla="val 8264"/>
                <a:gd name="f76" fmla="val 955"/>
                <a:gd name="f77" fmla="val 8384"/>
                <a:gd name="f78" fmla="val 1164"/>
                <a:gd name="f79" fmla="val 8504"/>
                <a:gd name="f80" fmla="val 1597"/>
                <a:gd name="f81" fmla="val 8867"/>
                <a:gd name="f82" fmla="val 1740"/>
                <a:gd name="f83" fmla="val 9038"/>
                <a:gd name="f84" fmla="val 1883"/>
                <a:gd name="f85" fmla="val 9209"/>
                <a:gd name="f86" fmla="val 1786"/>
                <a:gd name="f87" fmla="val 9301"/>
                <a:gd name="f88" fmla="val 1814"/>
                <a:gd name="f89" fmla="val 9410"/>
                <a:gd name="f90" fmla="val 1842"/>
                <a:gd name="f91" fmla="val 9519"/>
                <a:gd name="f92" fmla="val 1865"/>
                <a:gd name="f93" fmla="val 9637"/>
                <a:gd name="f94" fmla="val 1909"/>
                <a:gd name="f95" fmla="val 9693"/>
                <a:gd name="f96" fmla="val 1953"/>
                <a:gd name="f97" fmla="val 9749"/>
                <a:gd name="f98" fmla="val 1990"/>
                <a:gd name="f99" fmla="val 9709"/>
                <a:gd name="f100" fmla="val 2078"/>
                <a:gd name="f101" fmla="val 9743"/>
                <a:gd name="f102" fmla="val 2166"/>
                <a:gd name="f103" fmla="val 9777"/>
                <a:gd name="f104" fmla="val 2338"/>
                <a:gd name="f105" fmla="val 9905"/>
                <a:gd name="f106" fmla="val 2540"/>
                <a:gd name="f107" fmla="val 9885"/>
                <a:gd name="f108" fmla="val 2602"/>
                <a:gd name="f109" fmla="val 9754"/>
                <a:gd name="f110" fmla="val 9684"/>
                <a:gd name="f111" fmla="val 3171"/>
                <a:gd name="f112" fmla="val 9474"/>
                <a:gd name="f113" fmla="val 9053"/>
                <a:gd name="f114" fmla="val 4471"/>
                <a:gd name="f115" fmla="val 8807"/>
                <a:gd name="f116" fmla="val 4553"/>
                <a:gd name="f117" fmla="val 8562"/>
                <a:gd name="f118" fmla="val 4634"/>
                <a:gd name="f119" fmla="val 7895"/>
                <a:gd name="f120" fmla="val 5610"/>
                <a:gd name="f121" fmla="val 6842"/>
                <a:gd name="f122" fmla="val 4878"/>
                <a:gd name="f123" fmla="val 4959"/>
                <a:gd name="f124" fmla="val 6386"/>
                <a:gd name="f125" fmla="val 5041"/>
                <a:gd name="f126" fmla="val 6141"/>
                <a:gd name="f127" fmla="val 4632"/>
                <a:gd name="f128" fmla="val 8049"/>
                <a:gd name="f129" fmla="val 8293"/>
                <a:gd name="f130" fmla="val 3579"/>
                <a:gd name="f131" fmla="val 2842"/>
                <a:gd name="f132" fmla="val 2947"/>
                <a:gd name="f133" fmla="+- 0 0 -90"/>
                <a:gd name="f134" fmla="*/ f3 1 10000"/>
                <a:gd name="f135" fmla="*/ f4 1 9895"/>
                <a:gd name="f136" fmla="val f5"/>
                <a:gd name="f137" fmla="val f6"/>
                <a:gd name="f138" fmla="val f7"/>
                <a:gd name="f139" fmla="*/ f133 f0 1"/>
                <a:gd name="f140" fmla="+- f138 0 f136"/>
                <a:gd name="f141" fmla="+- f137 0 f136"/>
                <a:gd name="f142" fmla="*/ f139 1 f2"/>
                <a:gd name="f143" fmla="*/ f141 1 10000"/>
                <a:gd name="f144" fmla="*/ f140 1 9895"/>
                <a:gd name="f145" fmla="*/ 2147483646 f141 1"/>
                <a:gd name="f146" fmla="*/ 2147483646 f140 1"/>
                <a:gd name="f147" fmla="*/ 0 f140 1"/>
                <a:gd name="f148" fmla="*/ 1547059788 f141 1"/>
                <a:gd name="f149" fmla="*/ 1032076903 f141 1"/>
                <a:gd name="f150" fmla="*/ 258002502 f141 1"/>
                <a:gd name="f151" fmla="*/ 516037938 f141 1"/>
                <a:gd name="f152" fmla="*/ 1839950288 f141 1"/>
                <a:gd name="f153" fmla="*/ 2018679268 f141 1"/>
                <a:gd name="f154" fmla="+- f142 0 f1"/>
                <a:gd name="f155" fmla="*/ f145 1 10000"/>
                <a:gd name="f156" fmla="*/ f146 1 9895"/>
                <a:gd name="f157" fmla="*/ f147 1 9895"/>
                <a:gd name="f158" fmla="*/ f148 1 10000"/>
                <a:gd name="f159" fmla="*/ f149 1 10000"/>
                <a:gd name="f160" fmla="*/ f150 1 10000"/>
                <a:gd name="f161" fmla="*/ f151 1 10000"/>
                <a:gd name="f162" fmla="*/ f152 1 10000"/>
                <a:gd name="f163" fmla="*/ f153 1 10000"/>
                <a:gd name="f164" fmla="*/ 0 1 f143"/>
                <a:gd name="f165" fmla="*/ f137 1 f143"/>
                <a:gd name="f166" fmla="*/ 0 1 f144"/>
                <a:gd name="f167" fmla="*/ f138 1 f144"/>
                <a:gd name="f168" fmla="*/ f155 1 f143"/>
                <a:gd name="f169" fmla="*/ f156 1 f144"/>
                <a:gd name="f170" fmla="*/ f157 1 f144"/>
                <a:gd name="f171" fmla="*/ f158 1 f143"/>
                <a:gd name="f172" fmla="*/ f159 1 f143"/>
                <a:gd name="f173" fmla="*/ f160 1 f143"/>
                <a:gd name="f174" fmla="*/ f161 1 f143"/>
                <a:gd name="f175" fmla="*/ f162 1 f143"/>
                <a:gd name="f176" fmla="*/ f163 1 f143"/>
                <a:gd name="f177" fmla="*/ f164 f134 1"/>
                <a:gd name="f178" fmla="*/ f165 f134 1"/>
                <a:gd name="f179" fmla="*/ f167 f135 1"/>
                <a:gd name="f180" fmla="*/ f166 f135 1"/>
                <a:gd name="f181" fmla="*/ f168 f134 1"/>
                <a:gd name="f182" fmla="*/ f169 f135 1"/>
                <a:gd name="f183" fmla="*/ f170 f135 1"/>
                <a:gd name="f184" fmla="*/ f171 f134 1"/>
                <a:gd name="f185" fmla="*/ f172 f134 1"/>
                <a:gd name="f186" fmla="*/ f173 f134 1"/>
                <a:gd name="f187" fmla="*/ f174 f134 1"/>
                <a:gd name="f188" fmla="*/ f175 f134 1"/>
                <a:gd name="f189" fmla="*/ f176 f1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3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4" y="f182"/>
                </a:cxn>
                <a:cxn ang="f154">
                  <a:pos x="f185" y="f182"/>
                </a:cxn>
                <a:cxn ang="f154">
                  <a:pos x="f185" y="f182"/>
                </a:cxn>
                <a:cxn ang="f154">
                  <a:pos x="f185" y="f182"/>
                </a:cxn>
                <a:cxn ang="f154">
                  <a:pos x="f185" y="f182"/>
                </a:cxn>
                <a:cxn ang="f154">
                  <a:pos x="f186" y="f182"/>
                </a:cxn>
                <a:cxn ang="f154">
                  <a:pos x="f187" y="f182"/>
                </a:cxn>
                <a:cxn ang="f154">
                  <a:pos x="f188" y="f182"/>
                </a:cxn>
                <a:cxn ang="f154">
                  <a:pos x="f189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  <a:cxn ang="f154">
                  <a:pos x="f181" y="f182"/>
                </a:cxn>
              </a:cxnLst>
              <a:rect l="f177" t="f180" r="f178" b="f179"/>
              <a:pathLst>
                <a:path w="10000" h="9895">
                  <a:moveTo>
                    <a:pt x="f6" y="f8"/>
                  </a:moveTo>
                  <a:lnTo>
                    <a:pt x="f6" y="f9"/>
                  </a:lnTo>
                  <a:lnTo>
                    <a:pt x="f10" y="f11"/>
                  </a:lnTo>
                  <a:lnTo>
                    <a:pt x="f10" y="f12"/>
                  </a:lnTo>
                  <a:lnTo>
                    <a:pt x="f10" y="f13"/>
                  </a:lnTo>
                  <a:lnTo>
                    <a:pt x="f14" y="f15"/>
                  </a:lnTo>
                  <a:lnTo>
                    <a:pt x="f16" y="f15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5"/>
                  </a:lnTo>
                  <a:lnTo>
                    <a:pt x="f22" y="f5"/>
                  </a:lnTo>
                  <a:lnTo>
                    <a:pt x="f23" y="f24"/>
                  </a:lnTo>
                  <a:lnTo>
                    <a:pt x="f23" y="f18"/>
                  </a:lnTo>
                  <a:lnTo>
                    <a:pt x="f25" y="f18"/>
                  </a:lnTo>
                  <a:lnTo>
                    <a:pt x="f26" y="f18"/>
                  </a:lnTo>
                  <a:lnTo>
                    <a:pt x="f27" y="f28"/>
                  </a:lnTo>
                  <a:lnTo>
                    <a:pt x="f29" y="f28"/>
                  </a:lnTo>
                  <a:lnTo>
                    <a:pt x="f30" y="f13"/>
                  </a:lnTo>
                  <a:lnTo>
                    <a:pt x="f31" y="f32"/>
                  </a:lnTo>
                  <a:lnTo>
                    <a:pt x="f30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4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49" y="f51"/>
                  </a:lnTo>
                  <a:cubicBezTo>
                    <a:pt x="f49" y="f51"/>
                    <a:pt x="f52" y="f53"/>
                    <a:pt x="f52" y="f54"/>
                  </a:cubicBezTo>
                  <a:cubicBezTo>
                    <a:pt x="f55" y="f56"/>
                    <a:pt x="f57" y="f58"/>
                    <a:pt x="f49" y="f59"/>
                  </a:cubicBezTo>
                  <a:lnTo>
                    <a:pt x="f47" y="f60"/>
                  </a:lnTo>
                  <a:lnTo>
                    <a:pt x="f49" y="f61"/>
                  </a:lnTo>
                  <a:lnTo>
                    <a:pt x="f49" y="f62"/>
                  </a:lnTo>
                  <a:lnTo>
                    <a:pt x="f49" y="f63"/>
                  </a:lnTo>
                  <a:cubicBezTo>
                    <a:pt x="f49" y="f64"/>
                    <a:pt x="f52" y="f64"/>
                    <a:pt x="f52" y="f64"/>
                  </a:cubicBezTo>
                  <a:lnTo>
                    <a:pt x="f65" y="f66"/>
                  </a:lnTo>
                  <a:lnTo>
                    <a:pt x="f5" y="f67"/>
                  </a:lnTo>
                  <a:cubicBezTo>
                    <a:pt x="f68" y="f69"/>
                    <a:pt x="f70" y="f71"/>
                    <a:pt x="f68" y="f69"/>
                  </a:cubicBezTo>
                  <a:cubicBezTo>
                    <a:pt x="f72" y="f73"/>
                    <a:pt x="f74" y="f75"/>
                    <a:pt x="f76" y="f77"/>
                  </a:cubicBezTo>
                  <a:cubicBezTo>
                    <a:pt x="f78" y="f79"/>
                    <a:pt x="f80" y="f81"/>
                    <a:pt x="f82" y="f83"/>
                  </a:cubicBezTo>
                  <a:cubicBezTo>
                    <a:pt x="f84" y="f85"/>
                    <a:pt x="f86" y="f87"/>
                    <a:pt x="f88" y="f89"/>
                  </a:cubicBezTo>
                  <a:cubicBezTo>
                    <a:pt x="f90" y="f91"/>
                    <a:pt x="f92" y="f93"/>
                    <a:pt x="f94" y="f95"/>
                  </a:cubicBezTo>
                  <a:cubicBezTo>
                    <a:pt x="f96" y="f97"/>
                    <a:pt x="f98" y="f99"/>
                    <a:pt x="f100" y="f101"/>
                  </a:cubicBezTo>
                  <a:cubicBezTo>
                    <a:pt x="f102" y="f103"/>
                    <a:pt x="f104" y="f105"/>
                    <a:pt x="f44" y="f7"/>
                  </a:cubicBezTo>
                  <a:cubicBezTo>
                    <a:pt x="f106" y="f107"/>
                    <a:pt x="f108" y="f109"/>
                    <a:pt x="f40" y="f110"/>
                  </a:cubicBezTo>
                  <a:lnTo>
                    <a:pt x="f111" y="f112"/>
                  </a:lnTo>
                  <a:lnTo>
                    <a:pt x="f34" y="f112"/>
                  </a:lnTo>
                  <a:lnTo>
                    <a:pt x="f30" y="f113"/>
                  </a:lnTo>
                  <a:cubicBezTo>
                    <a:pt x="f114" y="f115"/>
                    <a:pt x="f116" y="f117"/>
                    <a:pt x="f118" y="f69"/>
                  </a:cubicBezTo>
                  <a:lnTo>
                    <a:pt x="f118" y="f119"/>
                  </a:lnTo>
                  <a:lnTo>
                    <a:pt x="f29" y="f67"/>
                  </a:lnTo>
                  <a:lnTo>
                    <a:pt x="f26" y="f66"/>
                  </a:lnTo>
                  <a:lnTo>
                    <a:pt x="f26" y="f64"/>
                  </a:lnTo>
                  <a:lnTo>
                    <a:pt x="f120" y="f121"/>
                  </a:lnTo>
                  <a:lnTo>
                    <a:pt x="f122" y="f62"/>
                  </a:lnTo>
                  <a:cubicBezTo>
                    <a:pt x="f123" y="f124"/>
                    <a:pt x="f125" y="f126"/>
                    <a:pt x="f29" y="f59"/>
                  </a:cubicBezTo>
                  <a:lnTo>
                    <a:pt x="f29" y="f54"/>
                  </a:lnTo>
                  <a:lnTo>
                    <a:pt x="f26" y="f51"/>
                  </a:lnTo>
                  <a:lnTo>
                    <a:pt x="f25" y="f127"/>
                  </a:lnTo>
                  <a:lnTo>
                    <a:pt x="f128" y="f46"/>
                  </a:lnTo>
                  <a:lnTo>
                    <a:pt x="f129" y="f45"/>
                  </a:lnTo>
                  <a:lnTo>
                    <a:pt x="f128" y="f130"/>
                  </a:lnTo>
                  <a:lnTo>
                    <a:pt x="f17" y="f41"/>
                  </a:lnTo>
                  <a:lnTo>
                    <a:pt x="f14" y="f131"/>
                  </a:lnTo>
                  <a:lnTo>
                    <a:pt x="f6" y="f132"/>
                  </a:lnTo>
                  <a:lnTo>
                    <a:pt x="f6" y="f131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3" name="Freeform 349">
              <a:extLst>
                <a:ext uri="{FF2B5EF4-FFF2-40B4-BE49-F238E27FC236}">
                  <a16:creationId xmlns:a16="http://schemas.microsoft.com/office/drawing/2014/main" id="{9D6738D0-714A-CE1D-3077-E301C56192E9}"/>
                </a:ext>
              </a:extLst>
            </p:cNvPr>
            <p:cNvSpPr/>
            <p:nvPr/>
          </p:nvSpPr>
          <p:spPr>
            <a:xfrm>
              <a:off x="6240119" y="2860507"/>
              <a:ext cx="459065" cy="28179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7"/>
                <a:gd name="f7" fmla="val 37"/>
                <a:gd name="f8" fmla="val 54"/>
                <a:gd name="f9" fmla="val 22"/>
                <a:gd name="f10" fmla="val 56"/>
                <a:gd name="f11" fmla="val 21"/>
                <a:gd name="f12" fmla="val 16"/>
                <a:gd name="f13" fmla="val 14"/>
                <a:gd name="f14" fmla="val 52"/>
                <a:gd name="f15" fmla="val 12"/>
                <a:gd name="f16" fmla="val 47"/>
                <a:gd name="f17" fmla="val 9"/>
                <a:gd name="f18" fmla="val 45"/>
                <a:gd name="f19" fmla="val 42"/>
                <a:gd name="f20" fmla="val 7"/>
                <a:gd name="f21" fmla="val 40"/>
                <a:gd name="f22" fmla="val 4"/>
                <a:gd name="f23" fmla="val 33"/>
                <a:gd name="f24" fmla="val 1"/>
                <a:gd name="f25" fmla="val 31"/>
                <a:gd name="f26" fmla="val 30"/>
                <a:gd name="f27" fmla="val 28"/>
                <a:gd name="f28" fmla="val 6"/>
                <a:gd name="f29" fmla="val 24"/>
                <a:gd name="f30" fmla="val 5"/>
                <a:gd name="f31" fmla="val 17"/>
                <a:gd name="f32" fmla="val 11"/>
                <a:gd name="f33" fmla="val 3"/>
                <a:gd name="f34" fmla="val 8"/>
                <a:gd name="f35" fmla="val 10"/>
                <a:gd name="f36" fmla="val 2"/>
                <a:gd name="f37" fmla="val 15"/>
                <a:gd name="f38" fmla="val 18"/>
                <a:gd name="f39" fmla="val 19"/>
                <a:gd name="f40" fmla="val 20"/>
                <a:gd name="f41" fmla="val 26"/>
                <a:gd name="f42" fmla="val 25"/>
                <a:gd name="f43" fmla="val 29"/>
                <a:gd name="f44" fmla="val 34"/>
                <a:gd name="f45" fmla="val 32"/>
                <a:gd name="f46" fmla="val 36"/>
                <a:gd name="f47" fmla="val 41"/>
                <a:gd name="f48" fmla="val 43"/>
                <a:gd name="f49" fmla="val 50"/>
                <a:gd name="f50" fmla="val 27"/>
                <a:gd name="f51" fmla="val 51"/>
                <a:gd name="f52" fmla="+- 0 0 -90"/>
                <a:gd name="f53" fmla="*/ f3 1 57"/>
                <a:gd name="f54" fmla="*/ f4 1 37"/>
                <a:gd name="f55" fmla="val f5"/>
                <a:gd name="f56" fmla="val f6"/>
                <a:gd name="f57" fmla="val f7"/>
                <a:gd name="f58" fmla="*/ f52 f0 1"/>
                <a:gd name="f59" fmla="+- f57 0 f55"/>
                <a:gd name="f60" fmla="+- f56 0 f55"/>
                <a:gd name="f61" fmla="*/ f58 1 f2"/>
                <a:gd name="f62" fmla="*/ f60 1 57"/>
                <a:gd name="f63" fmla="*/ f59 1 37"/>
                <a:gd name="f64" fmla="*/ 2147483646 f60 1"/>
                <a:gd name="f65" fmla="*/ 2147483646 f59 1"/>
                <a:gd name="f66" fmla="*/ 0 f59 1"/>
                <a:gd name="f67" fmla="*/ 0 f60 1"/>
                <a:gd name="f68" fmla="+- f61 0 f1"/>
                <a:gd name="f69" fmla="*/ f64 1 57"/>
                <a:gd name="f70" fmla="*/ f65 1 37"/>
                <a:gd name="f71" fmla="*/ f66 1 37"/>
                <a:gd name="f72" fmla="*/ f67 1 57"/>
                <a:gd name="f73" fmla="*/ 0 1 f62"/>
                <a:gd name="f74" fmla="*/ f56 1 f62"/>
                <a:gd name="f75" fmla="*/ 0 1 f63"/>
                <a:gd name="f76" fmla="*/ f57 1 f63"/>
                <a:gd name="f77" fmla="*/ f69 1 f62"/>
                <a:gd name="f78" fmla="*/ f70 1 f63"/>
                <a:gd name="f79" fmla="*/ f71 1 f63"/>
                <a:gd name="f80" fmla="*/ f72 1 f62"/>
                <a:gd name="f81" fmla="*/ f73 f53 1"/>
                <a:gd name="f82" fmla="*/ f74 f53 1"/>
                <a:gd name="f83" fmla="*/ f76 f54 1"/>
                <a:gd name="f84" fmla="*/ f75 f54 1"/>
                <a:gd name="f85" fmla="*/ f77 f53 1"/>
                <a:gd name="f86" fmla="*/ f78 f54 1"/>
                <a:gd name="f87" fmla="*/ f79 f54 1"/>
                <a:gd name="f88" fmla="*/ f80 f5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7"/>
                </a:cxn>
                <a:cxn ang="f68">
                  <a:pos x="f85" y="f87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8" y="f86"/>
                </a:cxn>
                <a:cxn ang="f68">
                  <a:pos x="f88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</a:cxnLst>
              <a:rect l="f81" t="f84" r="f82" b="f83"/>
              <a:pathLst>
                <a:path w="57" h="37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6" y="f12"/>
                    <a:pt x="f6" y="f12"/>
                    <a:pt x="f6" y="f12"/>
                  </a:cubicBezTo>
                  <a:cubicBezTo>
                    <a:pt x="f6" y="f13"/>
                    <a:pt x="f6" y="f13"/>
                    <a:pt x="f6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8" y="f17"/>
                    <a:pt x="f18" y="f17"/>
                    <a:pt x="f18" y="f17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21" y="f22"/>
                    <a:pt x="f21" y="f22"/>
                    <a:pt x="f21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5" y="f24"/>
                    <a:pt x="f25" y="f24"/>
                    <a:pt x="f25" y="f24"/>
                  </a:cubicBezTo>
                  <a:cubicBezTo>
                    <a:pt x="f25" y="f5"/>
                    <a:pt x="f25" y="f5"/>
                    <a:pt x="f25" y="f5"/>
                  </a:cubicBezTo>
                  <a:cubicBezTo>
                    <a:pt x="f26" y="f5"/>
                    <a:pt x="f26" y="f5"/>
                    <a:pt x="f26" y="f5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0"/>
                    <a:pt x="f31" y="f30"/>
                    <a:pt x="f31" y="f30"/>
                  </a:cubicBezTo>
                  <a:cubicBezTo>
                    <a:pt x="f32" y="f33"/>
                    <a:pt x="f32" y="f33"/>
                    <a:pt x="f32" y="f33"/>
                  </a:cubicBezTo>
                  <a:cubicBezTo>
                    <a:pt x="f20" y="f33"/>
                    <a:pt x="f20" y="f33"/>
                    <a:pt x="f20" y="f33"/>
                  </a:cubicBezTo>
                  <a:cubicBezTo>
                    <a:pt x="f30" y="f22"/>
                    <a:pt x="f30" y="f22"/>
                    <a:pt x="f30" y="f22"/>
                  </a:cubicBezTo>
                  <a:cubicBezTo>
                    <a:pt x="f28" y="f34"/>
                    <a:pt x="f28" y="f34"/>
                    <a:pt x="f28" y="f34"/>
                  </a:cubicBezTo>
                  <a:cubicBezTo>
                    <a:pt x="f22" y="f35"/>
                    <a:pt x="f22" y="f35"/>
                    <a:pt x="f22" y="f35"/>
                  </a:cubicBezTo>
                  <a:cubicBezTo>
                    <a:pt x="f36" y="f37"/>
                    <a:pt x="f36" y="f37"/>
                    <a:pt x="f36" y="f37"/>
                  </a:cubicBezTo>
                  <a:cubicBezTo>
                    <a:pt x="f5" y="f37"/>
                    <a:pt x="f5" y="f37"/>
                    <a:pt x="f5" y="f37"/>
                  </a:cubicBezTo>
                  <a:cubicBezTo>
                    <a:pt x="f5" y="f38"/>
                    <a:pt x="f5" y="f38"/>
                    <a:pt x="f5" y="f38"/>
                  </a:cubicBezTo>
                  <a:cubicBezTo>
                    <a:pt x="f24" y="f39"/>
                    <a:pt x="f24" y="f39"/>
                    <a:pt x="f24" y="f39"/>
                  </a:cubicBezTo>
                  <a:cubicBezTo>
                    <a:pt x="f36" y="f40"/>
                    <a:pt x="f36" y="f40"/>
                    <a:pt x="f36" y="f40"/>
                  </a:cubicBezTo>
                  <a:cubicBezTo>
                    <a:pt x="f33" y="f11"/>
                    <a:pt x="f33" y="f11"/>
                    <a:pt x="f33" y="f11"/>
                  </a:cubicBezTo>
                  <a:cubicBezTo>
                    <a:pt x="f15" y="f40"/>
                    <a:pt x="f15" y="f40"/>
                    <a:pt x="f15" y="f40"/>
                  </a:cubicBezTo>
                  <a:cubicBezTo>
                    <a:pt x="f38" y="f40"/>
                    <a:pt x="f38" y="f40"/>
                    <a:pt x="f38" y="f40"/>
                  </a:cubicBezTo>
                  <a:cubicBezTo>
                    <a:pt x="f29" y="f29"/>
                    <a:pt x="f29" y="f29"/>
                    <a:pt x="f29" y="f29"/>
                  </a:cubicBezTo>
                  <a:cubicBezTo>
                    <a:pt x="f29" y="f29"/>
                    <a:pt x="f41" y="f41"/>
                    <a:pt x="f42" y="f27"/>
                  </a:cubicBezTo>
                  <a:cubicBezTo>
                    <a:pt x="f42" y="f43"/>
                    <a:pt x="f9" y="f26"/>
                    <a:pt x="f9" y="f26"/>
                  </a:cubicBezTo>
                  <a:cubicBezTo>
                    <a:pt x="f11" y="f23"/>
                    <a:pt x="f11" y="f23"/>
                    <a:pt x="f11" y="f23"/>
                  </a:cubicBezTo>
                  <a:cubicBezTo>
                    <a:pt x="f29" y="f44"/>
                    <a:pt x="f29" y="f44"/>
                    <a:pt x="f29" y="f44"/>
                  </a:cubicBezTo>
                  <a:cubicBezTo>
                    <a:pt x="f42" y="f45"/>
                    <a:pt x="f42" y="f45"/>
                    <a:pt x="f42" y="f45"/>
                  </a:cubicBezTo>
                  <a:cubicBezTo>
                    <a:pt x="f26" y="f43"/>
                    <a:pt x="f26" y="f43"/>
                    <a:pt x="f26" y="f43"/>
                  </a:cubicBezTo>
                  <a:cubicBezTo>
                    <a:pt x="f23" y="f43"/>
                    <a:pt x="f23" y="f43"/>
                    <a:pt x="f23" y="f43"/>
                  </a:cubicBezTo>
                  <a:cubicBezTo>
                    <a:pt x="f46" y="f45"/>
                    <a:pt x="f46" y="f45"/>
                    <a:pt x="f46" y="f45"/>
                  </a:cubicBezTo>
                  <a:cubicBezTo>
                    <a:pt x="f44" y="f44"/>
                    <a:pt x="f44" y="f44"/>
                    <a:pt x="f44" y="f44"/>
                  </a:cubicBezTo>
                  <a:cubicBezTo>
                    <a:pt x="f7" y="f7"/>
                    <a:pt x="f7" y="f7"/>
                    <a:pt x="f7" y="f7"/>
                  </a:cubicBezTo>
                  <a:cubicBezTo>
                    <a:pt x="f18" y="f44"/>
                    <a:pt x="f18" y="f44"/>
                    <a:pt x="f18" y="f44"/>
                  </a:cubicBezTo>
                  <a:cubicBezTo>
                    <a:pt x="f47" y="f25"/>
                    <a:pt x="f47" y="f25"/>
                    <a:pt x="f47" y="f25"/>
                  </a:cubicBezTo>
                  <a:cubicBezTo>
                    <a:pt x="f48" y="f27"/>
                    <a:pt x="f48" y="f27"/>
                    <a:pt x="f48" y="f27"/>
                  </a:cubicBezTo>
                  <a:cubicBezTo>
                    <a:pt x="f49" y="f50"/>
                    <a:pt x="f49" y="f50"/>
                    <a:pt x="f49" y="f50"/>
                  </a:cubicBezTo>
                  <a:cubicBezTo>
                    <a:pt x="f51" y="f42"/>
                    <a:pt x="f51" y="f42"/>
                    <a:pt x="f51" y="f42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4" name="Freeform 350">
              <a:extLst>
                <a:ext uri="{FF2B5EF4-FFF2-40B4-BE49-F238E27FC236}">
                  <a16:creationId xmlns:a16="http://schemas.microsoft.com/office/drawing/2014/main" id="{14C434AE-4A1E-3243-6DFB-C8B9793742D6}"/>
                </a:ext>
              </a:extLst>
            </p:cNvPr>
            <p:cNvSpPr/>
            <p:nvPr/>
          </p:nvSpPr>
          <p:spPr>
            <a:xfrm>
              <a:off x="6504783" y="2860507"/>
              <a:ext cx="57177" cy="2958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2"/>
                <a:gd name="f7" fmla="val 24"/>
                <a:gd name="f8" fmla="val 36"/>
                <a:gd name="f9" fmla="val 18"/>
                <a:gd name="f10" fmla="val 6"/>
                <a:gd name="f11" fmla="+- 0 0 -90"/>
                <a:gd name="f12" fmla="*/ f3 1 42"/>
                <a:gd name="f13" fmla="*/ f4 1 24"/>
                <a:gd name="f14" fmla="val f5"/>
                <a:gd name="f15" fmla="val f6"/>
                <a:gd name="f16" fmla="val f7"/>
                <a:gd name="f17" fmla="*/ f11 f0 1"/>
                <a:gd name="f18" fmla="+- f16 0 f14"/>
                <a:gd name="f19" fmla="+- f15 0 f14"/>
                <a:gd name="f20" fmla="*/ f17 1 f2"/>
                <a:gd name="f21" fmla="*/ f19 1 42"/>
                <a:gd name="f22" fmla="*/ f18 1 24"/>
                <a:gd name="f23" fmla="*/ 2147483646 f19 1"/>
                <a:gd name="f24" fmla="*/ 2147483646 f18 1"/>
                <a:gd name="f25" fmla="*/ 0 f18 1"/>
                <a:gd name="f26" fmla="*/ 0 f19 1"/>
                <a:gd name="f27" fmla="+- f20 0 f1"/>
                <a:gd name="f28" fmla="*/ f23 1 42"/>
                <a:gd name="f29" fmla="*/ f24 1 24"/>
                <a:gd name="f30" fmla="*/ f25 1 24"/>
                <a:gd name="f31" fmla="*/ f26 1 42"/>
                <a:gd name="f32" fmla="*/ 0 1 f21"/>
                <a:gd name="f33" fmla="*/ f15 1 f21"/>
                <a:gd name="f34" fmla="*/ 0 1 f22"/>
                <a:gd name="f35" fmla="*/ f16 1 f22"/>
                <a:gd name="f36" fmla="*/ f28 1 f21"/>
                <a:gd name="f37" fmla="*/ f29 1 f22"/>
                <a:gd name="f38" fmla="*/ f30 1 f22"/>
                <a:gd name="f39" fmla="*/ f31 1 f21"/>
                <a:gd name="f40" fmla="*/ f32 f12 1"/>
                <a:gd name="f41" fmla="*/ f33 f12 1"/>
                <a:gd name="f42" fmla="*/ f35 f13 1"/>
                <a:gd name="f43" fmla="*/ f34 f13 1"/>
                <a:gd name="f44" fmla="*/ f36 f12 1"/>
                <a:gd name="f45" fmla="*/ f37 f13 1"/>
                <a:gd name="f46" fmla="*/ f38 f13 1"/>
                <a:gd name="f47" fmla="*/ f3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7">
                  <a:pos x="f44" y="f45"/>
                </a:cxn>
                <a:cxn ang="f27">
                  <a:pos x="f44" y="f46"/>
                </a:cxn>
                <a:cxn ang="f27">
                  <a:pos x="f47" y="f45"/>
                </a:cxn>
                <a:cxn ang="f27">
                  <a:pos x="f44" y="f45"/>
                </a:cxn>
                <a:cxn ang="f27">
                  <a:pos x="f44" y="f45"/>
                </a:cxn>
              </a:cxnLst>
              <a:rect l="f40" t="f43" r="f41" b="f42"/>
              <a:pathLst>
                <a:path w="42" h="24">
                  <a:moveTo>
                    <a:pt x="f8" y="f7"/>
                  </a:moveTo>
                  <a:lnTo>
                    <a:pt x="f9" y="f5"/>
                  </a:lnTo>
                  <a:lnTo>
                    <a:pt x="f5" y="f10"/>
                  </a:lnTo>
                  <a:lnTo>
                    <a:pt x="f6" y="f7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5" name="Freeform 91">
              <a:extLst>
                <a:ext uri="{FF2B5EF4-FFF2-40B4-BE49-F238E27FC236}">
                  <a16:creationId xmlns:a16="http://schemas.microsoft.com/office/drawing/2014/main" id="{61BC3F83-45EA-DCBD-3AC9-243F6EFB4E76}"/>
                </a:ext>
              </a:extLst>
            </p:cNvPr>
            <p:cNvSpPr/>
            <p:nvPr/>
          </p:nvSpPr>
          <p:spPr>
            <a:xfrm>
              <a:off x="6182942" y="2737520"/>
              <a:ext cx="80055" cy="467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0"/>
                <a:gd name="f7" fmla="val 36"/>
                <a:gd name="f8" fmla="val 54"/>
                <a:gd name="f9" fmla="val 24"/>
                <a:gd name="f10" fmla="val 12"/>
                <a:gd name="f11" fmla="val 42"/>
                <a:gd name="f12" fmla="val 6"/>
                <a:gd name="f13" fmla="val 30"/>
                <a:gd name="f14" fmla="val 18"/>
                <a:gd name="f15" fmla="+- 0 0 -90"/>
                <a:gd name="f16" fmla="*/ f3 1 60"/>
                <a:gd name="f17" fmla="*/ f4 1 36"/>
                <a:gd name="f18" fmla="val f5"/>
                <a:gd name="f19" fmla="val f6"/>
                <a:gd name="f20" fmla="val f7"/>
                <a:gd name="f21" fmla="*/ f15 f0 1"/>
                <a:gd name="f22" fmla="+- f20 0 f18"/>
                <a:gd name="f23" fmla="+- f19 0 f18"/>
                <a:gd name="f24" fmla="*/ f21 1 f2"/>
                <a:gd name="f25" fmla="*/ f23 1 60"/>
                <a:gd name="f26" fmla="*/ f22 1 36"/>
                <a:gd name="f27" fmla="*/ 2147483646 f23 1"/>
                <a:gd name="f28" fmla="*/ 2147483646 f22 1"/>
                <a:gd name="f29" fmla="*/ 0 f22 1"/>
                <a:gd name="f30" fmla="*/ 0 f23 1"/>
                <a:gd name="f31" fmla="+- f24 0 f1"/>
                <a:gd name="f32" fmla="*/ f27 1 60"/>
                <a:gd name="f33" fmla="*/ f28 1 36"/>
                <a:gd name="f34" fmla="*/ f29 1 36"/>
                <a:gd name="f35" fmla="*/ f30 1 60"/>
                <a:gd name="f36" fmla="*/ 0 1 f25"/>
                <a:gd name="f37" fmla="*/ f19 1 f25"/>
                <a:gd name="f38" fmla="*/ 0 1 f26"/>
                <a:gd name="f39" fmla="*/ f20 1 f26"/>
                <a:gd name="f40" fmla="*/ f32 1 f25"/>
                <a:gd name="f41" fmla="*/ f33 1 f26"/>
                <a:gd name="f42" fmla="*/ f34 1 f26"/>
                <a:gd name="f43" fmla="*/ f35 1 f25"/>
                <a:gd name="f44" fmla="*/ f36 f16 1"/>
                <a:gd name="f45" fmla="*/ f37 f16 1"/>
                <a:gd name="f46" fmla="*/ f39 f17 1"/>
                <a:gd name="f47" fmla="*/ f38 f17 1"/>
                <a:gd name="f48" fmla="*/ f40 f16 1"/>
                <a:gd name="f49" fmla="*/ f41 f17 1"/>
                <a:gd name="f50" fmla="*/ f42 f17 1"/>
                <a:gd name="f51" fmla="*/ f4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50"/>
                </a:cxn>
                <a:cxn ang="f31">
                  <a:pos x="f48" y="f50"/>
                </a:cxn>
                <a:cxn ang="f31">
                  <a:pos x="f48" y="f49"/>
                </a:cxn>
                <a:cxn ang="f31">
                  <a:pos x="f51" y="f49"/>
                </a:cxn>
                <a:cxn ang="f31">
                  <a:pos x="f48" y="f49"/>
                </a:cxn>
                <a:cxn ang="f31">
                  <a:pos x="f48" y="f49"/>
                </a:cxn>
              </a:cxnLst>
              <a:rect l="f44" t="f47" r="f45" b="f46"/>
              <a:pathLst>
                <a:path w="60" h="36">
                  <a:moveTo>
                    <a:pt x="f8" y="f7"/>
                  </a:moveTo>
                  <a:lnTo>
                    <a:pt x="f6" y="f9"/>
                  </a:lnTo>
                  <a:lnTo>
                    <a:pt x="f8" y="f10"/>
                  </a:lnTo>
                  <a:lnTo>
                    <a:pt x="f11" y="f12"/>
                  </a:lnTo>
                  <a:lnTo>
                    <a:pt x="f13" y="f5"/>
                  </a:lnTo>
                  <a:lnTo>
                    <a:pt x="f14" y="f5"/>
                  </a:lnTo>
                  <a:lnTo>
                    <a:pt x="f12" y="f10"/>
                  </a:lnTo>
                  <a:lnTo>
                    <a:pt x="f5" y="f14"/>
                  </a:lnTo>
                  <a:lnTo>
                    <a:pt x="f10" y="f13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6" name="Freeform 92">
              <a:extLst>
                <a:ext uri="{FF2B5EF4-FFF2-40B4-BE49-F238E27FC236}">
                  <a16:creationId xmlns:a16="http://schemas.microsoft.com/office/drawing/2014/main" id="{EF04465E-55AD-248A-10D2-C680E68675D2}"/>
                </a:ext>
              </a:extLst>
            </p:cNvPr>
            <p:cNvSpPr/>
            <p:nvPr/>
          </p:nvSpPr>
          <p:spPr>
            <a:xfrm>
              <a:off x="6037543" y="2760874"/>
              <a:ext cx="249960" cy="21329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"/>
                <a:gd name="f7" fmla="val 28"/>
                <a:gd name="f8" fmla="val 1"/>
                <a:gd name="f9" fmla="val 9"/>
                <a:gd name="f10" fmla="val 10"/>
                <a:gd name="f11" fmla="val 13"/>
                <a:gd name="f12" fmla="val 17"/>
                <a:gd name="f13" fmla="val 2"/>
                <a:gd name="f14" fmla="val 19"/>
                <a:gd name="f15" fmla="val 20"/>
                <a:gd name="f16" fmla="val 6"/>
                <a:gd name="f17" fmla="val 22"/>
                <a:gd name="f18" fmla="val 24"/>
                <a:gd name="f19" fmla="val 15"/>
                <a:gd name="f20" fmla="val 26"/>
                <a:gd name="f21" fmla="val 23"/>
                <a:gd name="f22" fmla="val 25"/>
                <a:gd name="f23" fmla="val 27"/>
                <a:gd name="f24" fmla="val 29"/>
                <a:gd name="f25" fmla="val 21"/>
                <a:gd name="f26" fmla="val 30"/>
                <a:gd name="f27" fmla="val 12"/>
                <a:gd name="f28" fmla="val 3"/>
                <a:gd name="f29" fmla="val 18"/>
                <a:gd name="f30" fmla="val 14"/>
                <a:gd name="f31" fmla="val 5"/>
                <a:gd name="f32" fmla="val 4"/>
                <a:gd name="f33" fmla="+- 0 0 -90"/>
                <a:gd name="f34" fmla="*/ f3 1 31"/>
                <a:gd name="f35" fmla="*/ f4 1 28"/>
                <a:gd name="f36" fmla="val f5"/>
                <a:gd name="f37" fmla="val f6"/>
                <a:gd name="f38" fmla="val f7"/>
                <a:gd name="f39" fmla="*/ f33 f0 1"/>
                <a:gd name="f40" fmla="+- f38 0 f36"/>
                <a:gd name="f41" fmla="+- f37 0 f36"/>
                <a:gd name="f42" fmla="*/ f39 1 f2"/>
                <a:gd name="f43" fmla="*/ f41 1 31"/>
                <a:gd name="f44" fmla="*/ f40 1 28"/>
                <a:gd name="f45" fmla="*/ 2147483646 f41 1"/>
                <a:gd name="f46" fmla="*/ 2147483646 f40 1"/>
                <a:gd name="f47" fmla="*/ 0 f40 1"/>
                <a:gd name="f48" fmla="*/ 0 f41 1"/>
                <a:gd name="f49" fmla="+- f42 0 f1"/>
                <a:gd name="f50" fmla="*/ f45 1 31"/>
                <a:gd name="f51" fmla="*/ f46 1 28"/>
                <a:gd name="f52" fmla="*/ f47 1 28"/>
                <a:gd name="f53" fmla="*/ f48 1 31"/>
                <a:gd name="f54" fmla="*/ 0 1 f43"/>
                <a:gd name="f55" fmla="*/ f37 1 f43"/>
                <a:gd name="f56" fmla="*/ 0 1 f44"/>
                <a:gd name="f57" fmla="*/ f38 1 f44"/>
                <a:gd name="f58" fmla="*/ f50 1 f43"/>
                <a:gd name="f59" fmla="*/ f51 1 f44"/>
                <a:gd name="f60" fmla="*/ f52 1 f44"/>
                <a:gd name="f61" fmla="*/ f53 1 f43"/>
                <a:gd name="f62" fmla="*/ f54 f34 1"/>
                <a:gd name="f63" fmla="*/ f55 f34 1"/>
                <a:gd name="f64" fmla="*/ f57 f35 1"/>
                <a:gd name="f65" fmla="*/ f56 f35 1"/>
                <a:gd name="f66" fmla="*/ f58 f34 1"/>
                <a:gd name="f67" fmla="*/ f59 f35 1"/>
                <a:gd name="f68" fmla="*/ f60 f35 1"/>
                <a:gd name="f69" fmla="*/ f61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8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8"/>
                </a:cxn>
                <a:cxn ang="f49">
                  <a:pos x="f66" y="f68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9" y="f67"/>
                </a:cxn>
                <a:cxn ang="f49">
                  <a:pos x="f69" y="f67"/>
                </a:cxn>
                <a:cxn ang="f49">
                  <a:pos x="f66" y="f67"/>
                </a:cxn>
              </a:cxnLst>
              <a:rect l="f62" t="f65" r="f63" b="f64"/>
              <a:pathLst>
                <a:path w="31" h="28">
                  <a:moveTo>
                    <a:pt x="f8" y="f9"/>
                  </a:moveTo>
                  <a:cubicBezTo>
                    <a:pt x="f8" y="f10"/>
                    <a:pt x="f8" y="f10"/>
                    <a:pt x="f8" y="f10"/>
                  </a:cubicBezTo>
                  <a:cubicBezTo>
                    <a:pt x="f8" y="f11"/>
                    <a:pt x="f8" y="f11"/>
                    <a:pt x="f8" y="f11"/>
                  </a:cubicBezTo>
                  <a:cubicBezTo>
                    <a:pt x="f8" y="f11"/>
                    <a:pt x="f8" y="f12"/>
                    <a:pt x="f13" y="f12"/>
                  </a:cubicBezTo>
                  <a:cubicBezTo>
                    <a:pt x="f13" y="f12"/>
                    <a:pt x="f13" y="f14"/>
                    <a:pt x="f13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10" y="f18"/>
                    <a:pt x="f10" y="f18"/>
                    <a:pt x="f10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4" y="f7"/>
                    <a:pt x="f14" y="f7"/>
                    <a:pt x="f14" y="f7"/>
                  </a:cubicBezTo>
                  <a:cubicBezTo>
                    <a:pt x="f21" y="f7"/>
                    <a:pt x="f21" y="f7"/>
                    <a:pt x="f21" y="f7"/>
                  </a:cubicBezTo>
                  <a:cubicBezTo>
                    <a:pt x="f22" y="f7"/>
                    <a:pt x="f22" y="f7"/>
                    <a:pt x="f22" y="f7"/>
                  </a:cubicBezTo>
                  <a:cubicBezTo>
                    <a:pt x="f23" y="f7"/>
                    <a:pt x="f23" y="f7"/>
                    <a:pt x="f23" y="f7"/>
                  </a:cubicBezTo>
                  <a:cubicBezTo>
                    <a:pt x="f24" y="f21"/>
                    <a:pt x="f24" y="f21"/>
                    <a:pt x="f24" y="f21"/>
                  </a:cubicBezTo>
                  <a:cubicBezTo>
                    <a:pt x="f6" y="f25"/>
                    <a:pt x="f6" y="f25"/>
                    <a:pt x="f6" y="f25"/>
                  </a:cubicBezTo>
                  <a:cubicBezTo>
                    <a:pt x="f26" y="f12"/>
                    <a:pt x="f26" y="f12"/>
                    <a:pt x="f26" y="f12"/>
                  </a:cubicBezTo>
                  <a:cubicBezTo>
                    <a:pt x="f26" y="f19"/>
                    <a:pt x="f26" y="f19"/>
                    <a:pt x="f26" y="f19"/>
                  </a:cubicBezTo>
                  <a:cubicBezTo>
                    <a:pt x="f24" y="f27"/>
                    <a:pt x="f24" y="f27"/>
                    <a:pt x="f24" y="f27"/>
                  </a:cubicBezTo>
                  <a:cubicBezTo>
                    <a:pt x="f6" y="f10"/>
                    <a:pt x="f6" y="f10"/>
                    <a:pt x="f6" y="f10"/>
                  </a:cubicBezTo>
                  <a:cubicBezTo>
                    <a:pt x="f26" y="f16"/>
                    <a:pt x="f26" y="f16"/>
                    <a:pt x="f26" y="f16"/>
                  </a:cubicBezTo>
                  <a:cubicBezTo>
                    <a:pt x="f7" y="f28"/>
                    <a:pt x="f7" y="f28"/>
                    <a:pt x="f7" y="f28"/>
                  </a:cubicBezTo>
                  <a:cubicBezTo>
                    <a:pt x="f23" y="f28"/>
                    <a:pt x="f23" y="f28"/>
                    <a:pt x="f23" y="f28"/>
                  </a:cubicBezTo>
                  <a:cubicBezTo>
                    <a:pt x="f15" y="f13"/>
                    <a:pt x="f15" y="f13"/>
                    <a:pt x="f15" y="f13"/>
                  </a:cubicBezTo>
                  <a:cubicBezTo>
                    <a:pt x="f29" y="f5"/>
                    <a:pt x="f29" y="f5"/>
                    <a:pt x="f29" y="f5"/>
                  </a:cubicBezTo>
                  <a:cubicBezTo>
                    <a:pt x="f29" y="f8"/>
                    <a:pt x="f29" y="f8"/>
                    <a:pt x="f29" y="f8"/>
                  </a:cubicBezTo>
                  <a:cubicBezTo>
                    <a:pt x="f29" y="f8"/>
                    <a:pt x="f19" y="f8"/>
                    <a:pt x="f19" y="f8"/>
                  </a:cubicBezTo>
                  <a:cubicBezTo>
                    <a:pt x="f30" y="f8"/>
                    <a:pt x="f30" y="f5"/>
                    <a:pt x="f30" y="f5"/>
                  </a:cubicBezTo>
                  <a:cubicBezTo>
                    <a:pt x="f11" y="f5"/>
                    <a:pt x="f11" y="f5"/>
                    <a:pt x="f11" y="f5"/>
                  </a:cubicBezTo>
                  <a:cubicBezTo>
                    <a:pt x="f31" y="f28"/>
                    <a:pt x="f31" y="f28"/>
                    <a:pt x="f31" y="f28"/>
                  </a:cubicBezTo>
                  <a:cubicBezTo>
                    <a:pt x="f8" y="f31"/>
                    <a:pt x="f8" y="f31"/>
                    <a:pt x="f8" y="f31"/>
                  </a:cubicBezTo>
                  <a:cubicBezTo>
                    <a:pt x="f5" y="f32"/>
                    <a:pt x="f5" y="f32"/>
                    <a:pt x="f5" y="f32"/>
                  </a:cubicBezTo>
                  <a:cubicBezTo>
                    <a:pt x="f5" y="f16"/>
                    <a:pt x="f5" y="f16"/>
                    <a:pt x="f5" y="f16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7" name="Freeform 364">
              <a:extLst>
                <a:ext uri="{FF2B5EF4-FFF2-40B4-BE49-F238E27FC236}">
                  <a16:creationId xmlns:a16="http://schemas.microsoft.com/office/drawing/2014/main" id="{A3BB452F-AF29-73C5-BC17-EB41E4C338DE}"/>
                </a:ext>
              </a:extLst>
            </p:cNvPr>
            <p:cNvSpPr/>
            <p:nvPr/>
          </p:nvSpPr>
          <p:spPr>
            <a:xfrm>
              <a:off x="5681393" y="3763505"/>
              <a:ext cx="405161" cy="28490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0"/>
                <a:gd name="f7" fmla="val 223"/>
                <a:gd name="f8" fmla="val 66"/>
                <a:gd name="f9" fmla="val 78"/>
                <a:gd name="f10" fmla="val 205"/>
                <a:gd name="f11" fmla="val 102"/>
                <a:gd name="f12" fmla="val 138"/>
                <a:gd name="f13" fmla="val 217"/>
                <a:gd name="f14" fmla="val 162"/>
                <a:gd name="f15" fmla="val 198"/>
                <a:gd name="f16" fmla="val 228"/>
                <a:gd name="f17" fmla="val 199"/>
                <a:gd name="f18" fmla="val 258"/>
                <a:gd name="f19" fmla="val 174"/>
                <a:gd name="f20" fmla="val 288"/>
                <a:gd name="f21" fmla="val 54"/>
                <a:gd name="f22" fmla="val 282"/>
                <a:gd name="f23" fmla="val 24"/>
                <a:gd name="f24" fmla="val 18"/>
                <a:gd name="f25" fmla="val 270"/>
                <a:gd name="f26" fmla="val 6"/>
                <a:gd name="f27" fmla="val 222"/>
                <a:gd name="f28" fmla="val 114"/>
                <a:gd name="f29" fmla="val 72"/>
                <a:gd name="f30" fmla="val 90"/>
                <a:gd name="f31" fmla="val 144"/>
                <a:gd name="f32" fmla="val 168"/>
                <a:gd name="f33" fmla="val 12"/>
                <a:gd name="f34" fmla="val 193"/>
                <a:gd name="f35" fmla="val 36"/>
                <a:gd name="f36" fmla="val 48"/>
                <a:gd name="f37" fmla="val 60"/>
                <a:gd name="f38" fmla="+- 0 0 -90"/>
                <a:gd name="f39" fmla="*/ f3 1 300"/>
                <a:gd name="f40" fmla="*/ f4 1 223"/>
                <a:gd name="f41" fmla="val f5"/>
                <a:gd name="f42" fmla="val f6"/>
                <a:gd name="f43" fmla="val f7"/>
                <a:gd name="f44" fmla="*/ f38 f0 1"/>
                <a:gd name="f45" fmla="+- f43 0 f41"/>
                <a:gd name="f46" fmla="+- f42 0 f41"/>
                <a:gd name="f47" fmla="*/ f44 1 f2"/>
                <a:gd name="f48" fmla="*/ f46 1 300"/>
                <a:gd name="f49" fmla="*/ f45 1 223"/>
                <a:gd name="f50" fmla="*/ 2147483646 f46 1"/>
                <a:gd name="f51" fmla="*/ 2147483646 f45 1"/>
                <a:gd name="f52" fmla="*/ 0 f45 1"/>
                <a:gd name="f53" fmla="*/ 0 f46 1"/>
                <a:gd name="f54" fmla="+- f47 0 f1"/>
                <a:gd name="f55" fmla="*/ f50 1 300"/>
                <a:gd name="f56" fmla="*/ f51 1 223"/>
                <a:gd name="f57" fmla="*/ f52 1 223"/>
                <a:gd name="f58" fmla="*/ f53 1 300"/>
                <a:gd name="f59" fmla="*/ 0 1 f48"/>
                <a:gd name="f60" fmla="*/ f42 1 f48"/>
                <a:gd name="f61" fmla="*/ 0 1 f49"/>
                <a:gd name="f62" fmla="*/ f43 1 f49"/>
                <a:gd name="f63" fmla="*/ f55 1 f48"/>
                <a:gd name="f64" fmla="*/ f56 1 f49"/>
                <a:gd name="f65" fmla="*/ f57 1 f49"/>
                <a:gd name="f66" fmla="*/ f58 1 f48"/>
                <a:gd name="f67" fmla="*/ f59 f39 1"/>
                <a:gd name="f68" fmla="*/ f60 f39 1"/>
                <a:gd name="f69" fmla="*/ f62 f40 1"/>
                <a:gd name="f70" fmla="*/ f61 f40 1"/>
                <a:gd name="f71" fmla="*/ f63 f39 1"/>
                <a:gd name="f72" fmla="*/ f64 f40 1"/>
                <a:gd name="f73" fmla="*/ f65 f40 1"/>
                <a:gd name="f74" fmla="*/ f6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3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4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</a:cxnLst>
              <a:rect l="f67" t="f70" r="f68" b="f69"/>
              <a:pathLst>
                <a:path w="300" h="223">
                  <a:moveTo>
                    <a:pt x="f8" y="f7"/>
                  </a:moveTo>
                  <a:lnTo>
                    <a:pt x="f9" y="f10"/>
                  </a:lnTo>
                  <a:lnTo>
                    <a:pt x="f11" y="f10"/>
                  </a:lnTo>
                  <a:lnTo>
                    <a:pt x="f12" y="f13"/>
                  </a:lnTo>
                  <a:lnTo>
                    <a:pt x="f14" y="f10"/>
                  </a:lnTo>
                  <a:lnTo>
                    <a:pt x="f15" y="f10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12"/>
                  </a:lnTo>
                  <a:lnTo>
                    <a:pt x="f6" y="f8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2" y="f24"/>
                  </a:lnTo>
                  <a:lnTo>
                    <a:pt x="f25" y="f26"/>
                  </a:lnTo>
                  <a:lnTo>
                    <a:pt x="f27" y="f5"/>
                  </a:lnTo>
                  <a:lnTo>
                    <a:pt x="f28" y="f29"/>
                  </a:lnTo>
                  <a:lnTo>
                    <a:pt x="f9" y="f30"/>
                  </a:lnTo>
                  <a:lnTo>
                    <a:pt x="f9" y="f31"/>
                  </a:lnTo>
                  <a:lnTo>
                    <a:pt x="f8" y="f14"/>
                  </a:lnTo>
                  <a:lnTo>
                    <a:pt x="f23" y="f32"/>
                  </a:lnTo>
                  <a:lnTo>
                    <a:pt x="f5" y="f32"/>
                  </a:lnTo>
                  <a:lnTo>
                    <a:pt x="f33" y="f34"/>
                  </a:lnTo>
                  <a:lnTo>
                    <a:pt x="f35" y="f13"/>
                  </a:lnTo>
                  <a:lnTo>
                    <a:pt x="f36" y="f13"/>
                  </a:lnTo>
                  <a:lnTo>
                    <a:pt x="f37" y="f7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8" name="Freeform 365">
              <a:extLst>
                <a:ext uri="{FF2B5EF4-FFF2-40B4-BE49-F238E27FC236}">
                  <a16:creationId xmlns:a16="http://schemas.microsoft.com/office/drawing/2014/main" id="{855B1A2D-A198-4423-4F1C-46B928C499EA}"/>
                </a:ext>
              </a:extLst>
            </p:cNvPr>
            <p:cNvSpPr/>
            <p:nvPr/>
          </p:nvSpPr>
          <p:spPr>
            <a:xfrm>
              <a:off x="5681393" y="3763505"/>
              <a:ext cx="405161" cy="28490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0"/>
                <a:gd name="f7" fmla="val 223"/>
                <a:gd name="f8" fmla="val 66"/>
                <a:gd name="f9" fmla="val 78"/>
                <a:gd name="f10" fmla="val 205"/>
                <a:gd name="f11" fmla="val 102"/>
                <a:gd name="f12" fmla="val 138"/>
                <a:gd name="f13" fmla="val 217"/>
                <a:gd name="f14" fmla="val 162"/>
                <a:gd name="f15" fmla="val 198"/>
                <a:gd name="f16" fmla="val 228"/>
                <a:gd name="f17" fmla="val 199"/>
                <a:gd name="f18" fmla="val 258"/>
                <a:gd name="f19" fmla="val 174"/>
                <a:gd name="f20" fmla="val 288"/>
                <a:gd name="f21" fmla="val 54"/>
                <a:gd name="f22" fmla="val 282"/>
                <a:gd name="f23" fmla="val 24"/>
                <a:gd name="f24" fmla="val 18"/>
                <a:gd name="f25" fmla="val 270"/>
                <a:gd name="f26" fmla="val 6"/>
                <a:gd name="f27" fmla="val 222"/>
                <a:gd name="f28" fmla="val 114"/>
                <a:gd name="f29" fmla="val 72"/>
                <a:gd name="f30" fmla="val 90"/>
                <a:gd name="f31" fmla="val 144"/>
                <a:gd name="f32" fmla="val 168"/>
                <a:gd name="f33" fmla="val 12"/>
                <a:gd name="f34" fmla="val 193"/>
                <a:gd name="f35" fmla="val 36"/>
                <a:gd name="f36" fmla="val 48"/>
                <a:gd name="f37" fmla="val 60"/>
                <a:gd name="f38" fmla="+- 0 0 -90"/>
                <a:gd name="f39" fmla="*/ f3 1 300"/>
                <a:gd name="f40" fmla="*/ f4 1 223"/>
                <a:gd name="f41" fmla="val f5"/>
                <a:gd name="f42" fmla="val f6"/>
                <a:gd name="f43" fmla="val f7"/>
                <a:gd name="f44" fmla="*/ f38 f0 1"/>
                <a:gd name="f45" fmla="+- f43 0 f41"/>
                <a:gd name="f46" fmla="+- f42 0 f41"/>
                <a:gd name="f47" fmla="*/ f44 1 f2"/>
                <a:gd name="f48" fmla="*/ f46 1 300"/>
                <a:gd name="f49" fmla="*/ f45 1 223"/>
                <a:gd name="f50" fmla="*/ 2147483646 f46 1"/>
                <a:gd name="f51" fmla="*/ 2147483646 f45 1"/>
                <a:gd name="f52" fmla="*/ 0 f45 1"/>
                <a:gd name="f53" fmla="*/ 0 f46 1"/>
                <a:gd name="f54" fmla="+- f47 0 f1"/>
                <a:gd name="f55" fmla="*/ f50 1 300"/>
                <a:gd name="f56" fmla="*/ f51 1 223"/>
                <a:gd name="f57" fmla="*/ f52 1 223"/>
                <a:gd name="f58" fmla="*/ f53 1 300"/>
                <a:gd name="f59" fmla="*/ 0 1 f48"/>
                <a:gd name="f60" fmla="*/ f42 1 f48"/>
                <a:gd name="f61" fmla="*/ 0 1 f49"/>
                <a:gd name="f62" fmla="*/ f43 1 f49"/>
                <a:gd name="f63" fmla="*/ f55 1 f48"/>
                <a:gd name="f64" fmla="*/ f56 1 f49"/>
                <a:gd name="f65" fmla="*/ f57 1 f49"/>
                <a:gd name="f66" fmla="*/ f58 1 f48"/>
                <a:gd name="f67" fmla="*/ f59 f39 1"/>
                <a:gd name="f68" fmla="*/ f60 f39 1"/>
                <a:gd name="f69" fmla="*/ f62 f40 1"/>
                <a:gd name="f70" fmla="*/ f61 f40 1"/>
                <a:gd name="f71" fmla="*/ f63 f39 1"/>
                <a:gd name="f72" fmla="*/ f64 f40 1"/>
                <a:gd name="f73" fmla="*/ f65 f40 1"/>
                <a:gd name="f74" fmla="*/ f6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3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4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  <a:cxn ang="f54">
                  <a:pos x="f71" y="f72"/>
                </a:cxn>
              </a:cxnLst>
              <a:rect l="f67" t="f70" r="f68" b="f69"/>
              <a:pathLst>
                <a:path w="300" h="223">
                  <a:moveTo>
                    <a:pt x="f8" y="f7"/>
                  </a:moveTo>
                  <a:lnTo>
                    <a:pt x="f9" y="f10"/>
                  </a:lnTo>
                  <a:lnTo>
                    <a:pt x="f11" y="f10"/>
                  </a:lnTo>
                  <a:lnTo>
                    <a:pt x="f12" y="f13"/>
                  </a:lnTo>
                  <a:lnTo>
                    <a:pt x="f14" y="f10"/>
                  </a:lnTo>
                  <a:lnTo>
                    <a:pt x="f15" y="f10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12"/>
                  </a:lnTo>
                  <a:lnTo>
                    <a:pt x="f6" y="f8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2" y="f24"/>
                  </a:lnTo>
                  <a:lnTo>
                    <a:pt x="f25" y="f26"/>
                  </a:lnTo>
                  <a:lnTo>
                    <a:pt x="f27" y="f5"/>
                  </a:lnTo>
                  <a:lnTo>
                    <a:pt x="f28" y="f29"/>
                  </a:lnTo>
                  <a:lnTo>
                    <a:pt x="f9" y="f30"/>
                  </a:lnTo>
                  <a:lnTo>
                    <a:pt x="f9" y="f31"/>
                  </a:lnTo>
                  <a:lnTo>
                    <a:pt x="f8" y="f14"/>
                  </a:lnTo>
                  <a:lnTo>
                    <a:pt x="f23" y="f32"/>
                  </a:lnTo>
                  <a:lnTo>
                    <a:pt x="f5" y="f32"/>
                  </a:lnTo>
                  <a:lnTo>
                    <a:pt x="f33" y="f34"/>
                  </a:lnTo>
                  <a:lnTo>
                    <a:pt x="f35" y="f13"/>
                  </a:lnTo>
                  <a:lnTo>
                    <a:pt x="f36" y="f13"/>
                  </a:lnTo>
                  <a:lnTo>
                    <a:pt x="f37" y="f7"/>
                  </a:lnTo>
                  <a:lnTo>
                    <a:pt x="f8" y="f7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9" name="Freeform 366">
              <a:extLst>
                <a:ext uri="{FF2B5EF4-FFF2-40B4-BE49-F238E27FC236}">
                  <a16:creationId xmlns:a16="http://schemas.microsoft.com/office/drawing/2014/main" id="{3A3BDEED-D004-A185-6EA8-3B573E1327EB}"/>
                </a:ext>
              </a:extLst>
            </p:cNvPr>
            <p:cNvSpPr/>
            <p:nvPr/>
          </p:nvSpPr>
          <p:spPr>
            <a:xfrm>
              <a:off x="5367727" y="3724579"/>
              <a:ext cx="419865" cy="37676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2"/>
                <a:gd name="f7" fmla="val 49"/>
                <a:gd name="f8" fmla="val 24"/>
                <a:gd name="f9" fmla="val 44"/>
                <a:gd name="f10" fmla="val 27"/>
                <a:gd name="f11" fmla="val 40"/>
                <a:gd name="f12" fmla="val 32"/>
                <a:gd name="f13" fmla="val 36"/>
                <a:gd name="f14" fmla="val 38"/>
                <a:gd name="f15" fmla="val 33"/>
                <a:gd name="f16" fmla="val 39"/>
                <a:gd name="f17" fmla="val 43"/>
                <a:gd name="f18" fmla="val 50"/>
                <a:gd name="f19" fmla="val 51"/>
                <a:gd name="f20" fmla="val 29"/>
                <a:gd name="f21" fmla="val 20"/>
                <a:gd name="f22" fmla="val 47"/>
                <a:gd name="f23" fmla="val 18"/>
                <a:gd name="f24" fmla="val 21"/>
                <a:gd name="f25" fmla="val 23"/>
                <a:gd name="f26" fmla="val 30"/>
                <a:gd name="f27" fmla="val 6"/>
                <a:gd name="f28" fmla="val 5"/>
                <a:gd name="f29" fmla="val 3"/>
                <a:gd name="f30" fmla="val 31"/>
                <a:gd name="f31" fmla="val 34"/>
                <a:gd name="f32" fmla="val 35"/>
                <a:gd name="f33" fmla="val 1"/>
                <a:gd name="f34" fmla="val 42"/>
                <a:gd name="f35" fmla="val 2"/>
                <a:gd name="f36" fmla="val 10"/>
                <a:gd name="f37" fmla="val 11"/>
                <a:gd name="f38" fmla="val 13"/>
                <a:gd name="f39" fmla="val 15"/>
                <a:gd name="f40" fmla="val 48"/>
                <a:gd name="f41" fmla="val 17"/>
                <a:gd name="f42" fmla="val 22"/>
                <a:gd name="f43" fmla="+- 0 0 -90"/>
                <a:gd name="f44" fmla="*/ f3 1 52"/>
                <a:gd name="f45" fmla="*/ f4 1 49"/>
                <a:gd name="f46" fmla="val f5"/>
                <a:gd name="f47" fmla="val f6"/>
                <a:gd name="f48" fmla="val f7"/>
                <a:gd name="f49" fmla="*/ f43 f0 1"/>
                <a:gd name="f50" fmla="+- f48 0 f46"/>
                <a:gd name="f51" fmla="+- f47 0 f46"/>
                <a:gd name="f52" fmla="*/ f49 1 f2"/>
                <a:gd name="f53" fmla="*/ f51 1 52"/>
                <a:gd name="f54" fmla="*/ f50 1 49"/>
                <a:gd name="f55" fmla="*/ 2147483646 f51 1"/>
                <a:gd name="f56" fmla="*/ 2147483646 f50 1"/>
                <a:gd name="f57" fmla="*/ 0 f50 1"/>
                <a:gd name="f58" fmla="*/ 0 f51 1"/>
                <a:gd name="f59" fmla="+- f52 0 f1"/>
                <a:gd name="f60" fmla="*/ f55 1 52"/>
                <a:gd name="f61" fmla="*/ f56 1 49"/>
                <a:gd name="f62" fmla="*/ f57 1 49"/>
                <a:gd name="f63" fmla="*/ f58 1 52"/>
                <a:gd name="f64" fmla="*/ 0 1 f53"/>
                <a:gd name="f65" fmla="*/ f47 1 f53"/>
                <a:gd name="f66" fmla="*/ 0 1 f54"/>
                <a:gd name="f67" fmla="*/ f48 1 f54"/>
                <a:gd name="f68" fmla="*/ f60 1 f53"/>
                <a:gd name="f69" fmla="*/ f61 1 f54"/>
                <a:gd name="f70" fmla="*/ f62 1 f54"/>
                <a:gd name="f71" fmla="*/ f63 1 f53"/>
                <a:gd name="f72" fmla="*/ f64 f44 1"/>
                <a:gd name="f73" fmla="*/ f65 f44 1"/>
                <a:gd name="f74" fmla="*/ f67 f45 1"/>
                <a:gd name="f75" fmla="*/ f66 f45 1"/>
                <a:gd name="f76" fmla="*/ f68 f44 1"/>
                <a:gd name="f77" fmla="*/ f69 f45 1"/>
                <a:gd name="f78" fmla="*/ f70 f45 1"/>
                <a:gd name="f79" fmla="*/ f7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8"/>
                </a:cxn>
                <a:cxn ang="f59">
                  <a:pos x="f76" y="f78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9" y="f77"/>
                </a:cxn>
                <a:cxn ang="f59">
                  <a:pos x="f79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  <a:cxn ang="f59">
                  <a:pos x="f76" y="f77"/>
                </a:cxn>
              </a:cxnLst>
              <a:rect l="f72" t="f75" r="f73" b="f74"/>
              <a:pathLst>
                <a:path w="52" h="49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5"/>
                    <a:pt x="f16" y="f15"/>
                    <a:pt x="f16" y="f15"/>
                  </a:cubicBezTo>
                  <a:cubicBezTo>
                    <a:pt x="f17" y="f15"/>
                    <a:pt x="f17" y="f15"/>
                    <a:pt x="f17" y="f15"/>
                  </a:cubicBezTo>
                  <a:cubicBezTo>
                    <a:pt x="f18" y="f12"/>
                    <a:pt x="f18" y="f12"/>
                    <a:pt x="f18" y="f12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6" y="f21"/>
                    <a:pt x="f6" y="f21"/>
                    <a:pt x="f6" y="f21"/>
                  </a:cubicBezTo>
                  <a:cubicBezTo>
                    <a:pt x="f7" y="f21"/>
                    <a:pt x="f7" y="f21"/>
                    <a:pt x="f7" y="f21"/>
                  </a:cubicBezTo>
                  <a:cubicBezTo>
                    <a:pt x="f22" y="f23"/>
                    <a:pt x="f22" y="f23"/>
                    <a:pt x="f22" y="f23"/>
                  </a:cubicBezTo>
                  <a:cubicBezTo>
                    <a:pt x="f24" y="f5"/>
                    <a:pt x="f24" y="f5"/>
                    <a:pt x="f24" y="f5"/>
                  </a:cubicBezTo>
                  <a:cubicBezTo>
                    <a:pt x="f23" y="f5"/>
                    <a:pt x="f23" y="f5"/>
                    <a:pt x="f23" y="f5"/>
                  </a:cubicBezTo>
                  <a:cubicBezTo>
                    <a:pt x="f24" y="f20"/>
                    <a:pt x="f24" y="f20"/>
                    <a:pt x="f24" y="f20"/>
                  </a:cubicBezTo>
                  <a:cubicBezTo>
                    <a:pt x="f25" y="f26"/>
                    <a:pt x="f25" y="f26"/>
                    <a:pt x="f25" y="f26"/>
                  </a:cubicBezTo>
                  <a:cubicBezTo>
                    <a:pt x="f21" y="f12"/>
                    <a:pt x="f21" y="f12"/>
                    <a:pt x="f21" y="f12"/>
                  </a:cubicBezTo>
                  <a:cubicBezTo>
                    <a:pt x="f27" y="f12"/>
                    <a:pt x="f27" y="f12"/>
                    <a:pt x="f27" y="f12"/>
                  </a:cubicBezTo>
                  <a:cubicBezTo>
                    <a:pt x="f28" y="f15"/>
                    <a:pt x="f28" y="f15"/>
                    <a:pt x="f28" y="f15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5" y="f31"/>
                    <a:pt x="f5" y="f31"/>
                    <a:pt x="f5" y="f31"/>
                  </a:cubicBezTo>
                  <a:cubicBezTo>
                    <a:pt x="f5" y="f32"/>
                    <a:pt x="f5" y="f32"/>
                    <a:pt x="f5" y="f32"/>
                  </a:cubicBezTo>
                  <a:cubicBezTo>
                    <a:pt x="f33" y="f14"/>
                    <a:pt x="f33" y="f14"/>
                    <a:pt x="f33" y="f14"/>
                  </a:cubicBezTo>
                  <a:cubicBezTo>
                    <a:pt x="f29" y="f34"/>
                    <a:pt x="f29" y="f34"/>
                    <a:pt x="f29" y="f34"/>
                  </a:cubicBezTo>
                  <a:cubicBezTo>
                    <a:pt x="f35" y="f34"/>
                    <a:pt x="f35" y="f34"/>
                    <a:pt x="f35" y="f34"/>
                  </a:cubicBezTo>
                  <a:cubicBezTo>
                    <a:pt x="f35" y="f17"/>
                    <a:pt x="f35" y="f17"/>
                    <a:pt x="f35" y="f17"/>
                  </a:cubicBezTo>
                  <a:cubicBezTo>
                    <a:pt x="f27" y="f17"/>
                    <a:pt x="f27" y="f17"/>
                    <a:pt x="f27" y="f17"/>
                  </a:cubicBezTo>
                  <a:cubicBezTo>
                    <a:pt x="f27" y="f17"/>
                    <a:pt x="f36" y="f34"/>
                    <a:pt x="f36" y="f34"/>
                  </a:cubicBezTo>
                  <a:cubicBezTo>
                    <a:pt x="f37" y="f34"/>
                    <a:pt x="f37" y="f9"/>
                    <a:pt x="f37" y="f9"/>
                  </a:cubicBezTo>
                  <a:cubicBezTo>
                    <a:pt x="f38" y="f7"/>
                    <a:pt x="f38" y="f7"/>
                    <a:pt x="f38" y="f7"/>
                  </a:cubicBezTo>
                  <a:cubicBezTo>
                    <a:pt x="f39" y="f40"/>
                    <a:pt x="f39" y="f40"/>
                    <a:pt x="f39" y="f40"/>
                  </a:cubicBezTo>
                  <a:cubicBezTo>
                    <a:pt x="f41" y="f40"/>
                    <a:pt x="f41" y="f40"/>
                    <a:pt x="f41" y="f40"/>
                  </a:cubicBezTo>
                  <a:cubicBezTo>
                    <a:pt x="f23" y="f40"/>
                    <a:pt x="f23" y="f40"/>
                    <a:pt x="f23" y="f40"/>
                  </a:cubicBezTo>
                  <a:cubicBezTo>
                    <a:pt x="f21" y="f7"/>
                    <a:pt x="f21" y="f7"/>
                    <a:pt x="f21" y="f7"/>
                  </a:cubicBezTo>
                  <a:cubicBezTo>
                    <a:pt x="f42" y="f7"/>
                    <a:pt x="f42" y="f7"/>
                    <a:pt x="f42" y="f7"/>
                  </a:cubicBezTo>
                  <a:cubicBezTo>
                    <a:pt x="f25" y="f7"/>
                    <a:pt x="f25" y="f7"/>
                    <a:pt x="f25" y="f7"/>
                  </a:cubicBezTo>
                  <a:cubicBezTo>
                    <a:pt x="f25" y="f22"/>
                    <a:pt x="f25" y="f22"/>
                    <a:pt x="f25" y="f22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0" name="Freeform 367">
              <a:extLst>
                <a:ext uri="{FF2B5EF4-FFF2-40B4-BE49-F238E27FC236}">
                  <a16:creationId xmlns:a16="http://schemas.microsoft.com/office/drawing/2014/main" id="{20AB5F3D-99C3-5C6B-BAFC-AE5A32DF9057}"/>
                </a:ext>
              </a:extLst>
            </p:cNvPr>
            <p:cNvSpPr/>
            <p:nvPr/>
          </p:nvSpPr>
          <p:spPr>
            <a:xfrm>
              <a:off x="6733493" y="4071758"/>
              <a:ext cx="241785" cy="31137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6"/>
                <a:gd name="f7" fmla="val 72"/>
                <a:gd name="f8" fmla="val 18"/>
                <a:gd name="f9" fmla="val 48"/>
                <a:gd name="f10" fmla="val 12"/>
                <a:gd name="f11" fmla="val 6"/>
                <a:gd name="f12" fmla="val 30"/>
                <a:gd name="f13" fmla="val 42"/>
                <a:gd name="f14" fmla="val 36"/>
                <a:gd name="f15" fmla="val 84"/>
                <a:gd name="f16" fmla="val 60"/>
                <a:gd name="f17" fmla="val 126"/>
                <a:gd name="f18" fmla="val 66"/>
                <a:gd name="f19" fmla="val 78"/>
                <a:gd name="f20" fmla="val 120"/>
                <a:gd name="f21" fmla="val 132"/>
                <a:gd name="f22" fmla="val 144"/>
                <a:gd name="f23" fmla="val 24"/>
                <a:gd name="f24" fmla="val 150"/>
                <a:gd name="f25" fmla="val 168"/>
                <a:gd name="f26" fmla="val 228"/>
                <a:gd name="f27" fmla="val 204"/>
                <a:gd name="f28" fmla="val 90"/>
                <a:gd name="f29" fmla="+- 0 0 -90"/>
                <a:gd name="f30" fmla="*/ f3 1 180"/>
                <a:gd name="f31" fmla="*/ f4 1 246"/>
                <a:gd name="f32" fmla="val f5"/>
                <a:gd name="f33" fmla="val f2"/>
                <a:gd name="f34" fmla="val f6"/>
                <a:gd name="f35" fmla="*/ f29 f0 1"/>
                <a:gd name="f36" fmla="+- f34 0 f32"/>
                <a:gd name="f37" fmla="+- f33 0 f32"/>
                <a:gd name="f38" fmla="*/ f35 1 f2"/>
                <a:gd name="f39" fmla="*/ f37 1 180"/>
                <a:gd name="f40" fmla="*/ f36 1 246"/>
                <a:gd name="f41" fmla="*/ 2147483646 f37 1"/>
                <a:gd name="f42" fmla="*/ 2147483646 f36 1"/>
                <a:gd name="f43" fmla="*/ 0 f37 1"/>
                <a:gd name="f44" fmla="*/ 0 f36 1"/>
                <a:gd name="f45" fmla="+- f38 0 f1"/>
                <a:gd name="f46" fmla="*/ f41 1 180"/>
                <a:gd name="f47" fmla="*/ f42 1 246"/>
                <a:gd name="f48" fmla="*/ f43 1 180"/>
                <a:gd name="f49" fmla="*/ f44 1 246"/>
                <a:gd name="f50" fmla="*/ 0 1 f39"/>
                <a:gd name="f51" fmla="*/ f33 1 f39"/>
                <a:gd name="f52" fmla="*/ 0 1 f40"/>
                <a:gd name="f53" fmla="*/ f34 1 f40"/>
                <a:gd name="f54" fmla="*/ f46 1 f39"/>
                <a:gd name="f55" fmla="*/ f47 1 f40"/>
                <a:gd name="f56" fmla="*/ f48 1 f39"/>
                <a:gd name="f57" fmla="*/ f49 1 f40"/>
                <a:gd name="f58" fmla="*/ f50 f30 1"/>
                <a:gd name="f59" fmla="*/ f51 f30 1"/>
                <a:gd name="f60" fmla="*/ f53 f31 1"/>
                <a:gd name="f61" fmla="*/ f52 f31 1"/>
                <a:gd name="f62" fmla="*/ f54 f30 1"/>
                <a:gd name="f63" fmla="*/ f55 f31 1"/>
                <a:gd name="f64" fmla="*/ f56 f30 1"/>
                <a:gd name="f65" fmla="*/ f57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4" y="f63"/>
                </a:cxn>
                <a:cxn ang="f45">
                  <a:pos x="f64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5"/>
                </a:cxn>
                <a:cxn ang="f45">
                  <a:pos x="f62" y="f63"/>
                </a:cxn>
              </a:cxnLst>
              <a:rect l="f58" t="f61" r="f59" b="f60"/>
              <a:pathLst>
                <a:path w="180" h="246">
                  <a:moveTo>
                    <a:pt x="f7" y="f8"/>
                  </a:moveTo>
                  <a:lnTo>
                    <a:pt x="f9" y="f10"/>
                  </a:lnTo>
                  <a:lnTo>
                    <a:pt x="f9" y="f11"/>
                  </a:lnTo>
                  <a:lnTo>
                    <a:pt x="f12" y="f8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4" y="f21"/>
                  </a:lnTo>
                  <a:lnTo>
                    <a:pt x="f8" y="f22"/>
                  </a:lnTo>
                  <a:lnTo>
                    <a:pt x="f23" y="f24"/>
                  </a:lnTo>
                  <a:lnTo>
                    <a:pt x="f8" y="f22"/>
                  </a:lnTo>
                  <a:lnTo>
                    <a:pt x="f8" y="f24"/>
                  </a:lnTo>
                  <a:lnTo>
                    <a:pt x="f5" y="f25"/>
                  </a:lnTo>
                  <a:lnTo>
                    <a:pt x="f5" y="f26"/>
                  </a:lnTo>
                  <a:lnTo>
                    <a:pt x="f10" y="f6"/>
                  </a:lnTo>
                  <a:lnTo>
                    <a:pt x="f13" y="f27"/>
                  </a:lnTo>
                  <a:lnTo>
                    <a:pt x="f28" y="f2"/>
                  </a:lnTo>
                  <a:lnTo>
                    <a:pt x="f21" y="f21"/>
                  </a:lnTo>
                  <a:lnTo>
                    <a:pt x="f25" y="f9"/>
                  </a:lnTo>
                  <a:lnTo>
                    <a:pt x="f2" y="f5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1" name="Freeform 368">
              <a:extLst>
                <a:ext uri="{FF2B5EF4-FFF2-40B4-BE49-F238E27FC236}">
                  <a16:creationId xmlns:a16="http://schemas.microsoft.com/office/drawing/2014/main" id="{CADB2414-9FFE-D5EE-974A-C71310ECDBB1}"/>
                </a:ext>
              </a:extLst>
            </p:cNvPr>
            <p:cNvSpPr/>
            <p:nvPr/>
          </p:nvSpPr>
          <p:spPr>
            <a:xfrm>
              <a:off x="6037543" y="4048404"/>
              <a:ext cx="32671" cy="12144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96"/>
                <a:gd name="f8" fmla="val 12"/>
                <a:gd name="f9" fmla="val 42"/>
                <a:gd name="f10" fmla="val 48"/>
                <a:gd name="f11" fmla="val 66"/>
                <a:gd name="f12" fmla="val 18"/>
                <a:gd name="f13" fmla="+- 0 0 -90"/>
                <a:gd name="f14" fmla="*/ f3 1 24"/>
                <a:gd name="f15" fmla="*/ f4 1 96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24"/>
                <a:gd name="f24" fmla="*/ f20 1 96"/>
                <a:gd name="f25" fmla="*/ 2147483646 f21 1"/>
                <a:gd name="f26" fmla="*/ 0 f20 1"/>
                <a:gd name="f27" fmla="*/ 2147483646 f20 1"/>
                <a:gd name="f28" fmla="*/ 0 f21 1"/>
                <a:gd name="f29" fmla="+- f22 0 f1"/>
                <a:gd name="f30" fmla="*/ f25 1 24"/>
                <a:gd name="f31" fmla="*/ f26 1 96"/>
                <a:gd name="f32" fmla="*/ f27 1 96"/>
                <a:gd name="f33" fmla="*/ f28 1 24"/>
                <a:gd name="f34" fmla="*/ 0 1 f23"/>
                <a:gd name="f35" fmla="*/ f17 1 f23"/>
                <a:gd name="f36" fmla="*/ 0 1 f24"/>
                <a:gd name="f37" fmla="*/ f18 1 f24"/>
                <a:gd name="f38" fmla="*/ f30 1 f23"/>
                <a:gd name="f39" fmla="*/ f31 1 f24"/>
                <a:gd name="f40" fmla="*/ f32 1 f24"/>
                <a:gd name="f41" fmla="*/ f33 1 f23"/>
                <a:gd name="f42" fmla="*/ f34 f14 1"/>
                <a:gd name="f43" fmla="*/ f35 f14 1"/>
                <a:gd name="f44" fmla="*/ f37 f15 1"/>
                <a:gd name="f45" fmla="*/ f36 f15 1"/>
                <a:gd name="f46" fmla="*/ f38 f14 1"/>
                <a:gd name="f47" fmla="*/ f39 f15 1"/>
                <a:gd name="f48" fmla="*/ f40 f15 1"/>
                <a:gd name="f49" fmla="*/ f41 f1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46" y="f47"/>
                </a:cxn>
                <a:cxn ang="f29">
                  <a:pos x="f46" y="f47"/>
                </a:cxn>
                <a:cxn ang="f29">
                  <a:pos x="f46" y="f48"/>
                </a:cxn>
                <a:cxn ang="f29">
                  <a:pos x="f49" y="f48"/>
                </a:cxn>
                <a:cxn ang="f29">
                  <a:pos x="f49" y="f48"/>
                </a:cxn>
                <a:cxn ang="f29">
                  <a:pos x="f46" y="f48"/>
                </a:cxn>
                <a:cxn ang="f29">
                  <a:pos x="f46" y="f48"/>
                </a:cxn>
                <a:cxn ang="f29">
                  <a:pos x="f46" y="f47"/>
                </a:cxn>
              </a:cxnLst>
              <a:rect l="f42" t="f45" r="f43" b="f44"/>
              <a:pathLst>
                <a:path w="24" h="96">
                  <a:moveTo>
                    <a:pt x="f8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5" y="f10"/>
                  </a:lnTo>
                  <a:lnTo>
                    <a:pt x="f5" y="f11"/>
                  </a:lnTo>
                  <a:lnTo>
                    <a:pt x="f12" y="f7"/>
                  </a:lnTo>
                  <a:lnTo>
                    <a:pt x="f6" y="f7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2" name="Freeform 369">
              <a:extLst>
                <a:ext uri="{FF2B5EF4-FFF2-40B4-BE49-F238E27FC236}">
                  <a16:creationId xmlns:a16="http://schemas.microsoft.com/office/drawing/2014/main" id="{3503689D-D83B-A7E5-C3CC-C53D101818F8}"/>
                </a:ext>
              </a:extLst>
            </p:cNvPr>
            <p:cNvSpPr/>
            <p:nvPr/>
          </p:nvSpPr>
          <p:spPr>
            <a:xfrm>
              <a:off x="6037543" y="4048404"/>
              <a:ext cx="32671" cy="12144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96"/>
                <a:gd name="f8" fmla="val 12"/>
                <a:gd name="f9" fmla="val 42"/>
                <a:gd name="f10" fmla="val 48"/>
                <a:gd name="f11" fmla="val 66"/>
                <a:gd name="f12" fmla="val 18"/>
                <a:gd name="f13" fmla="+- 0 0 -90"/>
                <a:gd name="f14" fmla="*/ f3 1 24"/>
                <a:gd name="f15" fmla="*/ f4 1 96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24"/>
                <a:gd name="f24" fmla="*/ f20 1 96"/>
                <a:gd name="f25" fmla="*/ 2147483646 f21 1"/>
                <a:gd name="f26" fmla="*/ 0 f20 1"/>
                <a:gd name="f27" fmla="*/ 2147483646 f20 1"/>
                <a:gd name="f28" fmla="*/ 0 f21 1"/>
                <a:gd name="f29" fmla="+- f22 0 f1"/>
                <a:gd name="f30" fmla="*/ f25 1 24"/>
                <a:gd name="f31" fmla="*/ f26 1 96"/>
                <a:gd name="f32" fmla="*/ f27 1 96"/>
                <a:gd name="f33" fmla="*/ f28 1 24"/>
                <a:gd name="f34" fmla="*/ 0 1 f23"/>
                <a:gd name="f35" fmla="*/ f17 1 f23"/>
                <a:gd name="f36" fmla="*/ 0 1 f24"/>
                <a:gd name="f37" fmla="*/ f18 1 f24"/>
                <a:gd name="f38" fmla="*/ f30 1 f23"/>
                <a:gd name="f39" fmla="*/ f31 1 f24"/>
                <a:gd name="f40" fmla="*/ f32 1 f24"/>
                <a:gd name="f41" fmla="*/ f33 1 f23"/>
                <a:gd name="f42" fmla="*/ f34 f14 1"/>
                <a:gd name="f43" fmla="*/ f35 f14 1"/>
                <a:gd name="f44" fmla="*/ f37 f15 1"/>
                <a:gd name="f45" fmla="*/ f36 f15 1"/>
                <a:gd name="f46" fmla="*/ f38 f14 1"/>
                <a:gd name="f47" fmla="*/ f39 f15 1"/>
                <a:gd name="f48" fmla="*/ f40 f15 1"/>
                <a:gd name="f49" fmla="*/ f41 f1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46" y="f47"/>
                </a:cxn>
                <a:cxn ang="f29">
                  <a:pos x="f46" y="f47"/>
                </a:cxn>
                <a:cxn ang="f29">
                  <a:pos x="f46" y="f48"/>
                </a:cxn>
                <a:cxn ang="f29">
                  <a:pos x="f49" y="f48"/>
                </a:cxn>
                <a:cxn ang="f29">
                  <a:pos x="f49" y="f48"/>
                </a:cxn>
                <a:cxn ang="f29">
                  <a:pos x="f46" y="f48"/>
                </a:cxn>
                <a:cxn ang="f29">
                  <a:pos x="f46" y="f48"/>
                </a:cxn>
              </a:cxnLst>
              <a:rect l="f42" t="f45" r="f43" b="f44"/>
              <a:pathLst>
                <a:path w="24" h="96">
                  <a:moveTo>
                    <a:pt x="f8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5" y="f10"/>
                  </a:lnTo>
                  <a:lnTo>
                    <a:pt x="f5" y="f11"/>
                  </a:lnTo>
                  <a:lnTo>
                    <a:pt x="f12" y="f7"/>
                  </a:lnTo>
                  <a:lnTo>
                    <a:pt x="f6" y="f7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3" name="Freeform 370">
              <a:extLst>
                <a:ext uri="{FF2B5EF4-FFF2-40B4-BE49-F238E27FC236}">
                  <a16:creationId xmlns:a16="http://schemas.microsoft.com/office/drawing/2014/main" id="{B85ED16B-C711-BFC6-A03B-C30620DDFE1D}"/>
                </a:ext>
              </a:extLst>
            </p:cNvPr>
            <p:cNvSpPr/>
            <p:nvPr/>
          </p:nvSpPr>
          <p:spPr>
            <a:xfrm>
              <a:off x="6021202" y="3772841"/>
              <a:ext cx="266291" cy="39700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8"/>
                <a:gd name="f7" fmla="val 313"/>
                <a:gd name="f8" fmla="val 36"/>
                <a:gd name="f9" fmla="val 60"/>
                <a:gd name="f10" fmla="val 307"/>
                <a:gd name="f11" fmla="val 96"/>
                <a:gd name="f12" fmla="val 295"/>
                <a:gd name="f13" fmla="val 102"/>
                <a:gd name="f14" fmla="val 283"/>
                <a:gd name="f15" fmla="val 132"/>
                <a:gd name="f16" fmla="val 277"/>
                <a:gd name="f17" fmla="val 247"/>
                <a:gd name="f18" fmla="val 162"/>
                <a:gd name="f19" fmla="val 211"/>
                <a:gd name="f20" fmla="val 168"/>
                <a:gd name="f21" fmla="val 193"/>
                <a:gd name="f22" fmla="val 174"/>
                <a:gd name="f23" fmla="val 192"/>
                <a:gd name="f24" fmla="val 150"/>
                <a:gd name="f25" fmla="val 78"/>
                <a:gd name="f26" fmla="val 54"/>
                <a:gd name="f27" fmla="val 30"/>
                <a:gd name="f28" fmla="val 12"/>
                <a:gd name="f29" fmla="val 18"/>
                <a:gd name="f30" fmla="val 48"/>
                <a:gd name="f31" fmla="val 6"/>
                <a:gd name="f32" fmla="val 175"/>
                <a:gd name="f33" fmla="val 199"/>
                <a:gd name="f34" fmla="val 24"/>
                <a:gd name="f35" fmla="val 217"/>
                <a:gd name="f36" fmla="+- 0 0 -90"/>
                <a:gd name="f37" fmla="*/ f3 1 198"/>
                <a:gd name="f38" fmla="*/ f4 1 313"/>
                <a:gd name="f39" fmla="val f5"/>
                <a:gd name="f40" fmla="val f6"/>
                <a:gd name="f41" fmla="val f7"/>
                <a:gd name="f42" fmla="*/ f36 f0 1"/>
                <a:gd name="f43" fmla="+- f41 0 f39"/>
                <a:gd name="f44" fmla="+- f40 0 f39"/>
                <a:gd name="f45" fmla="*/ f42 1 f2"/>
                <a:gd name="f46" fmla="*/ f44 1 198"/>
                <a:gd name="f47" fmla="*/ f43 1 313"/>
                <a:gd name="f48" fmla="*/ 2147483646 f44 1"/>
                <a:gd name="f49" fmla="*/ 2147483646 f43 1"/>
                <a:gd name="f50" fmla="*/ 0 f43 1"/>
                <a:gd name="f51" fmla="*/ 0 f44 1"/>
                <a:gd name="f52" fmla="+- f45 0 f1"/>
                <a:gd name="f53" fmla="*/ f48 1 198"/>
                <a:gd name="f54" fmla="*/ f49 1 313"/>
                <a:gd name="f55" fmla="*/ f50 1 313"/>
                <a:gd name="f56" fmla="*/ f51 1 198"/>
                <a:gd name="f57" fmla="*/ 0 1 f46"/>
                <a:gd name="f58" fmla="*/ f40 1 f46"/>
                <a:gd name="f59" fmla="*/ 0 1 f47"/>
                <a:gd name="f60" fmla="*/ f41 1 f47"/>
                <a:gd name="f61" fmla="*/ f53 1 f46"/>
                <a:gd name="f62" fmla="*/ f54 1 f47"/>
                <a:gd name="f63" fmla="*/ f55 1 f47"/>
                <a:gd name="f64" fmla="*/ f56 1 f46"/>
                <a:gd name="f65" fmla="*/ f57 f37 1"/>
                <a:gd name="f66" fmla="*/ f58 f37 1"/>
                <a:gd name="f67" fmla="*/ f60 f38 1"/>
                <a:gd name="f68" fmla="*/ f59 f38 1"/>
                <a:gd name="f69" fmla="*/ f61 f37 1"/>
                <a:gd name="f70" fmla="*/ f62 f38 1"/>
                <a:gd name="f71" fmla="*/ f63 f38 1"/>
                <a:gd name="f72" fmla="*/ f6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1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72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</a:cxnLst>
              <a:rect l="f65" t="f68" r="f66" b="f67"/>
              <a:pathLst>
                <a:path w="198" h="313">
                  <a:moveTo>
                    <a:pt x="f8" y="f7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2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18"/>
                  </a:lnTo>
                  <a:lnTo>
                    <a:pt x="f23" y="f24"/>
                  </a:lnTo>
                  <a:lnTo>
                    <a:pt x="f6" y="f25"/>
                  </a:lnTo>
                  <a:lnTo>
                    <a:pt x="f26" y="f5"/>
                  </a:lnTo>
                  <a:lnTo>
                    <a:pt x="f27" y="f28"/>
                  </a:lnTo>
                  <a:lnTo>
                    <a:pt x="f27" y="f29"/>
                  </a:lnTo>
                  <a:lnTo>
                    <a:pt x="f8" y="f30"/>
                  </a:lnTo>
                  <a:lnTo>
                    <a:pt x="f30" y="f9"/>
                  </a:lnTo>
                  <a:lnTo>
                    <a:pt x="f8" y="f15"/>
                  </a:lnTo>
                  <a:lnTo>
                    <a:pt x="f31" y="f20"/>
                  </a:lnTo>
                  <a:lnTo>
                    <a:pt x="f28" y="f20"/>
                  </a:lnTo>
                  <a:lnTo>
                    <a:pt x="f31" y="f20"/>
                  </a:lnTo>
                  <a:lnTo>
                    <a:pt x="f5" y="f32"/>
                  </a:lnTo>
                  <a:lnTo>
                    <a:pt x="f28" y="f21"/>
                  </a:lnTo>
                  <a:lnTo>
                    <a:pt x="f27" y="f33"/>
                  </a:lnTo>
                  <a:lnTo>
                    <a:pt x="f34" y="f35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4" name="Freeform 371">
              <a:extLst>
                <a:ext uri="{FF2B5EF4-FFF2-40B4-BE49-F238E27FC236}">
                  <a16:creationId xmlns:a16="http://schemas.microsoft.com/office/drawing/2014/main" id="{762D1FA7-0A1A-91BE-412D-55C11FE9C386}"/>
                </a:ext>
              </a:extLst>
            </p:cNvPr>
            <p:cNvSpPr/>
            <p:nvPr/>
          </p:nvSpPr>
          <p:spPr>
            <a:xfrm>
              <a:off x="6021202" y="3772841"/>
              <a:ext cx="266291" cy="39700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8"/>
                <a:gd name="f7" fmla="val 313"/>
                <a:gd name="f8" fmla="val 36"/>
                <a:gd name="f9" fmla="val 60"/>
                <a:gd name="f10" fmla="val 307"/>
                <a:gd name="f11" fmla="val 96"/>
                <a:gd name="f12" fmla="val 295"/>
                <a:gd name="f13" fmla="val 102"/>
                <a:gd name="f14" fmla="val 283"/>
                <a:gd name="f15" fmla="val 132"/>
                <a:gd name="f16" fmla="val 277"/>
                <a:gd name="f17" fmla="val 247"/>
                <a:gd name="f18" fmla="val 162"/>
                <a:gd name="f19" fmla="val 211"/>
                <a:gd name="f20" fmla="val 168"/>
                <a:gd name="f21" fmla="val 193"/>
                <a:gd name="f22" fmla="val 174"/>
                <a:gd name="f23" fmla="val 192"/>
                <a:gd name="f24" fmla="val 150"/>
                <a:gd name="f25" fmla="val 78"/>
                <a:gd name="f26" fmla="val 54"/>
                <a:gd name="f27" fmla="val 30"/>
                <a:gd name="f28" fmla="val 12"/>
                <a:gd name="f29" fmla="val 18"/>
                <a:gd name="f30" fmla="val 48"/>
                <a:gd name="f31" fmla="val 6"/>
                <a:gd name="f32" fmla="val 175"/>
                <a:gd name="f33" fmla="val 199"/>
                <a:gd name="f34" fmla="val 24"/>
                <a:gd name="f35" fmla="val 217"/>
                <a:gd name="f36" fmla="+- 0 0 -90"/>
                <a:gd name="f37" fmla="*/ f3 1 198"/>
                <a:gd name="f38" fmla="*/ f4 1 313"/>
                <a:gd name="f39" fmla="val f5"/>
                <a:gd name="f40" fmla="val f6"/>
                <a:gd name="f41" fmla="val f7"/>
                <a:gd name="f42" fmla="*/ f36 f0 1"/>
                <a:gd name="f43" fmla="+- f41 0 f39"/>
                <a:gd name="f44" fmla="+- f40 0 f39"/>
                <a:gd name="f45" fmla="*/ f42 1 f2"/>
                <a:gd name="f46" fmla="*/ f44 1 198"/>
                <a:gd name="f47" fmla="*/ f43 1 313"/>
                <a:gd name="f48" fmla="*/ 2147483646 f44 1"/>
                <a:gd name="f49" fmla="*/ 2147483646 f43 1"/>
                <a:gd name="f50" fmla="*/ 0 f43 1"/>
                <a:gd name="f51" fmla="*/ 0 f44 1"/>
                <a:gd name="f52" fmla="+- f45 0 f1"/>
                <a:gd name="f53" fmla="*/ f48 1 198"/>
                <a:gd name="f54" fmla="*/ f49 1 313"/>
                <a:gd name="f55" fmla="*/ f50 1 313"/>
                <a:gd name="f56" fmla="*/ f51 1 198"/>
                <a:gd name="f57" fmla="*/ 0 1 f46"/>
                <a:gd name="f58" fmla="*/ f40 1 f46"/>
                <a:gd name="f59" fmla="*/ 0 1 f47"/>
                <a:gd name="f60" fmla="*/ f41 1 f47"/>
                <a:gd name="f61" fmla="*/ f53 1 f46"/>
                <a:gd name="f62" fmla="*/ f54 1 f47"/>
                <a:gd name="f63" fmla="*/ f55 1 f47"/>
                <a:gd name="f64" fmla="*/ f56 1 f46"/>
                <a:gd name="f65" fmla="*/ f57 f37 1"/>
                <a:gd name="f66" fmla="*/ f58 f37 1"/>
                <a:gd name="f67" fmla="*/ f60 f38 1"/>
                <a:gd name="f68" fmla="*/ f59 f38 1"/>
                <a:gd name="f69" fmla="*/ f61 f37 1"/>
                <a:gd name="f70" fmla="*/ f62 f38 1"/>
                <a:gd name="f71" fmla="*/ f63 f38 1"/>
                <a:gd name="f72" fmla="*/ f6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1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72" y="f70"/>
                </a:cxn>
                <a:cxn ang="f52">
                  <a:pos x="f69" y="f70"/>
                </a:cxn>
                <a:cxn ang="f52">
                  <a:pos x="f69" y="f70"/>
                </a:cxn>
                <a:cxn ang="f52">
                  <a:pos x="f69" y="f70"/>
                </a:cxn>
              </a:cxnLst>
              <a:rect l="f65" t="f68" r="f66" b="f67"/>
              <a:pathLst>
                <a:path w="198" h="313">
                  <a:moveTo>
                    <a:pt x="f8" y="f7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2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18"/>
                  </a:lnTo>
                  <a:lnTo>
                    <a:pt x="f23" y="f24"/>
                  </a:lnTo>
                  <a:lnTo>
                    <a:pt x="f6" y="f25"/>
                  </a:lnTo>
                  <a:lnTo>
                    <a:pt x="f26" y="f5"/>
                  </a:lnTo>
                  <a:lnTo>
                    <a:pt x="f27" y="f28"/>
                  </a:lnTo>
                  <a:lnTo>
                    <a:pt x="f27" y="f29"/>
                  </a:lnTo>
                  <a:lnTo>
                    <a:pt x="f8" y="f30"/>
                  </a:lnTo>
                  <a:lnTo>
                    <a:pt x="f30" y="f9"/>
                  </a:lnTo>
                  <a:lnTo>
                    <a:pt x="f8" y="f15"/>
                  </a:lnTo>
                  <a:lnTo>
                    <a:pt x="f31" y="f20"/>
                  </a:lnTo>
                  <a:lnTo>
                    <a:pt x="f28" y="f20"/>
                  </a:lnTo>
                  <a:lnTo>
                    <a:pt x="f31" y="f20"/>
                  </a:lnTo>
                  <a:lnTo>
                    <a:pt x="f5" y="f32"/>
                  </a:lnTo>
                  <a:lnTo>
                    <a:pt x="f28" y="f21"/>
                  </a:lnTo>
                  <a:lnTo>
                    <a:pt x="f27" y="f33"/>
                  </a:lnTo>
                  <a:lnTo>
                    <a:pt x="f34" y="f35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5" name="Freeform 373">
              <a:extLst>
                <a:ext uri="{FF2B5EF4-FFF2-40B4-BE49-F238E27FC236}">
                  <a16:creationId xmlns:a16="http://schemas.microsoft.com/office/drawing/2014/main" id="{6346BCE0-B97D-3696-B13C-1EA31B098E71}"/>
                </a:ext>
              </a:extLst>
            </p:cNvPr>
            <p:cNvSpPr/>
            <p:nvPr/>
          </p:nvSpPr>
          <p:spPr>
            <a:xfrm>
              <a:off x="6191107" y="4783253"/>
              <a:ext cx="243422" cy="23041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4"/>
                <a:gd name="f7" fmla="val 54"/>
                <a:gd name="f8" fmla="val 132"/>
                <a:gd name="f9" fmla="val 114"/>
                <a:gd name="f10" fmla="val 30"/>
                <a:gd name="f11" fmla="val 102"/>
                <a:gd name="f12" fmla="val 6"/>
                <a:gd name="f13" fmla="val 96"/>
                <a:gd name="f14" fmla="val 84"/>
                <a:gd name="f15" fmla="val 12"/>
                <a:gd name="f16" fmla="val 66"/>
                <a:gd name="f17" fmla="val 18"/>
                <a:gd name="f18" fmla="val 90"/>
                <a:gd name="f19" fmla="val 168"/>
                <a:gd name="f20" fmla="val 36"/>
                <a:gd name="f21" fmla="val 162"/>
                <a:gd name="f22" fmla="val 138"/>
                <a:gd name="f23" fmla="val 120"/>
                <a:gd name="f24" fmla="val 150"/>
                <a:gd name="f25" fmla="val 78"/>
                <a:gd name="f26" fmla="+- 0 0 -90"/>
                <a:gd name="f27" fmla="*/ f3 1 180"/>
                <a:gd name="f28" fmla="*/ f4 1 180"/>
                <a:gd name="f29" fmla="val f5"/>
                <a:gd name="f30" fmla="val f2"/>
                <a:gd name="f31" fmla="*/ f26 f0 1"/>
                <a:gd name="f32" fmla="+- f30 0 f29"/>
                <a:gd name="f33" fmla="*/ f31 1 f2"/>
                <a:gd name="f34" fmla="*/ f32 1 180"/>
                <a:gd name="f35" fmla="*/ 2147483646 f32 1"/>
                <a:gd name="f36" fmla="*/ 0 f32 1"/>
                <a:gd name="f37" fmla="+- f33 0 f1"/>
                <a:gd name="f38" fmla="*/ f35 1 180"/>
                <a:gd name="f39" fmla="*/ f36 1 180"/>
                <a:gd name="f40" fmla="*/ 0 1 f34"/>
                <a:gd name="f41" fmla="*/ f30 1 f34"/>
                <a:gd name="f42" fmla="*/ f38 1 f34"/>
                <a:gd name="f43" fmla="*/ f39 1 f34"/>
                <a:gd name="f44" fmla="*/ f40 f27 1"/>
                <a:gd name="f45" fmla="*/ f41 f27 1"/>
                <a:gd name="f46" fmla="*/ f41 f28 1"/>
                <a:gd name="f47" fmla="*/ f40 f28 1"/>
                <a:gd name="f48" fmla="*/ f42 f27 1"/>
                <a:gd name="f49" fmla="*/ f42 f28 1"/>
                <a:gd name="f50" fmla="*/ f43 f28 1"/>
                <a:gd name="f51" fmla="*/ f43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50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51" y="f49"/>
                </a:cxn>
                <a:cxn ang="f37">
                  <a:pos x="f51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  <a:cxn ang="f37">
                  <a:pos x="f48" y="f49"/>
                </a:cxn>
              </a:cxnLst>
              <a:rect l="f44" t="f47" r="f45" b="f46"/>
              <a:pathLst>
                <a:path w="180" h="180">
                  <a:moveTo>
                    <a:pt x="f6" y="f7"/>
                  </a:moveTo>
                  <a:lnTo>
                    <a:pt x="f8" y="f7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2"/>
                  </a:lnTo>
                  <a:lnTo>
                    <a:pt x="f14" y="f15"/>
                  </a:lnTo>
                  <a:lnTo>
                    <a:pt x="f13" y="f12"/>
                  </a:lnTo>
                  <a:lnTo>
                    <a:pt x="f14" y="f5"/>
                  </a:lnTo>
                  <a:lnTo>
                    <a:pt x="f16" y="f12"/>
                  </a:lnTo>
                  <a:lnTo>
                    <a:pt x="f17" y="f17"/>
                  </a:lnTo>
                  <a:lnTo>
                    <a:pt x="f15" y="f14"/>
                  </a:lnTo>
                  <a:lnTo>
                    <a:pt x="f5" y="f18"/>
                  </a:lnTo>
                  <a:lnTo>
                    <a:pt x="f5" y="f6"/>
                  </a:lnTo>
                  <a:lnTo>
                    <a:pt x="f15" y="f19"/>
                  </a:lnTo>
                  <a:lnTo>
                    <a:pt x="f17" y="f2"/>
                  </a:lnTo>
                  <a:lnTo>
                    <a:pt x="f20" y="f2"/>
                  </a:lnTo>
                  <a:lnTo>
                    <a:pt x="f16" y="f21"/>
                  </a:lnTo>
                  <a:lnTo>
                    <a:pt x="f18" y="f21"/>
                  </a:lnTo>
                  <a:lnTo>
                    <a:pt x="f22" y="f23"/>
                  </a:lnTo>
                  <a:lnTo>
                    <a:pt x="f2" y="f18"/>
                  </a:lnTo>
                  <a:lnTo>
                    <a:pt x="f24" y="f25"/>
                  </a:lnTo>
                  <a:lnTo>
                    <a:pt x="f6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6" name="Freeform 374">
              <a:extLst>
                <a:ext uri="{FF2B5EF4-FFF2-40B4-BE49-F238E27FC236}">
                  <a16:creationId xmlns:a16="http://schemas.microsoft.com/office/drawing/2014/main" id="{C6A52DD0-E100-45A8-0CF8-861BA8BB6272}"/>
                </a:ext>
              </a:extLst>
            </p:cNvPr>
            <p:cNvSpPr/>
            <p:nvPr/>
          </p:nvSpPr>
          <p:spPr>
            <a:xfrm>
              <a:off x="6441068" y="4605768"/>
              <a:ext cx="276093" cy="4141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54"/>
                <a:gd name="f8" fmla="val 22"/>
                <a:gd name="f9" fmla="val 2"/>
                <a:gd name="f10" fmla="val 17"/>
                <a:gd name="f11" fmla="val 3"/>
                <a:gd name="f12" fmla="val 4"/>
                <a:gd name="f13" fmla="val 16"/>
                <a:gd name="f14" fmla="val 8"/>
                <a:gd name="f15" fmla="val 19"/>
                <a:gd name="f16" fmla="val 13"/>
                <a:gd name="f17" fmla="val 18"/>
                <a:gd name="f18" fmla="val 15"/>
                <a:gd name="f19" fmla="val 9"/>
                <a:gd name="f20" fmla="val 11"/>
                <a:gd name="f21" fmla="val 1"/>
                <a:gd name="f22" fmla="val 23"/>
                <a:gd name="f23" fmla="val 28"/>
                <a:gd name="f24" fmla="val 7"/>
                <a:gd name="f25" fmla="val 36"/>
                <a:gd name="f26" fmla="val 5"/>
                <a:gd name="f27" fmla="val 39"/>
                <a:gd name="f28" fmla="val 6"/>
                <a:gd name="f29" fmla="val 10"/>
                <a:gd name="f30" fmla="val 51"/>
                <a:gd name="f31" fmla="val 45"/>
                <a:gd name="f32" fmla="val 40"/>
                <a:gd name="f33" fmla="val 31"/>
                <a:gd name="f34" fmla="val 21"/>
                <a:gd name="f35" fmla="val 25"/>
                <a:gd name="f36" fmla="val 30"/>
                <a:gd name="f37" fmla="val 20"/>
                <a:gd name="f38" fmla="val 33"/>
                <a:gd name="f39" fmla="+- 0 0 -90"/>
                <a:gd name="f40" fmla="*/ f3 1 34"/>
                <a:gd name="f41" fmla="*/ f4 1 54"/>
                <a:gd name="f42" fmla="val f5"/>
                <a:gd name="f43" fmla="val f6"/>
                <a:gd name="f44" fmla="val f7"/>
                <a:gd name="f45" fmla="*/ f39 f0 1"/>
                <a:gd name="f46" fmla="+- f44 0 f42"/>
                <a:gd name="f47" fmla="+- f43 0 f42"/>
                <a:gd name="f48" fmla="*/ f45 1 f2"/>
                <a:gd name="f49" fmla="*/ f47 1 34"/>
                <a:gd name="f50" fmla="*/ f46 1 54"/>
                <a:gd name="f51" fmla="*/ 2147483646 f47 1"/>
                <a:gd name="f52" fmla="*/ 2147483646 f46 1"/>
                <a:gd name="f53" fmla="*/ 0 f47 1"/>
                <a:gd name="f54" fmla="*/ 0 f46 1"/>
                <a:gd name="f55" fmla="+- f48 0 f1"/>
                <a:gd name="f56" fmla="*/ f51 1 34"/>
                <a:gd name="f57" fmla="*/ f52 1 54"/>
                <a:gd name="f58" fmla="*/ f53 1 34"/>
                <a:gd name="f59" fmla="*/ f54 1 54"/>
                <a:gd name="f60" fmla="*/ 0 1 f49"/>
                <a:gd name="f61" fmla="*/ f43 1 f49"/>
                <a:gd name="f62" fmla="*/ 0 1 f50"/>
                <a:gd name="f63" fmla="*/ f44 1 f50"/>
                <a:gd name="f64" fmla="*/ f56 1 f49"/>
                <a:gd name="f65" fmla="*/ f57 1 f50"/>
                <a:gd name="f66" fmla="*/ f58 1 f49"/>
                <a:gd name="f67" fmla="*/ f59 1 f50"/>
                <a:gd name="f68" fmla="*/ f60 f40 1"/>
                <a:gd name="f69" fmla="*/ f61 f40 1"/>
                <a:gd name="f70" fmla="*/ f63 f41 1"/>
                <a:gd name="f71" fmla="*/ f62 f41 1"/>
                <a:gd name="f72" fmla="*/ f64 f40 1"/>
                <a:gd name="f73" fmla="*/ f65 f41 1"/>
                <a:gd name="f74" fmla="*/ f66 f40 1"/>
                <a:gd name="f75" fmla="*/ f67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4" y="f73"/>
                </a:cxn>
                <a:cxn ang="f55">
                  <a:pos x="f74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3"/>
                </a:cxn>
                <a:cxn ang="f55">
                  <a:pos x="f72" y="f75"/>
                </a:cxn>
                <a:cxn ang="f55">
                  <a:pos x="f72" y="f75"/>
                </a:cxn>
                <a:cxn ang="f55">
                  <a:pos x="f72" y="f73"/>
                </a:cxn>
                <a:cxn ang="f55">
                  <a:pos x="f72" y="f73"/>
                </a:cxn>
              </a:cxnLst>
              <a:rect l="f68" t="f71" r="f69" b="f70"/>
              <a:pathLst>
                <a:path w="34" h="54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0" y="f12"/>
                    <a:pt x="f10" y="f12"/>
                    <a:pt x="f10" y="f12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13" y="f11"/>
                    <a:pt x="f13" y="f11"/>
                    <a:pt x="f13" y="f11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5" y="f16"/>
                    <a:pt x="f15" y="f16"/>
                    <a:pt x="f15" y="f16"/>
                  </a:cubicBezTo>
                  <a:cubicBezTo>
                    <a:pt x="f15" y="f13"/>
                    <a:pt x="f15" y="f13"/>
                    <a:pt x="f15" y="f13"/>
                  </a:cubicBezTo>
                  <a:cubicBezTo>
                    <a:pt x="f13" y="f17"/>
                    <a:pt x="f13" y="f17"/>
                    <a:pt x="f13" y="f17"/>
                  </a:cubicBezTo>
                  <a:cubicBezTo>
                    <a:pt x="f18" y="f13"/>
                    <a:pt x="f18" y="f13"/>
                    <a:pt x="f18" y="f13"/>
                  </a:cubicBezTo>
                  <a:cubicBezTo>
                    <a:pt x="f16" y="f16"/>
                    <a:pt x="f16" y="f16"/>
                    <a:pt x="f16" y="f16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5" y="f18"/>
                    <a:pt x="f5" y="f18"/>
                    <a:pt x="f5" y="f18"/>
                  </a:cubicBezTo>
                  <a:cubicBezTo>
                    <a:pt x="f5" y="f13"/>
                    <a:pt x="f5" y="f13"/>
                    <a:pt x="f5" y="f13"/>
                  </a:cubicBezTo>
                  <a:cubicBezTo>
                    <a:pt x="f21" y="f13"/>
                    <a:pt x="f21" y="f13"/>
                    <a:pt x="f21" y="f13"/>
                  </a:cubicBezTo>
                  <a:cubicBezTo>
                    <a:pt x="f9" y="f18"/>
                    <a:pt x="f9" y="f18"/>
                    <a:pt x="f9" y="f18"/>
                  </a:cubicBezTo>
                  <a:cubicBezTo>
                    <a:pt x="f21" y="f13"/>
                    <a:pt x="f21" y="f13"/>
                    <a:pt x="f21" y="f13"/>
                  </a:cubicBezTo>
                  <a:cubicBezTo>
                    <a:pt x="f19" y="f15"/>
                    <a:pt x="f19" y="f15"/>
                    <a:pt x="f19" y="f15"/>
                  </a:cubicBezTo>
                  <a:cubicBezTo>
                    <a:pt x="f19" y="f22"/>
                    <a:pt x="f19" y="f22"/>
                    <a:pt x="f19" y="f22"/>
                  </a:cubicBezTo>
                  <a:cubicBezTo>
                    <a:pt x="f19" y="f23"/>
                    <a:pt x="f19" y="f23"/>
                    <a:pt x="f19" y="f23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27"/>
                    <a:pt x="f26" y="f27"/>
                    <a:pt x="f26" y="f27"/>
                  </a:cubicBezTo>
                  <a:cubicBezTo>
                    <a:pt x="f28" y="f27"/>
                    <a:pt x="f28" y="f27"/>
                    <a:pt x="f28" y="f27"/>
                  </a:cubicBezTo>
                  <a:cubicBezTo>
                    <a:pt x="f24" y="f7"/>
                    <a:pt x="f24" y="f7"/>
                    <a:pt x="f24" y="f7"/>
                  </a:cubicBezTo>
                  <a:cubicBezTo>
                    <a:pt x="f19" y="f7"/>
                    <a:pt x="f19" y="f7"/>
                    <a:pt x="f19" y="f7"/>
                  </a:cubicBezTo>
                  <a:cubicBezTo>
                    <a:pt x="f29" y="f30"/>
                    <a:pt x="f19" y="f30"/>
                    <a:pt x="f19" y="f30"/>
                  </a:cubicBezTo>
                  <a:cubicBezTo>
                    <a:pt x="f13" y="f31"/>
                    <a:pt x="f13" y="f31"/>
                    <a:pt x="f13" y="f31"/>
                  </a:cubicBezTo>
                  <a:cubicBezTo>
                    <a:pt x="f17" y="f32"/>
                    <a:pt x="f17" y="f32"/>
                    <a:pt x="f17" y="f32"/>
                  </a:cubicBezTo>
                  <a:cubicBezTo>
                    <a:pt x="f13" y="f33"/>
                    <a:pt x="f13" y="f33"/>
                    <a:pt x="f13" y="f33"/>
                  </a:cubicBezTo>
                  <a:cubicBezTo>
                    <a:pt x="f34" y="f35"/>
                    <a:pt x="f34" y="f35"/>
                    <a:pt x="f34" y="f35"/>
                  </a:cubicBezTo>
                  <a:cubicBezTo>
                    <a:pt x="f36" y="f37"/>
                    <a:pt x="f36" y="f37"/>
                    <a:pt x="f36" y="f37"/>
                  </a:cubicBezTo>
                  <a:cubicBezTo>
                    <a:pt x="f38" y="f13"/>
                    <a:pt x="f38" y="f13"/>
                    <a:pt x="f38" y="f13"/>
                  </a:cubicBezTo>
                  <a:cubicBezTo>
                    <a:pt x="f6" y="f20"/>
                    <a:pt x="f6" y="f20"/>
                    <a:pt x="f6" y="f20"/>
                  </a:cubicBezTo>
                  <a:cubicBezTo>
                    <a:pt x="f38" y="f12"/>
                    <a:pt x="f38" y="f12"/>
                    <a:pt x="f38" y="f12"/>
                  </a:cubicBezTo>
                  <a:cubicBezTo>
                    <a:pt x="f38" y="f5"/>
                    <a:pt x="f38" y="f5"/>
                    <a:pt x="f38" y="f5"/>
                  </a:cubicBezTo>
                  <a:cubicBezTo>
                    <a:pt x="f38" y="f5"/>
                    <a:pt x="f38" y="f5"/>
                    <a:pt x="f38" y="f5"/>
                  </a:cubicBezTo>
                  <a:cubicBezTo>
                    <a:pt x="f36" y="f21"/>
                    <a:pt x="f36" y="f21"/>
                    <a:pt x="f36" y="f21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7" name="Freeform 375">
              <a:extLst>
                <a:ext uri="{FF2B5EF4-FFF2-40B4-BE49-F238E27FC236}">
                  <a16:creationId xmlns:a16="http://schemas.microsoft.com/office/drawing/2014/main" id="{FC895FE7-7256-CEA9-23F3-0D62603C4850}"/>
                </a:ext>
              </a:extLst>
            </p:cNvPr>
            <p:cNvSpPr/>
            <p:nvPr/>
          </p:nvSpPr>
          <p:spPr>
            <a:xfrm>
              <a:off x="6441068" y="4369121"/>
              <a:ext cx="267928" cy="26000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3"/>
                <a:gd name="f7" fmla="val 34"/>
                <a:gd name="f8" fmla="val 25"/>
                <a:gd name="f9" fmla="val 6"/>
                <a:gd name="f10" fmla="val 14"/>
                <a:gd name="f11" fmla="val 1"/>
                <a:gd name="f12" fmla="val 13"/>
                <a:gd name="f13" fmla="val 12"/>
                <a:gd name="f14" fmla="val 2"/>
                <a:gd name="f15" fmla="val 5"/>
                <a:gd name="f16" fmla="val 8"/>
                <a:gd name="f17" fmla="val 11"/>
                <a:gd name="f18" fmla="val 19"/>
                <a:gd name="f19" fmla="val 4"/>
                <a:gd name="f20" fmla="val 24"/>
                <a:gd name="f21" fmla="val 26"/>
                <a:gd name="f22" fmla="val 9"/>
                <a:gd name="f23" fmla="val 27"/>
                <a:gd name="f24" fmla="val 15"/>
                <a:gd name="f25" fmla="val 29"/>
                <a:gd name="f26" fmla="val 17"/>
                <a:gd name="f27" fmla="val 22"/>
                <a:gd name="f28" fmla="val 30"/>
                <a:gd name="f29" fmla="val 32"/>
                <a:gd name="f30" fmla="val 31"/>
                <a:gd name="f31" fmla="val 28"/>
                <a:gd name="f32" fmla="+- 0 0 -90"/>
                <a:gd name="f33" fmla="*/ f3 1 33"/>
                <a:gd name="f34" fmla="*/ f4 1 34"/>
                <a:gd name="f35" fmla="val f5"/>
                <a:gd name="f36" fmla="val f6"/>
                <a:gd name="f37" fmla="val f7"/>
                <a:gd name="f38" fmla="*/ f32 f0 1"/>
                <a:gd name="f39" fmla="+- f37 0 f35"/>
                <a:gd name="f40" fmla="+- f36 0 f35"/>
                <a:gd name="f41" fmla="*/ f38 1 f2"/>
                <a:gd name="f42" fmla="*/ f40 1 33"/>
                <a:gd name="f43" fmla="*/ f39 1 34"/>
                <a:gd name="f44" fmla="*/ 2147483646 f40 1"/>
                <a:gd name="f45" fmla="*/ 2147483646 f39 1"/>
                <a:gd name="f46" fmla="*/ 0 f39 1"/>
                <a:gd name="f47" fmla="*/ 0 f40 1"/>
                <a:gd name="f48" fmla="+- f41 0 f1"/>
                <a:gd name="f49" fmla="*/ f44 1 33"/>
                <a:gd name="f50" fmla="*/ f45 1 34"/>
                <a:gd name="f51" fmla="*/ f46 1 34"/>
                <a:gd name="f52" fmla="*/ f47 1 33"/>
                <a:gd name="f53" fmla="*/ 0 1 f42"/>
                <a:gd name="f54" fmla="*/ f36 1 f42"/>
                <a:gd name="f55" fmla="*/ 0 1 f43"/>
                <a:gd name="f56" fmla="*/ f37 1 f43"/>
                <a:gd name="f57" fmla="*/ f49 1 f42"/>
                <a:gd name="f58" fmla="*/ f50 1 f43"/>
                <a:gd name="f59" fmla="*/ f51 1 f43"/>
                <a:gd name="f60" fmla="*/ f52 1 f42"/>
                <a:gd name="f61" fmla="*/ f53 f33 1"/>
                <a:gd name="f62" fmla="*/ f54 f33 1"/>
                <a:gd name="f63" fmla="*/ f56 f34 1"/>
                <a:gd name="f64" fmla="*/ f55 f34 1"/>
                <a:gd name="f65" fmla="*/ f57 f33 1"/>
                <a:gd name="f66" fmla="*/ f58 f34 1"/>
                <a:gd name="f67" fmla="*/ f59 f34 1"/>
                <a:gd name="f68" fmla="*/ f6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7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8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  <a:cxn ang="f48">
                  <a:pos x="f65" y="f66"/>
                </a:cxn>
              </a:cxnLst>
              <a:rect l="f61" t="f64" r="f62" b="f63"/>
              <a:pathLst>
                <a:path w="33" h="34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12" y="f5"/>
                    <a:pt x="f12" y="f5"/>
                    <a:pt x="f12" y="f5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3" y="f15"/>
                    <a:pt x="f13" y="f15"/>
                    <a:pt x="f13" y="f15"/>
                  </a:cubicBezTo>
                  <a:cubicBezTo>
                    <a:pt x="f16" y="f15"/>
                    <a:pt x="f16" y="f15"/>
                    <a:pt x="f16" y="f15"/>
                  </a:cubicBezTo>
                  <a:cubicBezTo>
                    <a:pt x="f9" y="f11"/>
                    <a:pt x="f9" y="f11"/>
                    <a:pt x="f9" y="f11"/>
                  </a:cubicBezTo>
                  <a:cubicBezTo>
                    <a:pt x="f11" y="f11"/>
                    <a:pt x="f11" y="f11"/>
                    <a:pt x="f11" y="f11"/>
                  </a:cubicBezTo>
                  <a:cubicBezTo>
                    <a:pt x="f14" y="f16"/>
                    <a:pt x="f14" y="f16"/>
                    <a:pt x="f14" y="f16"/>
                  </a:cubicBezTo>
                  <a:cubicBezTo>
                    <a:pt x="f5" y="f17"/>
                    <a:pt x="f5" y="f17"/>
                    <a:pt x="f5" y="f17"/>
                  </a:cubicBezTo>
                  <a:cubicBezTo>
                    <a:pt x="f14" y="f18"/>
                    <a:pt x="f14" y="f18"/>
                    <a:pt x="f14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9" y="f20"/>
                    <a:pt x="f16" y="f21"/>
                    <a:pt x="f22" y="f21"/>
                  </a:cubicBezTo>
                  <a:cubicBezTo>
                    <a:pt x="f22" y="f21"/>
                    <a:pt x="f10" y="f23"/>
                    <a:pt x="f10" y="f23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7"/>
                    <a:pt x="f26" y="f7"/>
                    <a:pt x="f26" y="f7"/>
                  </a:cubicBezTo>
                  <a:cubicBezTo>
                    <a:pt x="f27" y="f6"/>
                    <a:pt x="f27" y="f6"/>
                    <a:pt x="f27" y="f6"/>
                  </a:cubicBezTo>
                  <a:cubicBezTo>
                    <a:pt x="f28" y="f29"/>
                    <a:pt x="f28" y="f29"/>
                    <a:pt x="f28" y="f29"/>
                  </a:cubicBezTo>
                  <a:cubicBezTo>
                    <a:pt x="f6" y="f30"/>
                    <a:pt x="f6" y="f30"/>
                    <a:pt x="f6" y="f30"/>
                  </a:cubicBezTo>
                  <a:cubicBezTo>
                    <a:pt x="f30" y="f31"/>
                    <a:pt x="f30" y="f31"/>
                    <a:pt x="f30" y="f31"/>
                  </a:cubicBezTo>
                  <a:cubicBezTo>
                    <a:pt x="f28" y="f18"/>
                    <a:pt x="f28" y="f18"/>
                    <a:pt x="f28" y="f18"/>
                  </a:cubicBezTo>
                  <a:cubicBezTo>
                    <a:pt x="f28" y="f18"/>
                    <a:pt x="f31" y="f24"/>
                    <a:pt x="f31" y="f10"/>
                  </a:cubicBezTo>
                  <a:cubicBezTo>
                    <a:pt x="f31" y="f12"/>
                    <a:pt x="f25" y="f13"/>
                    <a:pt x="f28" y="f13"/>
                  </a:cubicBezTo>
                  <a:cubicBezTo>
                    <a:pt x="f8" y="f22"/>
                    <a:pt x="f8" y="f22"/>
                    <a:pt x="f8" y="f22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8" name="Freeform 376">
              <a:extLst>
                <a:ext uri="{FF2B5EF4-FFF2-40B4-BE49-F238E27FC236}">
                  <a16:creationId xmlns:a16="http://schemas.microsoft.com/office/drawing/2014/main" id="{85A3FF31-85FD-AA87-9E50-C9A946853137}"/>
                </a:ext>
              </a:extLst>
            </p:cNvPr>
            <p:cNvSpPr/>
            <p:nvPr/>
          </p:nvSpPr>
          <p:spPr>
            <a:xfrm>
              <a:off x="5988531" y="4490562"/>
              <a:ext cx="307128" cy="29269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8"/>
                <a:gd name="f7" fmla="val 4"/>
                <a:gd name="f8" fmla="val 37"/>
                <a:gd name="f9" fmla="val 18"/>
                <a:gd name="f10" fmla="val 20"/>
                <a:gd name="f11" fmla="val 28"/>
                <a:gd name="f12" fmla="val 34"/>
                <a:gd name="f13" fmla="val 32"/>
                <a:gd name="f14" fmla="val 33"/>
                <a:gd name="f15" fmla="val 22"/>
                <a:gd name="f16" fmla="val 21"/>
                <a:gd name="f17" fmla="val 17"/>
                <a:gd name="f18" fmla="val 16"/>
                <a:gd name="f19" fmla="val 30"/>
                <a:gd name="f20" fmla="val 25"/>
                <a:gd name="f21" fmla="val 24"/>
                <a:gd name="f22" fmla="val 6"/>
                <a:gd name="f23" fmla="val 7"/>
                <a:gd name="f24" fmla="val 19"/>
                <a:gd name="f25" fmla="val 13"/>
                <a:gd name="f26" fmla="val 12"/>
                <a:gd name="f27" fmla="val 11"/>
                <a:gd name="f28" fmla="val 1"/>
                <a:gd name="f29" fmla="val 2"/>
                <a:gd name="f30" fmla="val 3"/>
                <a:gd name="f31" fmla="val 15"/>
                <a:gd name="f32" fmla="val 36"/>
                <a:gd name="f33" fmla="val 35"/>
                <a:gd name="f34" fmla="+- 0 0 -90"/>
                <a:gd name="f35" fmla="*/ f3 1 38"/>
                <a:gd name="f36" fmla="*/ f4 1 38"/>
                <a:gd name="f37" fmla="val f5"/>
                <a:gd name="f38" fmla="val f6"/>
                <a:gd name="f39" fmla="*/ f34 f0 1"/>
                <a:gd name="f40" fmla="+- f38 0 f37"/>
                <a:gd name="f41" fmla="*/ f39 1 f2"/>
                <a:gd name="f42" fmla="*/ f40 1 38"/>
                <a:gd name="f43" fmla="*/ 2147483646 f40 1"/>
                <a:gd name="f44" fmla="*/ 0 f40 1"/>
                <a:gd name="f45" fmla="+- f41 0 f1"/>
                <a:gd name="f46" fmla="*/ f43 1 38"/>
                <a:gd name="f47" fmla="*/ f44 1 38"/>
                <a:gd name="f48" fmla="*/ 0 1 f42"/>
                <a:gd name="f49" fmla="*/ f38 1 f42"/>
                <a:gd name="f50" fmla="*/ f46 1 f42"/>
                <a:gd name="f51" fmla="*/ f47 1 f42"/>
                <a:gd name="f52" fmla="*/ f48 f35 1"/>
                <a:gd name="f53" fmla="*/ f49 f35 1"/>
                <a:gd name="f54" fmla="*/ f49 f36 1"/>
                <a:gd name="f55" fmla="*/ f48 f36 1"/>
                <a:gd name="f56" fmla="*/ f50 f35 1"/>
                <a:gd name="f57" fmla="*/ f50 f36 1"/>
                <a:gd name="f58" fmla="*/ f51 f36 1"/>
                <a:gd name="f59" fmla="*/ f51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8"/>
                </a:cxn>
                <a:cxn ang="f45">
                  <a:pos x="f56" y="f58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6" y="f57"/>
                </a:cxn>
                <a:cxn ang="f45">
                  <a:pos x="f59" y="f57"/>
                </a:cxn>
                <a:cxn ang="f45">
                  <a:pos x="f59" y="f57"/>
                </a:cxn>
                <a:cxn ang="f45">
                  <a:pos x="f56" y="f57"/>
                </a:cxn>
                <a:cxn ang="f45">
                  <a:pos x="f56" y="f57"/>
                </a:cxn>
              </a:cxnLst>
              <a:rect l="f52" t="f55" r="f53" b="f54"/>
              <a:pathLst>
                <a:path w="38" h="38">
                  <a:moveTo>
                    <a:pt x="f7" y="f8"/>
                  </a:moveTo>
                  <a:cubicBezTo>
                    <a:pt x="f9" y="f8"/>
                    <a:pt x="f9" y="f8"/>
                    <a:pt x="f9" y="f8"/>
                  </a:cubicBezTo>
                  <a:cubicBezTo>
                    <a:pt x="f10" y="f6"/>
                    <a:pt x="f10" y="f6"/>
                    <a:pt x="f10" y="f6"/>
                  </a:cubicBezTo>
                  <a:cubicBezTo>
                    <a:pt x="f11" y="f6"/>
                    <a:pt x="f11" y="f6"/>
                    <a:pt x="f11" y="f6"/>
                  </a:cubicBezTo>
                  <a:cubicBezTo>
                    <a:pt x="f12" y="f8"/>
                    <a:pt x="f12" y="f8"/>
                    <a:pt x="f12" y="f8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3" y="f15"/>
                    <a:pt x="f13" y="f15"/>
                    <a:pt x="f13" y="f15"/>
                  </a:cubicBezTo>
                  <a:cubicBezTo>
                    <a:pt x="f6" y="f16"/>
                    <a:pt x="f6" y="f16"/>
                    <a:pt x="f6" y="f16"/>
                  </a:cubicBezTo>
                  <a:cubicBezTo>
                    <a:pt x="f6" y="f17"/>
                    <a:pt x="f6" y="f17"/>
                    <a:pt x="f6" y="f17"/>
                  </a:cubicBezTo>
                  <a:cubicBezTo>
                    <a:pt x="f8" y="f17"/>
                    <a:pt x="f8" y="f17"/>
                    <a:pt x="f8" y="f17"/>
                  </a:cubicBezTo>
                  <a:cubicBezTo>
                    <a:pt x="f6" y="f17"/>
                    <a:pt x="f6" y="f17"/>
                    <a:pt x="f6" y="f17"/>
                  </a:cubicBezTo>
                  <a:cubicBezTo>
                    <a:pt x="f13" y="f18"/>
                    <a:pt x="f13" y="f18"/>
                    <a:pt x="f13" y="f18"/>
                  </a:cubicBezTo>
                  <a:cubicBezTo>
                    <a:pt x="f19" y="f7"/>
                    <a:pt x="f19" y="f7"/>
                    <a:pt x="f19" y="f7"/>
                  </a:cubicBezTo>
                  <a:cubicBezTo>
                    <a:pt x="f19" y="f7"/>
                    <a:pt x="f20" y="f7"/>
                    <a:pt x="f21" y="f7"/>
                  </a:cubicBezTo>
                  <a:cubicBezTo>
                    <a:pt x="f21" y="f7"/>
                    <a:pt x="f15" y="f22"/>
                    <a:pt x="f16" y="f22"/>
                  </a:cubicBezTo>
                  <a:cubicBezTo>
                    <a:pt x="f10" y="f23"/>
                    <a:pt x="f24" y="f22"/>
                    <a:pt x="f9" y="f22"/>
                  </a:cubicBezTo>
                  <a:cubicBezTo>
                    <a:pt x="f17" y="f22"/>
                    <a:pt x="f25" y="f5"/>
                    <a:pt x="f26" y="f5"/>
                  </a:cubicBezTo>
                  <a:cubicBezTo>
                    <a:pt x="f27" y="f5"/>
                    <a:pt x="f7" y="f5"/>
                    <a:pt x="f7" y="f5"/>
                  </a:cubicBezTo>
                  <a:cubicBezTo>
                    <a:pt x="f28" y="f29"/>
                    <a:pt x="f28" y="f29"/>
                    <a:pt x="f28" y="f29"/>
                  </a:cubicBezTo>
                  <a:cubicBezTo>
                    <a:pt x="f30" y="f31"/>
                    <a:pt x="f30" y="f31"/>
                    <a:pt x="f30" y="f31"/>
                  </a:cubicBezTo>
                  <a:cubicBezTo>
                    <a:pt x="f7" y="f16"/>
                    <a:pt x="f7" y="f16"/>
                    <a:pt x="f7" y="f16"/>
                  </a:cubicBezTo>
                  <a:cubicBezTo>
                    <a:pt x="f5" y="f11"/>
                    <a:pt x="f5" y="f11"/>
                    <a:pt x="f5" y="f11"/>
                  </a:cubicBezTo>
                  <a:cubicBezTo>
                    <a:pt x="f5" y="f32"/>
                    <a:pt x="f5" y="f32"/>
                    <a:pt x="f5" y="f32"/>
                  </a:cubicBezTo>
                  <a:cubicBezTo>
                    <a:pt x="f29" y="f33"/>
                    <a:pt x="f29" y="f33"/>
                    <a:pt x="f29" y="f33"/>
                  </a:cubicBez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9" name="Freeform 377">
              <a:extLst>
                <a:ext uri="{FF2B5EF4-FFF2-40B4-BE49-F238E27FC236}">
                  <a16:creationId xmlns:a16="http://schemas.microsoft.com/office/drawing/2014/main" id="{0BC20BCC-6A46-AA5F-4A41-6F85DB6A1B38}"/>
                </a:ext>
              </a:extLst>
            </p:cNvPr>
            <p:cNvSpPr/>
            <p:nvPr/>
          </p:nvSpPr>
          <p:spPr>
            <a:xfrm>
              <a:off x="5988531" y="4214990"/>
              <a:ext cx="477042" cy="45149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9"/>
                <a:gd name="f7" fmla="val 21"/>
                <a:gd name="f8" fmla="val 6"/>
                <a:gd name="f9" fmla="val 18"/>
                <a:gd name="f10" fmla="val 15"/>
                <a:gd name="f11" fmla="val 11"/>
                <a:gd name="f12" fmla="val 29"/>
                <a:gd name="f13" fmla="val 7"/>
                <a:gd name="f14" fmla="val 32"/>
                <a:gd name="f15" fmla="val 3"/>
                <a:gd name="f16" fmla="val 35"/>
                <a:gd name="f17" fmla="val 1"/>
                <a:gd name="f18" fmla="val 38"/>
                <a:gd name="f19" fmla="val 4"/>
                <a:gd name="f20" fmla="val 36"/>
                <a:gd name="f21" fmla="val 12"/>
                <a:gd name="f22" fmla="val 13"/>
                <a:gd name="f23" fmla="val 17"/>
                <a:gd name="f24" fmla="val 42"/>
                <a:gd name="f25" fmla="val 19"/>
                <a:gd name="f26" fmla="val 20"/>
                <a:gd name="f27" fmla="val 43"/>
                <a:gd name="f28" fmla="val 22"/>
                <a:gd name="f29" fmla="val 24"/>
                <a:gd name="f30" fmla="val 40"/>
                <a:gd name="f31" fmla="val 25"/>
                <a:gd name="f32" fmla="val 30"/>
                <a:gd name="f33" fmla="val 52"/>
                <a:gd name="f34" fmla="val 53"/>
                <a:gd name="f35" fmla="val 49"/>
                <a:gd name="f36" fmla="val 56"/>
                <a:gd name="f37" fmla="val 55"/>
                <a:gd name="f38" fmla="val 57"/>
                <a:gd name="f39" fmla="val 50"/>
                <a:gd name="f40" fmla="val 54"/>
                <a:gd name="f41" fmla="val 44"/>
                <a:gd name="f42" fmla="val 37"/>
                <a:gd name="f43" fmla="val 31"/>
                <a:gd name="f44" fmla="val 10"/>
                <a:gd name="f45" fmla="val 5"/>
                <a:gd name="f46" fmla="val 51"/>
                <a:gd name="f47" fmla="val 41"/>
                <a:gd name="f48" fmla="val 27"/>
                <a:gd name="f49" fmla="val 2"/>
                <a:gd name="f50" fmla="+- 0 0 -90"/>
                <a:gd name="f51" fmla="*/ f3 1 59"/>
                <a:gd name="f52" fmla="*/ f4 1 59"/>
                <a:gd name="f53" fmla="val f5"/>
                <a:gd name="f54" fmla="val f6"/>
                <a:gd name="f55" fmla="*/ f50 f0 1"/>
                <a:gd name="f56" fmla="+- f54 0 f53"/>
                <a:gd name="f57" fmla="*/ f55 1 f2"/>
                <a:gd name="f58" fmla="*/ f56 1 59"/>
                <a:gd name="f59" fmla="*/ 2147483646 f56 1"/>
                <a:gd name="f60" fmla="*/ 0 f56 1"/>
                <a:gd name="f61" fmla="+- f57 0 f1"/>
                <a:gd name="f62" fmla="*/ f59 1 59"/>
                <a:gd name="f63" fmla="*/ f60 1 59"/>
                <a:gd name="f64" fmla="*/ 0 1 f58"/>
                <a:gd name="f65" fmla="*/ f54 1 f58"/>
                <a:gd name="f66" fmla="*/ f62 1 f58"/>
                <a:gd name="f67" fmla="*/ f63 1 f58"/>
                <a:gd name="f68" fmla="*/ f64 f51 1"/>
                <a:gd name="f69" fmla="*/ f65 f51 1"/>
                <a:gd name="f70" fmla="*/ f65 f52 1"/>
                <a:gd name="f71" fmla="*/ f64 f52 1"/>
                <a:gd name="f72" fmla="*/ f66 f51 1"/>
                <a:gd name="f73" fmla="*/ f66 f52 1"/>
                <a:gd name="f74" fmla="*/ f67 f51 1"/>
                <a:gd name="f75" fmla="*/ f67 f5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4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5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  <a:cxn ang="f61">
                  <a:pos x="f72" y="f73"/>
                </a:cxn>
              </a:cxnLst>
              <a:rect l="f68" t="f71" r="f69" b="f70"/>
              <a:pathLst>
                <a:path w="59" h="59">
                  <a:moveTo>
                    <a:pt x="f7" y="f8"/>
                  </a:moveTo>
                  <a:cubicBezTo>
                    <a:pt x="f9" y="f9"/>
                    <a:pt x="f9" y="f9"/>
                    <a:pt x="f9" y="f9"/>
                  </a:cubicBezTo>
                  <a:cubicBezTo>
                    <a:pt x="f10" y="f7"/>
                    <a:pt x="f10" y="f7"/>
                    <a:pt x="f10" y="f7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5" y="f14"/>
                    <a:pt x="f15" y="f14"/>
                    <a:pt x="f15" y="f14"/>
                  </a:cubicBezTo>
                  <a:cubicBezTo>
                    <a:pt x="f5" y="f16"/>
                    <a:pt x="f5" y="f16"/>
                    <a:pt x="f5" y="f16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9" y="f20"/>
                    <a:pt x="f11" y="f20"/>
                    <a:pt x="f21" y="f20"/>
                  </a:cubicBezTo>
                  <a:cubicBezTo>
                    <a:pt x="f22" y="f20"/>
                    <a:pt x="f23" y="f24"/>
                    <a:pt x="f9" y="f24"/>
                  </a:cubicBezTo>
                  <a:cubicBezTo>
                    <a:pt x="f25" y="f24"/>
                    <a:pt x="f26" y="f27"/>
                    <a:pt x="f7" y="f24"/>
                  </a:cubicBezTo>
                  <a:cubicBezTo>
                    <a:pt x="f28" y="f24"/>
                    <a:pt x="f29" y="f30"/>
                    <a:pt x="f29" y="f30"/>
                  </a:cubicBezTo>
                  <a:cubicBezTo>
                    <a:pt x="f31" y="f30"/>
                    <a:pt x="f32" y="f30"/>
                    <a:pt x="f32" y="f30"/>
                  </a:cubicBezTo>
                  <a:cubicBezTo>
                    <a:pt x="f14" y="f33"/>
                    <a:pt x="f14" y="f33"/>
                    <a:pt x="f14" y="f33"/>
                  </a:cubicBezTo>
                  <a:cubicBezTo>
                    <a:pt x="f18" y="f34"/>
                    <a:pt x="f18" y="f34"/>
                    <a:pt x="f18" y="f34"/>
                  </a:cubicBezTo>
                  <a:cubicBezTo>
                    <a:pt x="f27" y="f34"/>
                    <a:pt x="f27" y="f34"/>
                    <a:pt x="f27" y="f34"/>
                  </a:cubicBezTo>
                  <a:cubicBezTo>
                    <a:pt x="f35" y="f36"/>
                    <a:pt x="f35" y="f36"/>
                    <a:pt x="f35" y="f36"/>
                  </a:cubicBezTo>
                  <a:cubicBezTo>
                    <a:pt x="f37" y="f6"/>
                    <a:pt x="f37" y="f6"/>
                    <a:pt x="f37" y="f6"/>
                  </a:cubicBezTo>
                  <a:cubicBezTo>
                    <a:pt x="f37" y="f38"/>
                    <a:pt x="f37" y="f38"/>
                    <a:pt x="f37" y="f38"/>
                  </a:cubicBezTo>
                  <a:cubicBezTo>
                    <a:pt x="f33" y="f34"/>
                    <a:pt x="f33" y="f34"/>
                    <a:pt x="f33" y="f34"/>
                  </a:cubicBezTo>
                  <a:cubicBezTo>
                    <a:pt x="f34" y="f39"/>
                    <a:pt x="f34" y="f39"/>
                    <a:pt x="f34" y="f39"/>
                  </a:cubicBezTo>
                  <a:cubicBezTo>
                    <a:pt x="f40" y="f41"/>
                    <a:pt x="f40" y="f41"/>
                    <a:pt x="f40" y="f41"/>
                  </a:cubicBezTo>
                  <a:cubicBezTo>
                    <a:pt x="f38" y="f27"/>
                    <a:pt x="f38" y="f27"/>
                    <a:pt x="f38" y="f27"/>
                  </a:cubicBezTo>
                  <a:cubicBezTo>
                    <a:pt x="f37" y="f42"/>
                    <a:pt x="f37" y="f42"/>
                    <a:pt x="f37" y="f42"/>
                  </a:cubicBezTo>
                  <a:cubicBezTo>
                    <a:pt x="f40" y="f43"/>
                    <a:pt x="f40" y="f43"/>
                    <a:pt x="f40" y="f43"/>
                  </a:cubicBezTo>
                  <a:cubicBezTo>
                    <a:pt x="f34" y="f31"/>
                    <a:pt x="f34" y="f31"/>
                    <a:pt x="f34" y="f31"/>
                  </a:cubicBezTo>
                  <a:cubicBezTo>
                    <a:pt x="f37" y="f9"/>
                    <a:pt x="f37" y="f9"/>
                    <a:pt x="f37" y="f9"/>
                  </a:cubicBezTo>
                  <a:cubicBezTo>
                    <a:pt x="f6" y="f11"/>
                    <a:pt x="f6" y="f11"/>
                    <a:pt x="f6" y="f11"/>
                  </a:cubicBezTo>
                  <a:cubicBezTo>
                    <a:pt x="f6" y="f44"/>
                    <a:pt x="f6" y="f44"/>
                    <a:pt x="f6" y="f44"/>
                  </a:cubicBezTo>
                  <a:cubicBezTo>
                    <a:pt x="f6" y="f45"/>
                    <a:pt x="f6" y="f45"/>
                    <a:pt x="f6" y="f45"/>
                  </a:cubicBezTo>
                  <a:cubicBezTo>
                    <a:pt x="f36" y="f15"/>
                    <a:pt x="f36" y="f15"/>
                    <a:pt x="f36" y="f15"/>
                  </a:cubicBezTo>
                  <a:cubicBezTo>
                    <a:pt x="f46" y="f15"/>
                    <a:pt x="f46" y="f15"/>
                    <a:pt x="f46" y="f15"/>
                  </a:cubicBezTo>
                  <a:cubicBezTo>
                    <a:pt x="f35" y="f5"/>
                    <a:pt x="f35" y="f5"/>
                    <a:pt x="f35" y="f5"/>
                  </a:cubicBezTo>
                  <a:cubicBezTo>
                    <a:pt x="f47" y="f17"/>
                    <a:pt x="f47" y="f17"/>
                    <a:pt x="f47" y="f17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48" y="f17"/>
                    <a:pt x="f48" y="f17"/>
                    <a:pt x="f48" y="f17"/>
                  </a:cubicBezTo>
                  <a:cubicBezTo>
                    <a:pt x="f7" y="f49"/>
                    <a:pt x="f7" y="f49"/>
                    <a:pt x="f7" y="f49"/>
                  </a:cubicBezTo>
                  <a:cubicBezTo>
                    <a:pt x="f7" y="f8"/>
                    <a:pt x="f7" y="f8"/>
                    <a:pt x="f7" y="f8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0" name="Freeform 378">
              <a:extLst>
                <a:ext uri="{FF2B5EF4-FFF2-40B4-BE49-F238E27FC236}">
                  <a16:creationId xmlns:a16="http://schemas.microsoft.com/office/drawing/2014/main" id="{501876C5-DD4C-F4F6-8307-A60B2A34D52C}"/>
                </a:ext>
              </a:extLst>
            </p:cNvPr>
            <p:cNvSpPr/>
            <p:nvPr/>
          </p:nvSpPr>
          <p:spPr>
            <a:xfrm>
              <a:off x="6521114" y="3908291"/>
              <a:ext cx="380646" cy="34717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7"/>
                <a:gd name="f7" fmla="val 45"/>
                <a:gd name="f8" fmla="val 22"/>
                <a:gd name="f9" fmla="val 23"/>
                <a:gd name="f10" fmla="val 24"/>
                <a:gd name="f11" fmla="val 44"/>
                <a:gd name="f12" fmla="val 27"/>
                <a:gd name="f13" fmla="val 29"/>
                <a:gd name="f14" fmla="val 32"/>
                <a:gd name="f15" fmla="val 43"/>
                <a:gd name="f16" fmla="val 39"/>
                <a:gd name="f17" fmla="val 41"/>
                <a:gd name="f18" fmla="val 40"/>
                <a:gd name="f19" fmla="val 31"/>
                <a:gd name="f20" fmla="val 33"/>
                <a:gd name="f21" fmla="val 34"/>
                <a:gd name="f22" fmla="val 20"/>
                <a:gd name="f23" fmla="val 25"/>
                <a:gd name="f24" fmla="val 8"/>
                <a:gd name="f25" fmla="val 6"/>
                <a:gd name="f26" fmla="val 17"/>
                <a:gd name="f27" fmla="val 15"/>
                <a:gd name="f28" fmla="val 1"/>
                <a:gd name="f29" fmla="val 12"/>
                <a:gd name="f30" fmla="val 3"/>
                <a:gd name="f31" fmla="val 11"/>
                <a:gd name="f32" fmla="val 14"/>
                <a:gd name="f33" fmla="val 4"/>
                <a:gd name="f34" fmla="val 30"/>
                <a:gd name="f35" fmla="val 36"/>
                <a:gd name="f36" fmla="val 7"/>
                <a:gd name="f37" fmla="val 9"/>
                <a:gd name="f38" fmla="val 42"/>
                <a:gd name="f39" fmla="val 21"/>
                <a:gd name="f40" fmla="+- 0 0 -90"/>
                <a:gd name="f41" fmla="*/ f3 1 47"/>
                <a:gd name="f42" fmla="*/ f4 1 45"/>
                <a:gd name="f43" fmla="val f5"/>
                <a:gd name="f44" fmla="val f6"/>
                <a:gd name="f45" fmla="val f7"/>
                <a:gd name="f46" fmla="*/ f40 f0 1"/>
                <a:gd name="f47" fmla="+- f45 0 f43"/>
                <a:gd name="f48" fmla="+- f44 0 f43"/>
                <a:gd name="f49" fmla="*/ f46 1 f2"/>
                <a:gd name="f50" fmla="*/ f48 1 47"/>
                <a:gd name="f51" fmla="*/ f47 1 45"/>
                <a:gd name="f52" fmla="*/ 2147483646 f48 1"/>
                <a:gd name="f53" fmla="*/ 2147483646 f47 1"/>
                <a:gd name="f54" fmla="*/ 0 f47 1"/>
                <a:gd name="f55" fmla="*/ 0 f48 1"/>
                <a:gd name="f56" fmla="+- f49 0 f1"/>
                <a:gd name="f57" fmla="*/ f52 1 47"/>
                <a:gd name="f58" fmla="*/ f53 1 45"/>
                <a:gd name="f59" fmla="*/ f54 1 45"/>
                <a:gd name="f60" fmla="*/ f55 1 47"/>
                <a:gd name="f61" fmla="*/ 0 1 f50"/>
                <a:gd name="f62" fmla="*/ f44 1 f50"/>
                <a:gd name="f63" fmla="*/ 0 1 f51"/>
                <a:gd name="f64" fmla="*/ f45 1 f51"/>
                <a:gd name="f65" fmla="*/ f57 1 f50"/>
                <a:gd name="f66" fmla="*/ f58 1 f51"/>
                <a:gd name="f67" fmla="*/ f59 1 f51"/>
                <a:gd name="f68" fmla="*/ f60 1 f50"/>
                <a:gd name="f69" fmla="*/ f61 f41 1"/>
                <a:gd name="f70" fmla="*/ f62 f41 1"/>
                <a:gd name="f71" fmla="*/ f64 f42 1"/>
                <a:gd name="f72" fmla="*/ f63 f42 1"/>
                <a:gd name="f73" fmla="*/ f65 f41 1"/>
                <a:gd name="f74" fmla="*/ f66 f42 1"/>
                <a:gd name="f75" fmla="*/ f67 f42 1"/>
                <a:gd name="f76" fmla="*/ f6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5"/>
                </a:cxn>
                <a:cxn ang="f56">
                  <a:pos x="f73" y="f75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6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</a:cxnLst>
              <a:rect l="f69" t="f72" r="f70" b="f71"/>
              <a:pathLst>
                <a:path w="47" h="45">
                  <a:moveTo>
                    <a:pt x="f8" y="f7"/>
                  </a:moveTo>
                  <a:cubicBezTo>
                    <a:pt x="f9" y="f7"/>
                    <a:pt x="f10" y="f11"/>
                    <a:pt x="f10" y="f11"/>
                  </a:cubicBezTo>
                  <a:cubicBezTo>
                    <a:pt x="f12" y="f7"/>
                    <a:pt x="f12" y="f7"/>
                    <a:pt x="f12" y="f7"/>
                  </a:cubicBezTo>
                  <a:cubicBezTo>
                    <a:pt x="f13" y="f7"/>
                    <a:pt x="f13" y="f7"/>
                    <a:pt x="f13" y="f7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6" y="f17"/>
                    <a:pt x="f16" y="f17"/>
                  </a:cubicBezTo>
                  <a:cubicBezTo>
                    <a:pt x="f6" y="f14"/>
                    <a:pt x="f6" y="f14"/>
                    <a:pt x="f6" y="f14"/>
                  </a:cubicBezTo>
                  <a:cubicBezTo>
                    <a:pt x="f18" y="f19"/>
                    <a:pt x="f18" y="f19"/>
                    <a:pt x="f18" y="f19"/>
                  </a:cubicBezTo>
                  <a:cubicBezTo>
                    <a:pt x="f20" y="f12"/>
                    <a:pt x="f20" y="f12"/>
                    <a:pt x="f20" y="f12"/>
                  </a:cubicBezTo>
                  <a:cubicBezTo>
                    <a:pt x="f19" y="f10"/>
                    <a:pt x="f19" y="f10"/>
                    <a:pt x="f19" y="f10"/>
                  </a:cubicBezTo>
                  <a:cubicBezTo>
                    <a:pt x="f21" y="f8"/>
                    <a:pt x="f21" y="f8"/>
                    <a:pt x="f21" y="f8"/>
                  </a:cubicBezTo>
                  <a:cubicBezTo>
                    <a:pt x="f20" y="f22"/>
                    <a:pt x="f20" y="f22"/>
                    <a:pt x="f20" y="f2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2" y="f25"/>
                    <a:pt x="f22" y="f25"/>
                    <a:pt x="f22" y="f25"/>
                  </a:cubicBezTo>
                  <a:cubicBezTo>
                    <a:pt x="f26" y="f5"/>
                    <a:pt x="f26" y="f5"/>
                    <a:pt x="f26" y="f5"/>
                  </a:cubicBezTo>
                  <a:cubicBezTo>
                    <a:pt x="f26" y="f5"/>
                    <a:pt x="f26" y="f5"/>
                    <a:pt x="f26" y="f5"/>
                  </a:cubicBezTo>
                  <a:cubicBezTo>
                    <a:pt x="f27" y="f28"/>
                    <a:pt x="f27" y="f28"/>
                    <a:pt x="f27" y="f2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24" y="f22"/>
                    <a:pt x="f24" y="f22"/>
                    <a:pt x="f24" y="f22"/>
                  </a:cubicBezTo>
                  <a:cubicBezTo>
                    <a:pt x="f33" y="f10"/>
                    <a:pt x="f33" y="f10"/>
                    <a:pt x="f33" y="f10"/>
                  </a:cubicBezTo>
                  <a:cubicBezTo>
                    <a:pt x="f30" y="f34"/>
                    <a:pt x="f30" y="f34"/>
                    <a:pt x="f30" y="f34"/>
                  </a:cubicBezTo>
                  <a:cubicBezTo>
                    <a:pt x="f28" y="f34"/>
                    <a:pt x="f28" y="f34"/>
                    <a:pt x="f28" y="f34"/>
                  </a:cubicBezTo>
                  <a:cubicBezTo>
                    <a:pt x="f5" y="f20"/>
                    <a:pt x="f5" y="f20"/>
                    <a:pt x="f5" y="f20"/>
                  </a:cubicBezTo>
                  <a:cubicBezTo>
                    <a:pt x="f33" y="f35"/>
                    <a:pt x="f33" y="f35"/>
                    <a:pt x="f33" y="f35"/>
                  </a:cubicBezTo>
                  <a:cubicBezTo>
                    <a:pt x="f36" y="f16"/>
                    <a:pt x="f36" y="f16"/>
                    <a:pt x="f36" y="f16"/>
                  </a:cubicBezTo>
                  <a:cubicBezTo>
                    <a:pt x="f37" y="f17"/>
                    <a:pt x="f37" y="f17"/>
                    <a:pt x="f37" y="f17"/>
                  </a:cubicBezTo>
                  <a:cubicBezTo>
                    <a:pt x="f37" y="f38"/>
                    <a:pt x="f37" y="f38"/>
                    <a:pt x="f37" y="f38"/>
                  </a:cubicBezTo>
                  <a:cubicBezTo>
                    <a:pt x="f29" y="f15"/>
                    <a:pt x="f29" y="f15"/>
                    <a:pt x="f29" y="f15"/>
                  </a:cubicBezTo>
                  <a:cubicBezTo>
                    <a:pt x="f29" y="f15"/>
                    <a:pt x="f39" y="f7"/>
                    <a:pt x="f8" y="f7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1" name="Freeform 379">
              <a:extLst>
                <a:ext uri="{FF2B5EF4-FFF2-40B4-BE49-F238E27FC236}">
                  <a16:creationId xmlns:a16="http://schemas.microsoft.com/office/drawing/2014/main" id="{0F474185-3347-370B-0185-8DF00ADC4B8F}"/>
                </a:ext>
              </a:extLst>
            </p:cNvPr>
            <p:cNvSpPr/>
            <p:nvPr/>
          </p:nvSpPr>
          <p:spPr>
            <a:xfrm>
              <a:off x="6545620" y="4230562"/>
              <a:ext cx="210750" cy="23041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"/>
                <a:gd name="f7" fmla="val 30"/>
                <a:gd name="f8" fmla="val 23"/>
                <a:gd name="f9" fmla="val 7"/>
                <a:gd name="f10" fmla="val 4"/>
                <a:gd name="f11" fmla="val 3"/>
                <a:gd name="f12" fmla="val 24"/>
                <a:gd name="f13" fmla="val 21"/>
                <a:gd name="f14" fmla="val 2"/>
                <a:gd name="f15" fmla="val 20"/>
                <a:gd name="f16" fmla="val 19"/>
                <a:gd name="f17" fmla="val 18"/>
                <a:gd name="f18" fmla="val 9"/>
                <a:gd name="f19" fmla="val 1"/>
                <a:gd name="f20" fmla="val 6"/>
                <a:gd name="f21" fmla="val 5"/>
                <a:gd name="f22" fmla="val 13"/>
                <a:gd name="f23" fmla="val 12"/>
                <a:gd name="f24" fmla="val 27"/>
                <a:gd name="f25" fmla="val 17"/>
                <a:gd name="f26" fmla="val 29"/>
                <a:gd name="f27" fmla="val 22"/>
                <a:gd name="f28" fmla="val 25"/>
                <a:gd name="f29" fmla="+- 0 0 -90"/>
                <a:gd name="f30" fmla="*/ f3 1 26"/>
                <a:gd name="f31" fmla="*/ f4 1 30"/>
                <a:gd name="f32" fmla="val f5"/>
                <a:gd name="f33" fmla="val f6"/>
                <a:gd name="f34" fmla="val f7"/>
                <a:gd name="f35" fmla="*/ f29 f0 1"/>
                <a:gd name="f36" fmla="+- f34 0 f32"/>
                <a:gd name="f37" fmla="+- f33 0 f32"/>
                <a:gd name="f38" fmla="*/ f35 1 f2"/>
                <a:gd name="f39" fmla="*/ f37 1 26"/>
                <a:gd name="f40" fmla="*/ f36 1 30"/>
                <a:gd name="f41" fmla="*/ 2147483646 f37 1"/>
                <a:gd name="f42" fmla="*/ 2147483646 f36 1"/>
                <a:gd name="f43" fmla="*/ 0 f36 1"/>
                <a:gd name="f44" fmla="*/ 0 f37 1"/>
                <a:gd name="f45" fmla="+- f38 0 f1"/>
                <a:gd name="f46" fmla="*/ f41 1 26"/>
                <a:gd name="f47" fmla="*/ f42 1 30"/>
                <a:gd name="f48" fmla="*/ f43 1 30"/>
                <a:gd name="f49" fmla="*/ f44 1 26"/>
                <a:gd name="f50" fmla="*/ 0 1 f39"/>
                <a:gd name="f51" fmla="*/ f33 1 f39"/>
                <a:gd name="f52" fmla="*/ 0 1 f40"/>
                <a:gd name="f53" fmla="*/ f34 1 f40"/>
                <a:gd name="f54" fmla="*/ f46 1 f39"/>
                <a:gd name="f55" fmla="*/ f47 1 f40"/>
                <a:gd name="f56" fmla="*/ f48 1 f40"/>
                <a:gd name="f57" fmla="*/ f49 1 f39"/>
                <a:gd name="f58" fmla="*/ f50 f30 1"/>
                <a:gd name="f59" fmla="*/ f51 f30 1"/>
                <a:gd name="f60" fmla="*/ f53 f31 1"/>
                <a:gd name="f61" fmla="*/ f52 f31 1"/>
                <a:gd name="f62" fmla="*/ f54 f30 1"/>
                <a:gd name="f63" fmla="*/ f55 f31 1"/>
                <a:gd name="f64" fmla="*/ f56 f31 1"/>
                <a:gd name="f65" fmla="*/ f57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4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5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5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  <a:cxn ang="f45">
                  <a:pos x="f62" y="f63"/>
                </a:cxn>
              </a:cxnLst>
              <a:rect l="f58" t="f61" r="f59" b="f60"/>
              <a:pathLst>
                <a:path w="26" h="30">
                  <a:moveTo>
                    <a:pt x="f8" y="f9"/>
                  </a:moveTo>
                  <a:cubicBezTo>
                    <a:pt x="f6" y="f10"/>
                    <a:pt x="f6" y="f10"/>
                    <a:pt x="f6" y="f10"/>
                  </a:cubicBezTo>
                  <a:cubicBezTo>
                    <a:pt x="f6" y="f11"/>
                    <a:pt x="f6" y="f11"/>
                    <a:pt x="f6" y="f11"/>
                  </a:cubicBezTo>
                  <a:cubicBezTo>
                    <a:pt x="f12" y="f11"/>
                    <a:pt x="f12" y="f11"/>
                    <a:pt x="f12" y="f11"/>
                  </a:cubicBezTo>
                  <a:cubicBezTo>
                    <a:pt x="f13" y="f14"/>
                    <a:pt x="f13" y="f14"/>
                    <a:pt x="f13" y="f14"/>
                  </a:cubicBezTo>
                  <a:cubicBezTo>
                    <a:pt x="f13" y="f14"/>
                    <a:pt x="f15" y="f11"/>
                    <a:pt x="f16" y="f11"/>
                  </a:cubicBezTo>
                  <a:cubicBezTo>
                    <a:pt x="f17" y="f11"/>
                    <a:pt x="f18" y="f19"/>
                    <a:pt x="f18" y="f19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0" y="f19"/>
                    <a:pt x="f20" y="f19"/>
                    <a:pt x="f20" y="f19"/>
                  </a:cubicBezTo>
                  <a:cubicBezTo>
                    <a:pt x="f11" y="f19"/>
                    <a:pt x="f11" y="f19"/>
                    <a:pt x="f11" y="f19"/>
                  </a:cubicBezTo>
                  <a:cubicBezTo>
                    <a:pt x="f5" y="f11"/>
                    <a:pt x="f5" y="f11"/>
                    <a:pt x="f5" y="f11"/>
                  </a:cubicBezTo>
                  <a:cubicBezTo>
                    <a:pt x="f14" y="f21"/>
                    <a:pt x="f14" y="f21"/>
                    <a:pt x="f14" y="f21"/>
                  </a:cubicBezTo>
                  <a:cubicBezTo>
                    <a:pt x="f14" y="f18"/>
                    <a:pt x="f14" y="f18"/>
                    <a:pt x="f14" y="f18"/>
                  </a:cubicBezTo>
                  <a:cubicBezTo>
                    <a:pt x="f5" y="f22"/>
                    <a:pt x="f5" y="f22"/>
                    <a:pt x="f5" y="f22"/>
                  </a:cubicBezTo>
                  <a:cubicBezTo>
                    <a:pt x="f19" y="f16"/>
                    <a:pt x="f19" y="f16"/>
                    <a:pt x="f19" y="f16"/>
                  </a:cubicBezTo>
                  <a:cubicBezTo>
                    <a:pt x="f23" y="f12"/>
                    <a:pt x="f23" y="f12"/>
                    <a:pt x="f23" y="f12"/>
                  </a:cubicBezTo>
                  <a:cubicBezTo>
                    <a:pt x="f23" y="f24"/>
                    <a:pt x="f23" y="f24"/>
                    <a:pt x="f23" y="f24"/>
                  </a:cubicBezTo>
                  <a:cubicBezTo>
                    <a:pt x="f25" y="f7"/>
                    <a:pt x="f25" y="f7"/>
                    <a:pt x="f25" y="f7"/>
                  </a:cubicBezTo>
                  <a:cubicBezTo>
                    <a:pt x="f25" y="f26"/>
                    <a:pt x="f17" y="f26"/>
                    <a:pt x="f17" y="f26"/>
                  </a:cubicBezTo>
                  <a:cubicBezTo>
                    <a:pt x="f27" y="f8"/>
                    <a:pt x="f27" y="f8"/>
                    <a:pt x="f27" y="f8"/>
                  </a:cubicBezTo>
                  <a:cubicBezTo>
                    <a:pt x="f28" y="f15"/>
                    <a:pt x="f28" y="f15"/>
                    <a:pt x="f28" y="f15"/>
                  </a:cubicBezTo>
                  <a:cubicBezTo>
                    <a:pt x="f8" y="f25"/>
                    <a:pt x="f8" y="f25"/>
                    <a:pt x="f8" y="f25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2" name="Freeform 380">
              <a:extLst>
                <a:ext uri="{FF2B5EF4-FFF2-40B4-BE49-F238E27FC236}">
                  <a16:creationId xmlns:a16="http://schemas.microsoft.com/office/drawing/2014/main" id="{8902C691-77E9-D136-1DDC-262F575B9CA4}"/>
                </a:ext>
              </a:extLst>
            </p:cNvPr>
            <p:cNvSpPr/>
            <p:nvPr/>
          </p:nvSpPr>
          <p:spPr>
            <a:xfrm>
              <a:off x="6318538" y="4728764"/>
              <a:ext cx="194410" cy="17593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"/>
                <a:gd name="f7" fmla="val 23"/>
                <a:gd name="f8" fmla="val 9"/>
                <a:gd name="f9" fmla="val 5"/>
                <a:gd name="f10" fmla="val 6"/>
                <a:gd name="f11" fmla="val 8"/>
                <a:gd name="f12" fmla="val 2"/>
                <a:gd name="f13" fmla="val 7"/>
                <a:gd name="f14" fmla="val 1"/>
                <a:gd name="f15" fmla="val 3"/>
                <a:gd name="f16" fmla="val 12"/>
                <a:gd name="f17" fmla="val 16"/>
                <a:gd name="f18" fmla="val 20"/>
                <a:gd name="f19" fmla="val 14"/>
                <a:gd name="f20" fmla="val 22"/>
                <a:gd name="f21" fmla="val 13"/>
                <a:gd name="f22" fmla="+- 0 0 -90"/>
                <a:gd name="f23" fmla="*/ f3 1 24"/>
                <a:gd name="f24" fmla="*/ f4 1 23"/>
                <a:gd name="f25" fmla="val f5"/>
                <a:gd name="f26" fmla="val f6"/>
                <a:gd name="f27" fmla="val f7"/>
                <a:gd name="f28" fmla="*/ f22 f0 1"/>
                <a:gd name="f29" fmla="+- f27 0 f25"/>
                <a:gd name="f30" fmla="+- f26 0 f25"/>
                <a:gd name="f31" fmla="*/ f28 1 f2"/>
                <a:gd name="f32" fmla="*/ f30 1 24"/>
                <a:gd name="f33" fmla="*/ f29 1 23"/>
                <a:gd name="f34" fmla="*/ 2147483646 f30 1"/>
                <a:gd name="f35" fmla="*/ 2147483646 f29 1"/>
                <a:gd name="f36" fmla="*/ 0 f30 1"/>
                <a:gd name="f37" fmla="*/ 0 f29 1"/>
                <a:gd name="f38" fmla="+- f31 0 f1"/>
                <a:gd name="f39" fmla="*/ f34 1 24"/>
                <a:gd name="f40" fmla="*/ f35 1 23"/>
                <a:gd name="f41" fmla="*/ f36 1 24"/>
                <a:gd name="f42" fmla="*/ f37 1 23"/>
                <a:gd name="f43" fmla="*/ 0 1 f32"/>
                <a:gd name="f44" fmla="*/ f26 1 f32"/>
                <a:gd name="f45" fmla="*/ 0 1 f33"/>
                <a:gd name="f46" fmla="*/ f27 1 f33"/>
                <a:gd name="f47" fmla="*/ f39 1 f32"/>
                <a:gd name="f48" fmla="*/ f40 1 f33"/>
                <a:gd name="f49" fmla="*/ f41 1 f32"/>
                <a:gd name="f50" fmla="*/ f42 1 f33"/>
                <a:gd name="f51" fmla="*/ f43 f23 1"/>
                <a:gd name="f52" fmla="*/ f44 f23 1"/>
                <a:gd name="f53" fmla="*/ f46 f24 1"/>
                <a:gd name="f54" fmla="*/ f45 f24 1"/>
                <a:gd name="f55" fmla="*/ f47 f23 1"/>
                <a:gd name="f56" fmla="*/ f48 f24 1"/>
                <a:gd name="f57" fmla="*/ f49 f23 1"/>
                <a:gd name="f58" fmla="*/ f50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7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8"/>
                </a:cxn>
                <a:cxn ang="f38">
                  <a:pos x="f55" y="f56"/>
                </a:cxn>
                <a:cxn ang="f38">
                  <a:pos x="f55" y="f56"/>
                </a:cxn>
              </a:cxnLst>
              <a:rect l="f51" t="f54" r="f52" b="f53"/>
              <a:pathLst>
                <a:path w="24" h="23">
                  <a:moveTo>
                    <a:pt x="f8" y="f9"/>
                  </a:moveTo>
                  <a:cubicBezTo>
                    <a:pt x="f8" y="f9"/>
                    <a:pt x="f10" y="f11"/>
                    <a:pt x="f10" y="f11"/>
                  </a:cubicBezTo>
                  <a:cubicBezTo>
                    <a:pt x="f9" y="f11"/>
                    <a:pt x="f12" y="f13"/>
                    <a:pt x="f12" y="f13"/>
                  </a:cubicBezTo>
                  <a:cubicBezTo>
                    <a:pt x="f5" y="f11"/>
                    <a:pt x="f5" y="f11"/>
                    <a:pt x="f5" y="f11"/>
                  </a:cubicBezTo>
                  <a:cubicBezTo>
                    <a:pt x="f14" y="f11"/>
                    <a:pt x="f14" y="f11"/>
                    <a:pt x="f14" y="f11"/>
                  </a:cubicBezTo>
                  <a:cubicBezTo>
                    <a:pt x="f15" y="f16"/>
                    <a:pt x="f15" y="f16"/>
                    <a:pt x="f15" y="f16"/>
                  </a:cubicBezTo>
                  <a:cubicBezTo>
                    <a:pt x="f10" y="f17"/>
                    <a:pt x="f10" y="f17"/>
                    <a:pt x="f10" y="f17"/>
                  </a:cubicBezTo>
                  <a:cubicBezTo>
                    <a:pt x="f11" y="f17"/>
                    <a:pt x="f11" y="f17"/>
                    <a:pt x="f11" y="f17"/>
                  </a:cubicBezTo>
                  <a:cubicBezTo>
                    <a:pt x="f8" y="f18"/>
                    <a:pt x="f8" y="f18"/>
                    <a:pt x="f8" y="f18"/>
                  </a:cubicBezTo>
                  <a:cubicBezTo>
                    <a:pt x="f19" y="f20"/>
                    <a:pt x="f19" y="f20"/>
                    <a:pt x="f19" y="f20"/>
                  </a:cubicBezTo>
                  <a:cubicBezTo>
                    <a:pt x="f18" y="f7"/>
                    <a:pt x="f18" y="f7"/>
                    <a:pt x="f18" y="f7"/>
                  </a:cubicBezTo>
                  <a:cubicBezTo>
                    <a:pt x="f20" y="f18"/>
                    <a:pt x="f20" y="f18"/>
                    <a:pt x="f20" y="f18"/>
                  </a:cubicBezTo>
                  <a:cubicBezTo>
                    <a:pt x="f6" y="f16"/>
                    <a:pt x="f6" y="f16"/>
                    <a:pt x="f6" y="f16"/>
                  </a:cubicBezTo>
                  <a:cubicBezTo>
                    <a:pt x="f6" y="f13"/>
                    <a:pt x="f6" y="f13"/>
                    <a:pt x="f6" y="f13"/>
                  </a:cubicBezTo>
                  <a:cubicBezTo>
                    <a:pt x="f6" y="f15"/>
                    <a:pt x="f6" y="f15"/>
                    <a:pt x="f6" y="f15"/>
                  </a:cubicBezTo>
                  <a:cubicBezTo>
                    <a:pt x="f17" y="f5"/>
                    <a:pt x="f17" y="f5"/>
                    <a:pt x="f17" y="f5"/>
                  </a:cubicBezTo>
                  <a:cubicBezTo>
                    <a:pt x="f21" y="f14"/>
                    <a:pt x="f21" y="f14"/>
                    <a:pt x="f21" y="f14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3" name="Freeform 381">
              <a:extLst>
                <a:ext uri="{FF2B5EF4-FFF2-40B4-BE49-F238E27FC236}">
                  <a16:creationId xmlns:a16="http://schemas.microsoft.com/office/drawing/2014/main" id="{A259ED6E-7530-A8F1-FB81-0ACFADD7A842}"/>
                </a:ext>
              </a:extLst>
            </p:cNvPr>
            <p:cNvSpPr/>
            <p:nvPr/>
          </p:nvSpPr>
          <p:spPr>
            <a:xfrm>
              <a:off x="6246657" y="4255470"/>
              <a:ext cx="347974" cy="53400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3"/>
                <a:gd name="f7" fmla="val 70"/>
                <a:gd name="f8" fmla="val 27"/>
                <a:gd name="f9" fmla="val 6"/>
                <a:gd name="f10" fmla="val 23"/>
                <a:gd name="f11" fmla="val 13"/>
                <a:gd name="f12" fmla="val 21"/>
                <a:gd name="f13" fmla="val 20"/>
                <a:gd name="f14" fmla="val 22"/>
                <a:gd name="f15" fmla="val 26"/>
                <a:gd name="f16" fmla="val 32"/>
                <a:gd name="f17" fmla="val 25"/>
                <a:gd name="f18" fmla="val 38"/>
                <a:gd name="f19" fmla="val 39"/>
                <a:gd name="f20" fmla="val 45"/>
                <a:gd name="f21" fmla="val 48"/>
                <a:gd name="f22" fmla="val 52"/>
                <a:gd name="f23" fmla="val 54"/>
                <a:gd name="f24" fmla="val 17"/>
                <a:gd name="f25" fmla="val 51"/>
                <a:gd name="f26" fmla="val 11"/>
                <a:gd name="f27" fmla="val 53"/>
                <a:gd name="f28" fmla="val 64"/>
                <a:gd name="f29" fmla="val 2"/>
                <a:gd name="f30" fmla="val 68"/>
                <a:gd name="f31" fmla="val 8"/>
                <a:gd name="f32" fmla="val 69"/>
                <a:gd name="f33" fmla="val 7"/>
                <a:gd name="f34" fmla="val 9"/>
                <a:gd name="f35" fmla="val 14"/>
                <a:gd name="f36" fmla="val 15"/>
                <a:gd name="f37" fmla="val 18"/>
                <a:gd name="f38" fmla="val 67"/>
                <a:gd name="f39" fmla="val 63"/>
                <a:gd name="f40" fmla="val 62"/>
                <a:gd name="f41" fmla="val 24"/>
                <a:gd name="f42" fmla="val 61"/>
                <a:gd name="f43" fmla="val 33"/>
                <a:gd name="f44" fmla="val 57"/>
                <a:gd name="f45" fmla="val 37"/>
                <a:gd name="f46" fmla="val 59"/>
                <a:gd name="f47" fmla="val 40"/>
                <a:gd name="f48" fmla="val 49"/>
                <a:gd name="f49" fmla="val 41"/>
                <a:gd name="f50" fmla="val 44"/>
                <a:gd name="f51" fmla="val 42"/>
                <a:gd name="f52" fmla="val 28"/>
                <a:gd name="f53" fmla="val 34"/>
                <a:gd name="f54" fmla="val 16"/>
                <a:gd name="f55" fmla="val 30"/>
                <a:gd name="f56" fmla="val 36"/>
                <a:gd name="f57" fmla="val 10"/>
                <a:gd name="f58" fmla="val 35"/>
                <a:gd name="f59" fmla="val 1"/>
                <a:gd name="f60" fmla="val 5"/>
                <a:gd name="f61" fmla="+- 0 0 -90"/>
                <a:gd name="f62" fmla="*/ f3 1 43"/>
                <a:gd name="f63" fmla="*/ f4 1 70"/>
                <a:gd name="f64" fmla="val f5"/>
                <a:gd name="f65" fmla="val f6"/>
                <a:gd name="f66" fmla="val f7"/>
                <a:gd name="f67" fmla="*/ f61 f0 1"/>
                <a:gd name="f68" fmla="+- f66 0 f64"/>
                <a:gd name="f69" fmla="+- f65 0 f64"/>
                <a:gd name="f70" fmla="*/ f67 1 f2"/>
                <a:gd name="f71" fmla="*/ f69 1 43"/>
                <a:gd name="f72" fmla="*/ f68 1 70"/>
                <a:gd name="f73" fmla="*/ 2147483646 f69 1"/>
                <a:gd name="f74" fmla="*/ 2147483646 f68 1"/>
                <a:gd name="f75" fmla="*/ 0 f69 1"/>
                <a:gd name="f76" fmla="*/ 0 f68 1"/>
                <a:gd name="f77" fmla="+- f70 0 f1"/>
                <a:gd name="f78" fmla="*/ f73 1 43"/>
                <a:gd name="f79" fmla="*/ f74 1 70"/>
                <a:gd name="f80" fmla="*/ f75 1 43"/>
                <a:gd name="f81" fmla="*/ f76 1 70"/>
                <a:gd name="f82" fmla="*/ 0 1 f71"/>
                <a:gd name="f83" fmla="*/ f65 1 f71"/>
                <a:gd name="f84" fmla="*/ 0 1 f72"/>
                <a:gd name="f85" fmla="*/ f66 1 f72"/>
                <a:gd name="f86" fmla="*/ f78 1 f71"/>
                <a:gd name="f87" fmla="*/ f79 1 f72"/>
                <a:gd name="f88" fmla="*/ f80 1 f71"/>
                <a:gd name="f89" fmla="*/ f81 1 f72"/>
                <a:gd name="f90" fmla="*/ f82 f62 1"/>
                <a:gd name="f91" fmla="*/ f83 f62 1"/>
                <a:gd name="f92" fmla="*/ f85 f63 1"/>
                <a:gd name="f93" fmla="*/ f84 f63 1"/>
                <a:gd name="f94" fmla="*/ f86 f62 1"/>
                <a:gd name="f95" fmla="*/ f87 f63 1"/>
                <a:gd name="f96" fmla="*/ f88 f62 1"/>
                <a:gd name="f97" fmla="*/ f89 f6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6" y="f95"/>
                </a:cxn>
                <a:cxn ang="f77">
                  <a:pos x="f96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5"/>
                </a:cxn>
                <a:cxn ang="f77">
                  <a:pos x="f94" y="f97"/>
                </a:cxn>
                <a:cxn ang="f77">
                  <a:pos x="f94" y="f97"/>
                </a:cxn>
                <a:cxn ang="f77">
                  <a:pos x="f94" y="f95"/>
                </a:cxn>
                <a:cxn ang="f77">
                  <a:pos x="f94" y="f97"/>
                </a:cxn>
                <a:cxn ang="f77">
                  <a:pos x="f94" y="f95"/>
                </a:cxn>
                <a:cxn ang="f77">
                  <a:pos x="f94" y="f95"/>
                </a:cxn>
              </a:cxnLst>
              <a:rect l="f90" t="f93" r="f91" b="f92"/>
              <a:pathLst>
                <a:path w="43" h="70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0" y="f16"/>
                    <a:pt x="f10" y="f16"/>
                    <a:pt x="f10" y="f16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4" y="f19"/>
                    <a:pt x="f14" y="f19"/>
                    <a:pt x="f14" y="f19"/>
                  </a:cubicBezTo>
                  <a:cubicBezTo>
                    <a:pt x="f12" y="f20"/>
                    <a:pt x="f12" y="f20"/>
                    <a:pt x="f12" y="f20"/>
                  </a:cubicBezTo>
                  <a:cubicBezTo>
                    <a:pt x="f13" y="f21"/>
                    <a:pt x="f13" y="f21"/>
                    <a:pt x="f13" y="f21"/>
                  </a:cubicBezTo>
                  <a:cubicBezTo>
                    <a:pt x="f10" y="f22"/>
                    <a:pt x="f10" y="f22"/>
                    <a:pt x="f10" y="f22"/>
                  </a:cubicBezTo>
                  <a:cubicBezTo>
                    <a:pt x="f10" y="f23"/>
                    <a:pt x="f10" y="f23"/>
                    <a:pt x="f10" y="f23"/>
                  </a:cubicBezTo>
                  <a:cubicBezTo>
                    <a:pt x="f24" y="f25"/>
                    <a:pt x="f24" y="f25"/>
                    <a:pt x="f24" y="f25"/>
                  </a:cubicBezTo>
                  <a:cubicBezTo>
                    <a:pt x="f26" y="f21"/>
                    <a:pt x="f26" y="f21"/>
                    <a:pt x="f26" y="f21"/>
                  </a:cubicBezTo>
                  <a:cubicBezTo>
                    <a:pt x="f9" y="f21"/>
                    <a:pt x="f9" y="f21"/>
                    <a:pt x="f9" y="f21"/>
                  </a:cubicBezTo>
                  <a:cubicBezTo>
                    <a:pt x="f9" y="f22"/>
                    <a:pt x="f9" y="f22"/>
                    <a:pt x="f9" y="f22"/>
                  </a:cubicBezTo>
                  <a:cubicBezTo>
                    <a:pt x="f5" y="f27"/>
                    <a:pt x="f5" y="f27"/>
                    <a:pt x="f5" y="f27"/>
                  </a:cubicBezTo>
                  <a:cubicBezTo>
                    <a:pt x="f5" y="f28"/>
                    <a:pt x="f5" y="f28"/>
                    <a:pt x="f5" y="f28"/>
                  </a:cubicBezTo>
                  <a:cubicBezTo>
                    <a:pt x="f29" y="f30"/>
                    <a:pt x="f29" y="f30"/>
                    <a:pt x="f29" y="f30"/>
                  </a:cubicBezTo>
                  <a:cubicBezTo>
                    <a:pt x="f9" y="f30"/>
                    <a:pt x="f9" y="f30"/>
                    <a:pt x="f9" y="f30"/>
                  </a:cubicBezTo>
                  <a:cubicBezTo>
                    <a:pt x="f31" y="f32"/>
                    <a:pt x="f31" y="f32"/>
                    <a:pt x="f31" y="f32"/>
                  </a:cubicBezTo>
                  <a:cubicBezTo>
                    <a:pt x="f33" y="f32"/>
                    <a:pt x="f33" y="f32"/>
                    <a:pt x="f33" y="f32"/>
                  </a:cubicBezTo>
                  <a:cubicBezTo>
                    <a:pt x="f34" y="f7"/>
                    <a:pt x="f34" y="f7"/>
                    <a:pt x="f34" y="f7"/>
                  </a:cubicBezTo>
                  <a:cubicBezTo>
                    <a:pt x="f26" y="f32"/>
                    <a:pt x="f26" y="f32"/>
                    <a:pt x="f26" y="f32"/>
                  </a:cubicBezTo>
                  <a:cubicBezTo>
                    <a:pt x="f26" y="f32"/>
                    <a:pt x="f35" y="f7"/>
                    <a:pt x="f36" y="f7"/>
                  </a:cubicBezTo>
                  <a:cubicBezTo>
                    <a:pt x="f36" y="f7"/>
                    <a:pt x="f37" y="f38"/>
                    <a:pt x="f37" y="f38"/>
                  </a:cubicBezTo>
                  <a:cubicBezTo>
                    <a:pt x="f14" y="f39"/>
                    <a:pt x="f14" y="f39"/>
                    <a:pt x="f14" y="f39"/>
                  </a:cubicBezTo>
                  <a:cubicBezTo>
                    <a:pt x="f17" y="f40"/>
                    <a:pt x="f17" y="f40"/>
                    <a:pt x="f17" y="f40"/>
                  </a:cubicBezTo>
                  <a:cubicBezTo>
                    <a:pt x="f41" y="f40"/>
                    <a:pt x="f41" y="f40"/>
                    <a:pt x="f41" y="f40"/>
                  </a:cubicBezTo>
                  <a:cubicBezTo>
                    <a:pt x="f41" y="f42"/>
                    <a:pt x="f41" y="f42"/>
                    <a:pt x="f41" y="f42"/>
                  </a:cubicBezTo>
                  <a:cubicBezTo>
                    <a:pt x="f43" y="f44"/>
                    <a:pt x="f43" y="f44"/>
                    <a:pt x="f43" y="f44"/>
                  </a:cubicBezTo>
                  <a:cubicBezTo>
                    <a:pt x="f45" y="f46"/>
                    <a:pt x="f45" y="f46"/>
                    <a:pt x="f45" y="f46"/>
                  </a:cubicBezTo>
                  <a:cubicBezTo>
                    <a:pt x="f19" y="f40"/>
                    <a:pt x="f19" y="f40"/>
                    <a:pt x="f19" y="f40"/>
                  </a:cubicBezTo>
                  <a:cubicBezTo>
                    <a:pt x="f47" y="f28"/>
                    <a:pt x="f47" y="f28"/>
                    <a:pt x="f47" y="f28"/>
                  </a:cubicBezTo>
                  <a:cubicBezTo>
                    <a:pt x="f6" y="f40"/>
                    <a:pt x="f6" y="f40"/>
                    <a:pt x="f6" y="f40"/>
                  </a:cubicBezTo>
                  <a:cubicBezTo>
                    <a:pt x="f6" y="f46"/>
                    <a:pt x="f6" y="f46"/>
                    <a:pt x="f6" y="f46"/>
                  </a:cubicBezTo>
                  <a:cubicBezTo>
                    <a:pt x="f47" y="f23"/>
                    <a:pt x="f47" y="f23"/>
                    <a:pt x="f47" y="f23"/>
                  </a:cubicBezTo>
                  <a:cubicBezTo>
                    <a:pt x="f47" y="f48"/>
                    <a:pt x="f47" y="f48"/>
                    <a:pt x="f47" y="f48"/>
                  </a:cubicBezTo>
                  <a:cubicBezTo>
                    <a:pt x="f49" y="f48"/>
                    <a:pt x="f49" y="f48"/>
                    <a:pt x="f49" y="f48"/>
                  </a:cubicBezTo>
                  <a:cubicBezTo>
                    <a:pt x="f19" y="f50"/>
                    <a:pt x="f19" y="f50"/>
                    <a:pt x="f19" y="f50"/>
                  </a:cubicBezTo>
                  <a:cubicBezTo>
                    <a:pt x="f18" y="f51"/>
                    <a:pt x="f18" y="f51"/>
                    <a:pt x="f18" y="f51"/>
                  </a:cubicBezTo>
                  <a:cubicBezTo>
                    <a:pt x="f18" y="f51"/>
                    <a:pt x="f43" y="f49"/>
                    <a:pt x="f43" y="f49"/>
                  </a:cubicBezTo>
                  <a:cubicBezTo>
                    <a:pt x="f16" y="f49"/>
                    <a:pt x="f52" y="f19"/>
                    <a:pt x="f52" y="f19"/>
                  </a:cubicBezTo>
                  <a:cubicBezTo>
                    <a:pt x="f15" y="f53"/>
                    <a:pt x="f15" y="f53"/>
                    <a:pt x="f15" y="f53"/>
                  </a:cubicBezTo>
                  <a:cubicBezTo>
                    <a:pt x="f41" y="f15"/>
                    <a:pt x="f41" y="f15"/>
                    <a:pt x="f41" y="f15"/>
                  </a:cubicBezTo>
                  <a:cubicBezTo>
                    <a:pt x="f15" y="f10"/>
                    <a:pt x="f15" y="f10"/>
                    <a:pt x="f15" y="f10"/>
                  </a:cubicBezTo>
                  <a:cubicBezTo>
                    <a:pt x="f17" y="f54"/>
                    <a:pt x="f17" y="f54"/>
                    <a:pt x="f17" y="f54"/>
                  </a:cubicBezTo>
                  <a:cubicBezTo>
                    <a:pt x="f55" y="f54"/>
                    <a:pt x="f55" y="f54"/>
                    <a:pt x="f55" y="f54"/>
                  </a:cubicBezTo>
                  <a:cubicBezTo>
                    <a:pt x="f16" y="f13"/>
                    <a:pt x="f16" y="f13"/>
                    <a:pt x="f16" y="f13"/>
                  </a:cubicBezTo>
                  <a:cubicBezTo>
                    <a:pt x="f56" y="f13"/>
                    <a:pt x="f56" y="f13"/>
                    <a:pt x="f56" y="f13"/>
                  </a:cubicBezTo>
                  <a:cubicBezTo>
                    <a:pt x="f56" y="f24"/>
                    <a:pt x="f56" y="f24"/>
                    <a:pt x="f56" y="f24"/>
                  </a:cubicBezTo>
                  <a:cubicBezTo>
                    <a:pt x="f45" y="f36"/>
                    <a:pt x="f45" y="f36"/>
                    <a:pt x="f45" y="f36"/>
                  </a:cubicBezTo>
                  <a:cubicBezTo>
                    <a:pt x="f18" y="f54"/>
                    <a:pt x="f18" y="f54"/>
                    <a:pt x="f18" y="f54"/>
                  </a:cubicBezTo>
                  <a:cubicBezTo>
                    <a:pt x="f45" y="f57"/>
                    <a:pt x="f45" y="f57"/>
                    <a:pt x="f45" y="f57"/>
                  </a:cubicBezTo>
                  <a:cubicBezTo>
                    <a:pt x="f19" y="f9"/>
                    <a:pt x="f19" y="f9"/>
                    <a:pt x="f19" y="f9"/>
                  </a:cubicBezTo>
                  <a:cubicBezTo>
                    <a:pt x="f19" y="f29"/>
                    <a:pt x="f19" y="f29"/>
                    <a:pt x="f19" y="f29"/>
                  </a:cubicBezTo>
                  <a:cubicBezTo>
                    <a:pt x="f45" y="f5"/>
                    <a:pt x="f45" y="f5"/>
                    <a:pt x="f45" y="f5"/>
                  </a:cubicBezTo>
                  <a:cubicBezTo>
                    <a:pt x="f58" y="f5"/>
                    <a:pt x="f58" y="f5"/>
                    <a:pt x="f58" y="f5"/>
                  </a:cubicBezTo>
                  <a:cubicBezTo>
                    <a:pt x="f52" y="f59"/>
                    <a:pt x="f52" y="f59"/>
                    <a:pt x="f52" y="f59"/>
                  </a:cubicBezTo>
                  <a:cubicBezTo>
                    <a:pt x="f8" y="f5"/>
                    <a:pt x="f8" y="f5"/>
                    <a:pt x="f8" y="f5"/>
                  </a:cubicBezTo>
                  <a:cubicBezTo>
                    <a:pt x="f8" y="f60"/>
                    <a:pt x="f8" y="f60"/>
                    <a:pt x="f8" y="f60"/>
                  </a:cubicBez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4" name="Freeform 382">
              <a:extLst>
                <a:ext uri="{FF2B5EF4-FFF2-40B4-BE49-F238E27FC236}">
                  <a16:creationId xmlns:a16="http://schemas.microsoft.com/office/drawing/2014/main" id="{0B4EEBF9-4380-F4C6-0970-714F81D49D9E}"/>
                </a:ext>
              </a:extLst>
            </p:cNvPr>
            <p:cNvSpPr/>
            <p:nvPr/>
          </p:nvSpPr>
          <p:spPr>
            <a:xfrm>
              <a:off x="5553962" y="3978352"/>
              <a:ext cx="192773" cy="13855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4"/>
                <a:gd name="f7" fmla="val 109"/>
                <a:gd name="f8" fmla="val 114"/>
                <a:gd name="f9" fmla="val 79"/>
                <a:gd name="f10" fmla="val 120"/>
                <a:gd name="f11" fmla="val 138"/>
                <a:gd name="f12" fmla="val 55"/>
                <a:gd name="f13" fmla="val 49"/>
                <a:gd name="f14" fmla="val 132"/>
                <a:gd name="f15" fmla="val 108"/>
                <a:gd name="f16" fmla="val 25"/>
                <a:gd name="f17" fmla="val 96"/>
                <a:gd name="f18" fmla="val 90"/>
                <a:gd name="f19" fmla="val 54"/>
                <a:gd name="f20" fmla="val 19"/>
                <a:gd name="f21" fmla="val 24"/>
                <a:gd name="f22" fmla="val 43"/>
                <a:gd name="f23" fmla="val 6"/>
                <a:gd name="f24" fmla="val 67"/>
                <a:gd name="f25" fmla="val 85"/>
                <a:gd name="f26" fmla="val 97"/>
                <a:gd name="f27" fmla="val 36"/>
                <a:gd name="f28" fmla="val 103"/>
                <a:gd name="f29" fmla="val 42"/>
                <a:gd name="f30" fmla="val 72"/>
                <a:gd name="f31" fmla="+- 0 0 -90"/>
                <a:gd name="f32" fmla="*/ f3 1 144"/>
                <a:gd name="f33" fmla="*/ f4 1 109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144"/>
                <a:gd name="f42" fmla="*/ f38 1 109"/>
                <a:gd name="f43" fmla="*/ 2147483646 f39 1"/>
                <a:gd name="f44" fmla="*/ 2147483646 f38 1"/>
                <a:gd name="f45" fmla="*/ 0 f38 1"/>
                <a:gd name="f46" fmla="*/ 0 f39 1"/>
                <a:gd name="f47" fmla="+- f40 0 f1"/>
                <a:gd name="f48" fmla="*/ f43 1 144"/>
                <a:gd name="f49" fmla="*/ f44 1 109"/>
                <a:gd name="f50" fmla="*/ f45 1 109"/>
                <a:gd name="f51" fmla="*/ f46 1 144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2"/>
                <a:gd name="f59" fmla="*/ f51 1 f41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3 1"/>
                <a:gd name="f67" fmla="*/ f59 f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6"/>
                </a:cxn>
                <a:cxn ang="f47">
                  <a:pos x="f64" y="f66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7" y="f65"/>
                </a:cxn>
                <a:cxn ang="f47">
                  <a:pos x="f67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</a:cxnLst>
              <a:rect l="f60" t="f63" r="f61" b="f62"/>
              <a:pathLst>
                <a:path w="144" h="109">
                  <a:moveTo>
                    <a:pt x="f8" y="f9"/>
                  </a:moveTo>
                  <a:lnTo>
                    <a:pt x="f10" y="f9"/>
                  </a:lnTo>
                  <a:lnTo>
                    <a:pt x="f11" y="f12"/>
                  </a:lnTo>
                  <a:lnTo>
                    <a:pt x="f6" y="f13"/>
                  </a:lnTo>
                  <a:lnTo>
                    <a:pt x="f14" y="f13"/>
                  </a:lnTo>
                  <a:lnTo>
                    <a:pt x="f15" y="f16"/>
                  </a:lnTo>
                  <a:lnTo>
                    <a:pt x="f17" y="f5"/>
                  </a:lnTo>
                  <a:lnTo>
                    <a:pt x="f18" y="f5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5" y="f25"/>
                  </a:lnTo>
                  <a:lnTo>
                    <a:pt x="f5" y="f26"/>
                  </a:lnTo>
                  <a:lnTo>
                    <a:pt x="f23" y="f7"/>
                  </a:lnTo>
                  <a:lnTo>
                    <a:pt x="f27" y="f28"/>
                  </a:lnTo>
                  <a:lnTo>
                    <a:pt x="f27" y="f7"/>
                  </a:lnTo>
                  <a:lnTo>
                    <a:pt x="f29" y="f25"/>
                  </a:lnTo>
                  <a:lnTo>
                    <a:pt x="f30" y="f25"/>
                  </a:lnTo>
                  <a:lnTo>
                    <a:pt x="f17" y="f2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5" name="Freeform 383">
              <a:extLst>
                <a:ext uri="{FF2B5EF4-FFF2-40B4-BE49-F238E27FC236}">
                  <a16:creationId xmlns:a16="http://schemas.microsoft.com/office/drawing/2014/main" id="{BBB5AF93-71D4-CD9B-8A31-D3A3A449A836}"/>
                </a:ext>
              </a:extLst>
            </p:cNvPr>
            <p:cNvSpPr/>
            <p:nvPr/>
          </p:nvSpPr>
          <p:spPr>
            <a:xfrm>
              <a:off x="5553962" y="3978352"/>
              <a:ext cx="192773" cy="13855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4"/>
                <a:gd name="f7" fmla="val 109"/>
                <a:gd name="f8" fmla="val 114"/>
                <a:gd name="f9" fmla="val 79"/>
                <a:gd name="f10" fmla="val 120"/>
                <a:gd name="f11" fmla="val 138"/>
                <a:gd name="f12" fmla="val 55"/>
                <a:gd name="f13" fmla="val 49"/>
                <a:gd name="f14" fmla="val 132"/>
                <a:gd name="f15" fmla="val 108"/>
                <a:gd name="f16" fmla="val 25"/>
                <a:gd name="f17" fmla="val 96"/>
                <a:gd name="f18" fmla="val 90"/>
                <a:gd name="f19" fmla="val 54"/>
                <a:gd name="f20" fmla="val 19"/>
                <a:gd name="f21" fmla="val 24"/>
                <a:gd name="f22" fmla="val 43"/>
                <a:gd name="f23" fmla="val 6"/>
                <a:gd name="f24" fmla="val 67"/>
                <a:gd name="f25" fmla="val 85"/>
                <a:gd name="f26" fmla="val 97"/>
                <a:gd name="f27" fmla="val 36"/>
                <a:gd name="f28" fmla="val 103"/>
                <a:gd name="f29" fmla="val 42"/>
                <a:gd name="f30" fmla="val 72"/>
                <a:gd name="f31" fmla="+- 0 0 -90"/>
                <a:gd name="f32" fmla="*/ f3 1 144"/>
                <a:gd name="f33" fmla="*/ f4 1 109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144"/>
                <a:gd name="f42" fmla="*/ f38 1 109"/>
                <a:gd name="f43" fmla="*/ 2147483646 f39 1"/>
                <a:gd name="f44" fmla="*/ 2147483646 f38 1"/>
                <a:gd name="f45" fmla="*/ 0 f38 1"/>
                <a:gd name="f46" fmla="*/ 0 f39 1"/>
                <a:gd name="f47" fmla="+- f40 0 f1"/>
                <a:gd name="f48" fmla="*/ f43 1 144"/>
                <a:gd name="f49" fmla="*/ f44 1 109"/>
                <a:gd name="f50" fmla="*/ f45 1 109"/>
                <a:gd name="f51" fmla="*/ f46 1 144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2"/>
                <a:gd name="f59" fmla="*/ f51 1 f41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3 1"/>
                <a:gd name="f67" fmla="*/ f59 f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6"/>
                </a:cxn>
                <a:cxn ang="f47">
                  <a:pos x="f64" y="f66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7" y="f65"/>
                </a:cxn>
                <a:cxn ang="f47">
                  <a:pos x="f67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</a:cxnLst>
              <a:rect l="f60" t="f63" r="f61" b="f62"/>
              <a:pathLst>
                <a:path w="144" h="109">
                  <a:moveTo>
                    <a:pt x="f8" y="f9"/>
                  </a:moveTo>
                  <a:lnTo>
                    <a:pt x="f10" y="f9"/>
                  </a:lnTo>
                  <a:lnTo>
                    <a:pt x="f11" y="f12"/>
                  </a:lnTo>
                  <a:lnTo>
                    <a:pt x="f6" y="f13"/>
                  </a:lnTo>
                  <a:lnTo>
                    <a:pt x="f14" y="f13"/>
                  </a:lnTo>
                  <a:lnTo>
                    <a:pt x="f15" y="f16"/>
                  </a:lnTo>
                  <a:lnTo>
                    <a:pt x="f17" y="f5"/>
                  </a:lnTo>
                  <a:lnTo>
                    <a:pt x="f18" y="f5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5" y="f25"/>
                  </a:lnTo>
                  <a:lnTo>
                    <a:pt x="f5" y="f26"/>
                  </a:lnTo>
                  <a:lnTo>
                    <a:pt x="f23" y="f7"/>
                  </a:lnTo>
                  <a:lnTo>
                    <a:pt x="f27" y="f28"/>
                  </a:lnTo>
                  <a:lnTo>
                    <a:pt x="f27" y="f7"/>
                  </a:lnTo>
                  <a:lnTo>
                    <a:pt x="f29" y="f25"/>
                  </a:lnTo>
                  <a:lnTo>
                    <a:pt x="f30" y="f25"/>
                  </a:lnTo>
                  <a:lnTo>
                    <a:pt x="f17" y="f25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6" name="Freeform 384">
              <a:extLst>
                <a:ext uri="{FF2B5EF4-FFF2-40B4-BE49-F238E27FC236}">
                  <a16:creationId xmlns:a16="http://schemas.microsoft.com/office/drawing/2014/main" id="{33B74EF1-4FA7-77A3-9568-398CE09C3530}"/>
                </a:ext>
              </a:extLst>
            </p:cNvPr>
            <p:cNvSpPr/>
            <p:nvPr/>
          </p:nvSpPr>
          <p:spPr>
            <a:xfrm>
              <a:off x="5681393" y="4079549"/>
              <a:ext cx="24505" cy="622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"/>
                <a:gd name="f7" fmla="val 6"/>
                <a:gd name="f8" fmla="+- 0 0 -90"/>
                <a:gd name="f9" fmla="*/ f3 1 18"/>
                <a:gd name="f10" fmla="*/ f4 1 6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5 1 6"/>
                <a:gd name="f19" fmla="*/ f16 1 18"/>
                <a:gd name="f20" fmla="*/ 0 f16 1"/>
                <a:gd name="f21" fmla="*/ 2147483646 f15 1"/>
                <a:gd name="f22" fmla="*/ 2147483646 f16 1"/>
                <a:gd name="f23" fmla="*/ 0 f15 1"/>
                <a:gd name="f24" fmla="+- f17 0 f1"/>
                <a:gd name="f25" fmla="*/ f20 1 18"/>
                <a:gd name="f26" fmla="*/ f21 1 6"/>
                <a:gd name="f27" fmla="*/ f22 1 18"/>
                <a:gd name="f28" fmla="*/ f23 1 6"/>
                <a:gd name="f29" fmla="*/ 0 1 f19"/>
                <a:gd name="f30" fmla="*/ f12 1 f19"/>
                <a:gd name="f31" fmla="*/ 0 1 f18"/>
                <a:gd name="f32" fmla="*/ f13 1 f18"/>
                <a:gd name="f33" fmla="*/ f25 1 f19"/>
                <a:gd name="f34" fmla="*/ f26 1 f18"/>
                <a:gd name="f35" fmla="*/ f27 1 f19"/>
                <a:gd name="f36" fmla="*/ f28 1 f18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9 1"/>
                <a:gd name="f44" fmla="*/ f36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3" y="f42"/>
                </a:cxn>
                <a:cxn ang="f24">
                  <a:pos x="f43" y="f44"/>
                </a:cxn>
                <a:cxn ang="f24">
                  <a:pos x="f41" y="f42"/>
                </a:cxn>
              </a:cxnLst>
              <a:rect l="f37" t="f40" r="f38" b="f39"/>
              <a:pathLst>
                <a:path w="18" h="6">
                  <a:moveTo>
                    <a:pt x="f5" y="f7"/>
                  </a:moveTo>
                  <a:lnTo>
                    <a:pt x="f7" y="f7"/>
                  </a:lnTo>
                  <a:lnTo>
                    <a:pt x="f6" y="f5"/>
                  </a:lnTo>
                  <a:lnTo>
                    <a:pt x="f5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7" name="Freeform 385">
              <a:extLst>
                <a:ext uri="{FF2B5EF4-FFF2-40B4-BE49-F238E27FC236}">
                  <a16:creationId xmlns:a16="http://schemas.microsoft.com/office/drawing/2014/main" id="{8099DD58-2BB1-C689-F6C8-99F356FD99D8}"/>
                </a:ext>
              </a:extLst>
            </p:cNvPr>
            <p:cNvSpPr/>
            <p:nvPr/>
          </p:nvSpPr>
          <p:spPr>
            <a:xfrm>
              <a:off x="5681393" y="4079549"/>
              <a:ext cx="24505" cy="622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"/>
                <a:gd name="f7" fmla="val 6"/>
                <a:gd name="f8" fmla="+- 0 0 -90"/>
                <a:gd name="f9" fmla="*/ f3 1 18"/>
                <a:gd name="f10" fmla="*/ f4 1 6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5 1 6"/>
                <a:gd name="f19" fmla="*/ f16 1 18"/>
                <a:gd name="f20" fmla="*/ 0 f16 1"/>
                <a:gd name="f21" fmla="*/ 2147483646 f15 1"/>
                <a:gd name="f22" fmla="*/ 2147483646 f16 1"/>
                <a:gd name="f23" fmla="*/ 0 f15 1"/>
                <a:gd name="f24" fmla="+- f17 0 f1"/>
                <a:gd name="f25" fmla="*/ f20 1 18"/>
                <a:gd name="f26" fmla="*/ f21 1 6"/>
                <a:gd name="f27" fmla="*/ f22 1 18"/>
                <a:gd name="f28" fmla="*/ f23 1 6"/>
                <a:gd name="f29" fmla="*/ 0 1 f19"/>
                <a:gd name="f30" fmla="*/ f12 1 f19"/>
                <a:gd name="f31" fmla="*/ 0 1 f18"/>
                <a:gd name="f32" fmla="*/ f13 1 f18"/>
                <a:gd name="f33" fmla="*/ f25 1 f19"/>
                <a:gd name="f34" fmla="*/ f26 1 f18"/>
                <a:gd name="f35" fmla="*/ f27 1 f19"/>
                <a:gd name="f36" fmla="*/ f28 1 f18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9 1"/>
                <a:gd name="f44" fmla="*/ f36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3" y="f42"/>
                </a:cxn>
                <a:cxn ang="f24">
                  <a:pos x="f43" y="f44"/>
                </a:cxn>
              </a:cxnLst>
              <a:rect l="f37" t="f40" r="f38" b="f39"/>
              <a:pathLst>
                <a:path w="18" h="6">
                  <a:moveTo>
                    <a:pt x="f5" y="f7"/>
                  </a:moveTo>
                  <a:lnTo>
                    <a:pt x="f7" y="f7"/>
                  </a:lnTo>
                  <a:lnTo>
                    <a:pt x="f6" y="f5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8" name="Freeform 386">
              <a:extLst>
                <a:ext uri="{FF2B5EF4-FFF2-40B4-BE49-F238E27FC236}">
                  <a16:creationId xmlns:a16="http://schemas.microsoft.com/office/drawing/2014/main" id="{685C5E66-4659-709A-705B-91EE3D34A658}"/>
                </a:ext>
              </a:extLst>
            </p:cNvPr>
            <p:cNvSpPr/>
            <p:nvPr/>
          </p:nvSpPr>
          <p:spPr>
            <a:xfrm>
              <a:off x="5601347" y="4085776"/>
              <a:ext cx="104552" cy="1292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8"/>
                <a:gd name="f7" fmla="val 102"/>
                <a:gd name="f8" fmla="val 60"/>
                <a:gd name="f9" fmla="val 6"/>
                <a:gd name="f10" fmla="val 36"/>
                <a:gd name="f11" fmla="val 24"/>
                <a:gd name="f12" fmla="val 12"/>
                <a:gd name="f13" fmla="val 42"/>
                <a:gd name="f14" fmla="val 66"/>
                <a:gd name="f15" fmla="val 84"/>
                <a:gd name="f16" fmla="val 90"/>
                <a:gd name="f17" fmla="+- 0 0 -90"/>
                <a:gd name="f18" fmla="*/ f3 1 78"/>
                <a:gd name="f19" fmla="*/ f4 1 102"/>
                <a:gd name="f20" fmla="val f5"/>
                <a:gd name="f21" fmla="val f6"/>
                <a:gd name="f22" fmla="val f7"/>
                <a:gd name="f23" fmla="*/ f17 f0 1"/>
                <a:gd name="f24" fmla="+- f22 0 f20"/>
                <a:gd name="f25" fmla="+- f21 0 f20"/>
                <a:gd name="f26" fmla="*/ f23 1 f2"/>
                <a:gd name="f27" fmla="*/ f25 1 78"/>
                <a:gd name="f28" fmla="*/ f24 1 102"/>
                <a:gd name="f29" fmla="*/ 2147483646 f25 1"/>
                <a:gd name="f30" fmla="*/ 2147483646 f24 1"/>
                <a:gd name="f31" fmla="*/ 0 f24 1"/>
                <a:gd name="f32" fmla="*/ 0 f25 1"/>
                <a:gd name="f33" fmla="+- f26 0 f1"/>
                <a:gd name="f34" fmla="*/ f29 1 78"/>
                <a:gd name="f35" fmla="*/ f30 1 102"/>
                <a:gd name="f36" fmla="*/ f31 1 102"/>
                <a:gd name="f37" fmla="*/ f32 1 78"/>
                <a:gd name="f38" fmla="*/ 0 1 f27"/>
                <a:gd name="f39" fmla="*/ f21 1 f27"/>
                <a:gd name="f40" fmla="*/ 0 1 f28"/>
                <a:gd name="f41" fmla="*/ f22 1 f28"/>
                <a:gd name="f42" fmla="*/ f34 1 f27"/>
                <a:gd name="f43" fmla="*/ f35 1 f28"/>
                <a:gd name="f44" fmla="*/ f36 1 f28"/>
                <a:gd name="f45" fmla="*/ f37 1 f27"/>
                <a:gd name="f46" fmla="*/ f38 f18 1"/>
                <a:gd name="f47" fmla="*/ f39 f18 1"/>
                <a:gd name="f48" fmla="*/ f41 f19 1"/>
                <a:gd name="f49" fmla="*/ f40 f19 1"/>
                <a:gd name="f50" fmla="*/ f42 f18 1"/>
                <a:gd name="f51" fmla="*/ f43 f19 1"/>
                <a:gd name="f52" fmla="*/ f44 f19 1"/>
                <a:gd name="f53" fmla="*/ f45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3">
                  <a:pos x="f50" y="f51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3" y="f51"/>
                </a:cxn>
                <a:cxn ang="f33">
                  <a:pos x="f50" y="f51"/>
                </a:cxn>
                <a:cxn ang="f33">
                  <a:pos x="f53" y="f51"/>
                </a:cxn>
                <a:cxn ang="f33">
                  <a:pos x="f53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</a:cxnLst>
              <a:rect l="f46" t="f49" r="f47" b="f48"/>
              <a:pathLst>
                <a:path w="78" h="102">
                  <a:moveTo>
                    <a:pt x="f8" y="f9"/>
                  </a:moveTo>
                  <a:lnTo>
                    <a:pt x="f8" y="f5"/>
                  </a:lnTo>
                  <a:lnTo>
                    <a:pt x="f10" y="f5"/>
                  </a:lnTo>
                  <a:lnTo>
                    <a:pt x="f9" y="f5"/>
                  </a:lnTo>
                  <a:lnTo>
                    <a:pt x="f5" y="f11"/>
                  </a:lnTo>
                  <a:lnTo>
                    <a:pt x="f12" y="f13"/>
                  </a:lnTo>
                  <a:lnTo>
                    <a:pt x="f5" y="f14"/>
                  </a:lnTo>
                  <a:lnTo>
                    <a:pt x="f5" y="f15"/>
                  </a:lnTo>
                  <a:lnTo>
                    <a:pt x="f9" y="f7"/>
                  </a:lnTo>
                  <a:lnTo>
                    <a:pt x="f10" y="f7"/>
                  </a:lnTo>
                  <a:lnTo>
                    <a:pt x="f6" y="f16"/>
                  </a:lnTo>
                  <a:lnTo>
                    <a:pt x="f8" y="f10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9" name="Freeform 387">
              <a:extLst>
                <a:ext uri="{FF2B5EF4-FFF2-40B4-BE49-F238E27FC236}">
                  <a16:creationId xmlns:a16="http://schemas.microsoft.com/office/drawing/2014/main" id="{FA70C868-1329-961A-D267-D9336BBDB8D4}"/>
                </a:ext>
              </a:extLst>
            </p:cNvPr>
            <p:cNvSpPr/>
            <p:nvPr/>
          </p:nvSpPr>
          <p:spPr>
            <a:xfrm>
              <a:off x="5756548" y="3986134"/>
              <a:ext cx="305501" cy="26155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28"/>
                <a:gd name="f7" fmla="val 205"/>
                <a:gd name="f8" fmla="val 120"/>
                <a:gd name="f9" fmla="val 151"/>
                <a:gd name="f10" fmla="val 150"/>
                <a:gd name="f11" fmla="val 163"/>
                <a:gd name="f12" fmla="val 121"/>
                <a:gd name="f13" fmla="val 198"/>
                <a:gd name="f14" fmla="val 73"/>
                <a:gd name="f15" fmla="val 204"/>
                <a:gd name="f16" fmla="val 55"/>
                <a:gd name="f17" fmla="val 222"/>
                <a:gd name="f18" fmla="val 49"/>
                <a:gd name="f19" fmla="val 31"/>
                <a:gd name="f20" fmla="val 210"/>
                <a:gd name="f21" fmla="val 25"/>
                <a:gd name="f22" fmla="val 7"/>
                <a:gd name="f23" fmla="val 174"/>
                <a:gd name="f24" fmla="val 144"/>
                <a:gd name="f25" fmla="val 108"/>
                <a:gd name="f26" fmla="val 84"/>
                <a:gd name="f27" fmla="val 43"/>
                <a:gd name="f28" fmla="val 48"/>
                <a:gd name="f29" fmla="val 24"/>
                <a:gd name="f30" fmla="val 12"/>
                <a:gd name="f31" fmla="val 67"/>
                <a:gd name="f32" fmla="val 91"/>
                <a:gd name="f33" fmla="val 133"/>
                <a:gd name="f34" fmla="val 193"/>
                <a:gd name="f35" fmla="val 72"/>
                <a:gd name="f36" fmla="val 199"/>
                <a:gd name="f37" fmla="val 96"/>
                <a:gd name="f38" fmla="val 102"/>
                <a:gd name="f39" fmla="val 175"/>
                <a:gd name="f40" fmla="+- 0 0 -90"/>
                <a:gd name="f41" fmla="*/ f3 1 228"/>
                <a:gd name="f42" fmla="*/ f4 1 205"/>
                <a:gd name="f43" fmla="val f5"/>
                <a:gd name="f44" fmla="val f6"/>
                <a:gd name="f45" fmla="val f7"/>
                <a:gd name="f46" fmla="*/ f40 f0 1"/>
                <a:gd name="f47" fmla="+- f45 0 f43"/>
                <a:gd name="f48" fmla="+- f44 0 f43"/>
                <a:gd name="f49" fmla="*/ f46 1 f2"/>
                <a:gd name="f50" fmla="*/ f48 1 228"/>
                <a:gd name="f51" fmla="*/ f47 1 205"/>
                <a:gd name="f52" fmla="*/ 2147483646 f48 1"/>
                <a:gd name="f53" fmla="*/ 2147483646 f47 1"/>
                <a:gd name="f54" fmla="*/ 0 f47 1"/>
                <a:gd name="f55" fmla="*/ 0 f48 1"/>
                <a:gd name="f56" fmla="+- f49 0 f1"/>
                <a:gd name="f57" fmla="*/ f52 1 228"/>
                <a:gd name="f58" fmla="*/ f53 1 205"/>
                <a:gd name="f59" fmla="*/ f54 1 205"/>
                <a:gd name="f60" fmla="*/ f55 1 228"/>
                <a:gd name="f61" fmla="*/ 0 1 f50"/>
                <a:gd name="f62" fmla="*/ f44 1 f50"/>
                <a:gd name="f63" fmla="*/ 0 1 f51"/>
                <a:gd name="f64" fmla="*/ f45 1 f51"/>
                <a:gd name="f65" fmla="*/ f57 1 f50"/>
                <a:gd name="f66" fmla="*/ f58 1 f51"/>
                <a:gd name="f67" fmla="*/ f59 1 f51"/>
                <a:gd name="f68" fmla="*/ f60 1 f50"/>
                <a:gd name="f69" fmla="*/ f61 f41 1"/>
                <a:gd name="f70" fmla="*/ f62 f41 1"/>
                <a:gd name="f71" fmla="*/ f64 f42 1"/>
                <a:gd name="f72" fmla="*/ f63 f42 1"/>
                <a:gd name="f73" fmla="*/ f65 f41 1"/>
                <a:gd name="f74" fmla="*/ f66 f42 1"/>
                <a:gd name="f75" fmla="*/ f67 f42 1"/>
                <a:gd name="f76" fmla="*/ f6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5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6" y="f74"/>
                </a:cxn>
                <a:cxn ang="f56">
                  <a:pos x="f76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  <a:cxn ang="f56">
                  <a:pos x="f73" y="f74"/>
                </a:cxn>
              </a:cxnLst>
              <a:rect l="f69" t="f72" r="f70" b="f71"/>
              <a:pathLst>
                <a:path w="228" h="205">
                  <a:moveTo>
                    <a:pt x="f8" y="f9"/>
                  </a:moveTo>
                  <a:lnTo>
                    <a:pt x="f10" y="f11"/>
                  </a:lnTo>
                  <a:lnTo>
                    <a:pt x="f2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6" y="f19"/>
                  </a:lnTo>
                  <a:lnTo>
                    <a:pt x="f20" y="f21"/>
                  </a:lnTo>
                  <a:lnTo>
                    <a:pt x="f13" y="f22"/>
                  </a:lnTo>
                  <a:lnTo>
                    <a:pt x="f15" y="f5"/>
                  </a:lnTo>
                  <a:lnTo>
                    <a:pt x="f23" y="f21"/>
                  </a:lnTo>
                  <a:lnTo>
                    <a:pt x="f24" y="f19"/>
                  </a:lnTo>
                  <a:lnTo>
                    <a:pt x="f25" y="f19"/>
                  </a:lnTo>
                  <a:lnTo>
                    <a:pt x="f26" y="f27"/>
                  </a:lnTo>
                  <a:lnTo>
                    <a:pt x="f28" y="f19"/>
                  </a:lnTo>
                  <a:lnTo>
                    <a:pt x="f29" y="f19"/>
                  </a:lnTo>
                  <a:lnTo>
                    <a:pt x="f30" y="f18"/>
                  </a:lnTo>
                  <a:lnTo>
                    <a:pt x="f30" y="f31"/>
                  </a:lnTo>
                  <a:lnTo>
                    <a:pt x="f30" y="f32"/>
                  </a:lnTo>
                  <a:lnTo>
                    <a:pt x="f5" y="f33"/>
                  </a:lnTo>
                  <a:lnTo>
                    <a:pt x="f5" y="f11"/>
                  </a:lnTo>
                  <a:lnTo>
                    <a:pt x="f29" y="f11"/>
                  </a:lnTo>
                  <a:lnTo>
                    <a:pt x="f28" y="f34"/>
                  </a:lnTo>
                  <a:lnTo>
                    <a:pt x="f35" y="f36"/>
                  </a:lnTo>
                  <a:lnTo>
                    <a:pt x="f37" y="f7"/>
                  </a:lnTo>
                  <a:lnTo>
                    <a:pt x="f38" y="f3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0" name="Freeform 388">
              <a:extLst>
                <a:ext uri="{FF2B5EF4-FFF2-40B4-BE49-F238E27FC236}">
                  <a16:creationId xmlns:a16="http://schemas.microsoft.com/office/drawing/2014/main" id="{6D8A1DE7-1635-C828-F5CB-2DC05F028856}"/>
                </a:ext>
              </a:extLst>
            </p:cNvPr>
            <p:cNvSpPr/>
            <p:nvPr/>
          </p:nvSpPr>
          <p:spPr>
            <a:xfrm>
              <a:off x="6053874" y="4085776"/>
              <a:ext cx="330006" cy="18371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6"/>
                <a:gd name="f7" fmla="val 144"/>
                <a:gd name="f8" fmla="val 78"/>
                <a:gd name="f9" fmla="val 36"/>
                <a:gd name="f10" fmla="val 72"/>
                <a:gd name="f11" fmla="val 48"/>
                <a:gd name="f12" fmla="val 60"/>
                <a:gd name="f13" fmla="val 12"/>
                <a:gd name="f14" fmla="val 66"/>
                <a:gd name="f15" fmla="val 102"/>
                <a:gd name="f16" fmla="val 132"/>
                <a:gd name="f17" fmla="val 18"/>
                <a:gd name="f18" fmla="val 42"/>
                <a:gd name="f19" fmla="val 138"/>
                <a:gd name="f20" fmla="val 114"/>
                <a:gd name="f21" fmla="val 108"/>
                <a:gd name="f22" fmla="val 120"/>
                <a:gd name="f23" fmla="val 198"/>
                <a:gd name="f24" fmla="val 210"/>
                <a:gd name="f25" fmla="val 186"/>
                <a:gd name="f26" fmla="val 54"/>
                <a:gd name="f27" fmla="val 168"/>
                <a:gd name="f28" fmla="val 24"/>
                <a:gd name="f29" fmla="val 156"/>
                <a:gd name="f30" fmla="val 30"/>
                <a:gd name="f31" fmla="+- 0 0 -90"/>
                <a:gd name="f32" fmla="*/ f3 1 246"/>
                <a:gd name="f33" fmla="*/ f4 1 144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246"/>
                <a:gd name="f42" fmla="*/ f38 1 144"/>
                <a:gd name="f43" fmla="*/ 2147483646 f39 1"/>
                <a:gd name="f44" fmla="*/ 2147483646 f38 1"/>
                <a:gd name="f45" fmla="*/ 0 f39 1"/>
                <a:gd name="f46" fmla="*/ 0 f38 1"/>
                <a:gd name="f47" fmla="+- f40 0 f1"/>
                <a:gd name="f48" fmla="*/ f43 1 246"/>
                <a:gd name="f49" fmla="*/ f44 1 144"/>
                <a:gd name="f50" fmla="*/ f45 1 246"/>
                <a:gd name="f51" fmla="*/ f46 1 144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1"/>
                <a:gd name="f59" fmla="*/ f51 1 f42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2 1"/>
                <a:gd name="f67" fmla="*/ f59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6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7"/>
                </a:cxn>
                <a:cxn ang="f47">
                  <a:pos x="f64" y="f65"/>
                </a:cxn>
                <a:cxn ang="f47">
                  <a:pos x="f64" y="f65"/>
                </a:cxn>
              </a:cxnLst>
              <a:rect l="f60" t="f63" r="f61" b="f62"/>
              <a:pathLst>
                <a:path w="246" h="144">
                  <a:moveTo>
                    <a:pt x="f8" y="f9"/>
                  </a:moveTo>
                  <a:lnTo>
                    <a:pt x="f10" y="f11"/>
                  </a:lnTo>
                  <a:lnTo>
                    <a:pt x="f9" y="f12"/>
                  </a:lnTo>
                  <a:lnTo>
                    <a:pt x="f13" y="f14"/>
                  </a:lnTo>
                  <a:lnTo>
                    <a:pt x="f5" y="f15"/>
                  </a:lnTo>
                  <a:lnTo>
                    <a:pt x="f13" y="f16"/>
                  </a:lnTo>
                  <a:lnTo>
                    <a:pt x="f17" y="f7"/>
                  </a:lnTo>
                  <a:lnTo>
                    <a:pt x="f18" y="f16"/>
                  </a:lnTo>
                  <a:lnTo>
                    <a:pt x="f14" y="f16"/>
                  </a:lnTo>
                  <a:lnTo>
                    <a:pt x="f8" y="f19"/>
                  </a:lnTo>
                  <a:lnTo>
                    <a:pt x="f8" y="f20"/>
                  </a:lnTo>
                  <a:lnTo>
                    <a:pt x="f20" y="f21"/>
                  </a:lnTo>
                  <a:lnTo>
                    <a:pt x="f7" y="f22"/>
                  </a:lnTo>
                  <a:lnTo>
                    <a:pt x="f23" y="f21"/>
                  </a:lnTo>
                  <a:lnTo>
                    <a:pt x="f6" y="f15"/>
                  </a:lnTo>
                  <a:lnTo>
                    <a:pt x="f24" y="f1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5"/>
                  </a:lnTo>
                  <a:lnTo>
                    <a:pt x="f21" y="f30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1" name="Freeform 389">
              <a:extLst>
                <a:ext uri="{FF2B5EF4-FFF2-40B4-BE49-F238E27FC236}">
                  <a16:creationId xmlns:a16="http://schemas.microsoft.com/office/drawing/2014/main" id="{2125FBFF-41E2-6EA8-4B47-ECA83B54E171}"/>
                </a:ext>
              </a:extLst>
            </p:cNvPr>
            <p:cNvSpPr/>
            <p:nvPr/>
          </p:nvSpPr>
          <p:spPr>
            <a:xfrm>
              <a:off x="5957487" y="4255470"/>
              <a:ext cx="200948" cy="22886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50"/>
                <a:gd name="f7" fmla="val 66"/>
                <a:gd name="f8" fmla="val 162"/>
                <a:gd name="f9" fmla="val 90"/>
                <a:gd name="f10" fmla="val 144"/>
                <a:gd name="f11" fmla="val 114"/>
                <a:gd name="f12" fmla="val 96"/>
                <a:gd name="f13" fmla="val 132"/>
                <a:gd name="f14" fmla="val 78"/>
                <a:gd name="f15" fmla="val 6"/>
                <a:gd name="f16" fmla="val 138"/>
                <a:gd name="f17" fmla="val 12"/>
                <a:gd name="f18" fmla="val 72"/>
                <a:gd name="f19" fmla="val 18"/>
                <a:gd name="f20" fmla="val 60"/>
                <a:gd name="f21" fmla="val 30"/>
                <a:gd name="f22" fmla="val 48"/>
                <a:gd name="f23" fmla="val 36"/>
                <a:gd name="f24" fmla="val 54"/>
                <a:gd name="f25" fmla="val 84"/>
                <a:gd name="f26" fmla="val 126"/>
                <a:gd name="f27" fmla="val 156"/>
                <a:gd name="f28" fmla="val 24"/>
                <a:gd name="f29" fmla="val 42"/>
                <a:gd name="f30" fmla="+- 0 0 -90"/>
                <a:gd name="f31" fmla="*/ f3 1 150"/>
                <a:gd name="f32" fmla="*/ f4 1 180"/>
                <a:gd name="f33" fmla="val f5"/>
                <a:gd name="f34" fmla="val f6"/>
                <a:gd name="f35" fmla="val f2"/>
                <a:gd name="f36" fmla="*/ f30 f0 1"/>
                <a:gd name="f37" fmla="+- f35 0 f33"/>
                <a:gd name="f38" fmla="+- f34 0 f33"/>
                <a:gd name="f39" fmla="*/ f36 1 f2"/>
                <a:gd name="f40" fmla="*/ f38 1 150"/>
                <a:gd name="f41" fmla="*/ f37 1 180"/>
                <a:gd name="f42" fmla="*/ 2147483646 f38 1"/>
                <a:gd name="f43" fmla="*/ 2147483646 f37 1"/>
                <a:gd name="f44" fmla="*/ 0 f37 1"/>
                <a:gd name="f45" fmla="*/ 0 f38 1"/>
                <a:gd name="f46" fmla="+- f39 0 f1"/>
                <a:gd name="f47" fmla="*/ f42 1 150"/>
                <a:gd name="f48" fmla="*/ f43 1 180"/>
                <a:gd name="f49" fmla="*/ f44 1 180"/>
                <a:gd name="f50" fmla="*/ f45 1 150"/>
                <a:gd name="f51" fmla="*/ 0 1 f40"/>
                <a:gd name="f52" fmla="*/ f34 1 f40"/>
                <a:gd name="f53" fmla="*/ 0 1 f41"/>
                <a:gd name="f54" fmla="*/ f35 1 f41"/>
                <a:gd name="f55" fmla="*/ f47 1 f40"/>
                <a:gd name="f56" fmla="*/ f48 1 f41"/>
                <a:gd name="f57" fmla="*/ f49 1 f41"/>
                <a:gd name="f58" fmla="*/ f50 1 f40"/>
                <a:gd name="f59" fmla="*/ f51 f31 1"/>
                <a:gd name="f60" fmla="*/ f52 f31 1"/>
                <a:gd name="f61" fmla="*/ f54 f32 1"/>
                <a:gd name="f62" fmla="*/ f53 f32 1"/>
                <a:gd name="f63" fmla="*/ f55 f31 1"/>
                <a:gd name="f64" fmla="*/ f56 f32 1"/>
                <a:gd name="f65" fmla="*/ f57 f32 1"/>
                <a:gd name="f66" fmla="*/ f5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5"/>
                </a:cxn>
                <a:cxn ang="f46">
                  <a:pos x="f63" y="f65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6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  <a:cxn ang="f46">
                  <a:pos x="f63" y="f64"/>
                </a:cxn>
              </a:cxnLst>
              <a:rect l="f59" t="f62" r="f60" b="f61"/>
              <a:pathLst>
                <a:path w="150" h="180">
                  <a:moveTo>
                    <a:pt x="f7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6" y="f15"/>
                  </a:lnTo>
                  <a:lnTo>
                    <a:pt x="f16" y="f5"/>
                  </a:lnTo>
                  <a:lnTo>
                    <a:pt x="f11" y="f5"/>
                  </a:lnTo>
                  <a:lnTo>
                    <a:pt x="f9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2" y="f22"/>
                  </a:lnTo>
                  <a:lnTo>
                    <a:pt x="f20" y="f24"/>
                  </a:lnTo>
                  <a:lnTo>
                    <a:pt x="f24" y="f25"/>
                  </a:lnTo>
                  <a:lnTo>
                    <a:pt x="f22" y="f11"/>
                  </a:lnTo>
                  <a:lnTo>
                    <a:pt x="f21" y="f11"/>
                  </a:lnTo>
                  <a:lnTo>
                    <a:pt x="f17" y="f26"/>
                  </a:lnTo>
                  <a:lnTo>
                    <a:pt x="f5" y="f16"/>
                  </a:lnTo>
                  <a:lnTo>
                    <a:pt x="f19" y="f27"/>
                  </a:lnTo>
                  <a:lnTo>
                    <a:pt x="f28" y="f2"/>
                  </a:lnTo>
                  <a:lnTo>
                    <a:pt x="f29" y="f8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2" name="Freeform 390">
              <a:extLst>
                <a:ext uri="{FF2B5EF4-FFF2-40B4-BE49-F238E27FC236}">
                  <a16:creationId xmlns:a16="http://schemas.microsoft.com/office/drawing/2014/main" id="{D4605C4F-1C67-8FC3-9587-F579F3146A80}"/>
                </a:ext>
              </a:extLst>
            </p:cNvPr>
            <p:cNvSpPr/>
            <p:nvPr/>
          </p:nvSpPr>
          <p:spPr>
            <a:xfrm>
              <a:off x="5916650" y="4302178"/>
              <a:ext cx="120892" cy="12766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102"/>
                <a:gd name="f8" fmla="val 60"/>
                <a:gd name="f9" fmla="val 78"/>
                <a:gd name="f10" fmla="val 84"/>
                <a:gd name="f11" fmla="val 48"/>
                <a:gd name="f12" fmla="val 18"/>
                <a:gd name="f13" fmla="val 12"/>
                <a:gd name="f14" fmla="val 54"/>
                <a:gd name="f15" fmla="val 30"/>
                <a:gd name="f16" fmla="val 42"/>
                <a:gd name="f17" fmla="+- 0 0 -90"/>
                <a:gd name="f18" fmla="*/ f3 1 90"/>
                <a:gd name="f19" fmla="*/ f4 1 102"/>
                <a:gd name="f20" fmla="val f5"/>
                <a:gd name="f21" fmla="val f6"/>
                <a:gd name="f22" fmla="val f7"/>
                <a:gd name="f23" fmla="*/ f17 f0 1"/>
                <a:gd name="f24" fmla="+- f22 0 f20"/>
                <a:gd name="f25" fmla="+- f21 0 f20"/>
                <a:gd name="f26" fmla="*/ f23 1 f2"/>
                <a:gd name="f27" fmla="*/ f25 1 90"/>
                <a:gd name="f28" fmla="*/ f24 1 102"/>
                <a:gd name="f29" fmla="*/ 2147483646 f25 1"/>
                <a:gd name="f30" fmla="*/ 2147483646 f24 1"/>
                <a:gd name="f31" fmla="*/ 0 f24 1"/>
                <a:gd name="f32" fmla="*/ 0 f25 1"/>
                <a:gd name="f33" fmla="+- f26 0 f1"/>
                <a:gd name="f34" fmla="*/ f29 1 90"/>
                <a:gd name="f35" fmla="*/ f30 1 102"/>
                <a:gd name="f36" fmla="*/ f31 1 102"/>
                <a:gd name="f37" fmla="*/ f32 1 90"/>
                <a:gd name="f38" fmla="*/ 0 1 f27"/>
                <a:gd name="f39" fmla="*/ f21 1 f27"/>
                <a:gd name="f40" fmla="*/ 0 1 f28"/>
                <a:gd name="f41" fmla="*/ f22 1 f28"/>
                <a:gd name="f42" fmla="*/ f34 1 f27"/>
                <a:gd name="f43" fmla="*/ f35 1 f28"/>
                <a:gd name="f44" fmla="*/ f36 1 f28"/>
                <a:gd name="f45" fmla="*/ f37 1 f27"/>
                <a:gd name="f46" fmla="*/ f38 f18 1"/>
                <a:gd name="f47" fmla="*/ f39 f18 1"/>
                <a:gd name="f48" fmla="*/ f41 f19 1"/>
                <a:gd name="f49" fmla="*/ f40 f19 1"/>
                <a:gd name="f50" fmla="*/ f42 f18 1"/>
                <a:gd name="f51" fmla="*/ f43 f19 1"/>
                <a:gd name="f52" fmla="*/ f44 f19 1"/>
                <a:gd name="f53" fmla="*/ f45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2"/>
                </a:cxn>
                <a:cxn ang="f33">
                  <a:pos x="f50" y="f52"/>
                </a:cxn>
                <a:cxn ang="f33">
                  <a:pos x="f53" y="f52"/>
                </a:cxn>
                <a:cxn ang="f33">
                  <a:pos x="f53" y="f51"/>
                </a:cxn>
                <a:cxn ang="f33">
                  <a:pos x="f53" y="f51"/>
                </a:cxn>
                <a:cxn ang="f33">
                  <a:pos x="f50" y="f51"/>
                </a:cxn>
                <a:cxn ang="f33">
                  <a:pos x="f50" y="f51"/>
                </a:cxn>
                <a:cxn ang="f33">
                  <a:pos x="f50" y="f51"/>
                </a:cxn>
              </a:cxnLst>
              <a:rect l="f46" t="f49" r="f47" b="f48"/>
              <a:pathLst>
                <a:path w="90" h="102">
                  <a:moveTo>
                    <a:pt x="f8" y="f9"/>
                  </a:moveTo>
                  <a:lnTo>
                    <a:pt x="f9" y="f9"/>
                  </a:lnTo>
                  <a:lnTo>
                    <a:pt x="f10" y="f11"/>
                  </a:lnTo>
                  <a:lnTo>
                    <a:pt x="f6" y="f12"/>
                  </a:lnTo>
                  <a:lnTo>
                    <a:pt x="f9" y="f13"/>
                  </a:lnTo>
                  <a:lnTo>
                    <a:pt x="f9" y="f5"/>
                  </a:lnTo>
                  <a:lnTo>
                    <a:pt x="f11" y="f5"/>
                  </a:lnTo>
                  <a:lnTo>
                    <a:pt x="f5" y="f5"/>
                  </a:lnTo>
                  <a:lnTo>
                    <a:pt x="f5" y="f12"/>
                  </a:lnTo>
                  <a:lnTo>
                    <a:pt x="f5" y="f14"/>
                  </a:lnTo>
                  <a:lnTo>
                    <a:pt x="f15" y="f7"/>
                  </a:lnTo>
                  <a:lnTo>
                    <a:pt x="f16" y="f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3" name="Freeform 391">
              <a:extLst>
                <a:ext uri="{FF2B5EF4-FFF2-40B4-BE49-F238E27FC236}">
                  <a16:creationId xmlns:a16="http://schemas.microsoft.com/office/drawing/2014/main" id="{B4389766-9D82-5305-9470-BF06AAE45404}"/>
                </a:ext>
              </a:extLst>
            </p:cNvPr>
            <p:cNvSpPr/>
            <p:nvPr/>
          </p:nvSpPr>
          <p:spPr>
            <a:xfrm>
              <a:off x="5883978" y="4048404"/>
              <a:ext cx="192773" cy="25377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4"/>
                <a:gd name="f7" fmla="val 198"/>
                <a:gd name="f8" fmla="val 174"/>
                <a:gd name="f9" fmla="val 138"/>
                <a:gd name="f10" fmla="val 162"/>
                <a:gd name="f11" fmla="val 126"/>
                <a:gd name="f12" fmla="val 132"/>
                <a:gd name="f13" fmla="val 96"/>
                <a:gd name="f14" fmla="val 114"/>
                <a:gd name="f15" fmla="val 66"/>
                <a:gd name="f16" fmla="val 48"/>
                <a:gd name="f17" fmla="val 42"/>
                <a:gd name="f18" fmla="val 108"/>
                <a:gd name="f19" fmla="val 6"/>
                <a:gd name="f20" fmla="val 102"/>
                <a:gd name="f21" fmla="val 24"/>
                <a:gd name="f22" fmla="val 84"/>
                <a:gd name="f23" fmla="val 72"/>
                <a:gd name="f24" fmla="val 54"/>
                <a:gd name="f25" fmla="val 156"/>
                <a:gd name="f26" fmla="val 18"/>
                <a:gd name="f27" fmla="+- 0 0 -90"/>
                <a:gd name="f28" fmla="*/ f3 1 144"/>
                <a:gd name="f29" fmla="*/ f4 1 198"/>
                <a:gd name="f30" fmla="val f5"/>
                <a:gd name="f31" fmla="val f6"/>
                <a:gd name="f32" fmla="val f7"/>
                <a:gd name="f33" fmla="*/ f27 f0 1"/>
                <a:gd name="f34" fmla="+- f32 0 f30"/>
                <a:gd name="f35" fmla="+- f31 0 f30"/>
                <a:gd name="f36" fmla="*/ f33 1 f2"/>
                <a:gd name="f37" fmla="*/ f35 1 144"/>
                <a:gd name="f38" fmla="*/ f34 1 198"/>
                <a:gd name="f39" fmla="*/ 2147483646 f35 1"/>
                <a:gd name="f40" fmla="*/ 2147483646 f34 1"/>
                <a:gd name="f41" fmla="*/ 0 f34 1"/>
                <a:gd name="f42" fmla="*/ 0 f35 1"/>
                <a:gd name="f43" fmla="+- f36 0 f1"/>
                <a:gd name="f44" fmla="*/ f39 1 144"/>
                <a:gd name="f45" fmla="*/ f40 1 198"/>
                <a:gd name="f46" fmla="*/ f41 1 198"/>
                <a:gd name="f47" fmla="*/ f42 1 144"/>
                <a:gd name="f48" fmla="*/ 0 1 f37"/>
                <a:gd name="f49" fmla="*/ f31 1 f37"/>
                <a:gd name="f50" fmla="*/ 0 1 f38"/>
                <a:gd name="f51" fmla="*/ f32 1 f38"/>
                <a:gd name="f52" fmla="*/ f44 1 f37"/>
                <a:gd name="f53" fmla="*/ f45 1 f38"/>
                <a:gd name="f54" fmla="*/ f46 1 f38"/>
                <a:gd name="f55" fmla="*/ f47 1 f37"/>
                <a:gd name="f56" fmla="*/ f48 f28 1"/>
                <a:gd name="f57" fmla="*/ f49 f28 1"/>
                <a:gd name="f58" fmla="*/ f51 f29 1"/>
                <a:gd name="f59" fmla="*/ f50 f29 1"/>
                <a:gd name="f60" fmla="*/ f52 f28 1"/>
                <a:gd name="f61" fmla="*/ f53 f29 1"/>
                <a:gd name="f62" fmla="*/ f54 f29 1"/>
                <a:gd name="f63" fmla="*/ f55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3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</a:cxnLst>
              <a:rect l="f56" t="f59" r="f57" b="f58"/>
              <a:pathLst>
                <a:path w="144" h="198">
                  <a:moveTo>
                    <a:pt x="f6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9" y="f13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4" y="f16"/>
                  </a:lnTo>
                  <a:lnTo>
                    <a:pt x="f9" y="f17"/>
                  </a:lnTo>
                  <a:lnTo>
                    <a:pt x="f11" y="f5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14"/>
                  </a:lnTo>
                  <a:lnTo>
                    <a:pt x="f21" y="f20"/>
                  </a:lnTo>
                  <a:lnTo>
                    <a:pt x="f19" y="f11"/>
                  </a:lnTo>
                  <a:lnTo>
                    <a:pt x="f5" y="f25"/>
                  </a:lnTo>
                  <a:lnTo>
                    <a:pt x="f26" y="f25"/>
                  </a:lnTo>
                  <a:lnTo>
                    <a:pt x="f21" y="f7"/>
                  </a:lnTo>
                  <a:lnTo>
                    <a:pt x="f23" y="f7"/>
                  </a:lnTo>
                  <a:lnTo>
                    <a:pt x="f20" y="f7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4" name="Freeform 392">
              <a:extLst>
                <a:ext uri="{FF2B5EF4-FFF2-40B4-BE49-F238E27FC236}">
                  <a16:creationId xmlns:a16="http://schemas.microsoft.com/office/drawing/2014/main" id="{16151D9A-1A6E-C085-A0B5-8F5127914690}"/>
                </a:ext>
              </a:extLst>
            </p:cNvPr>
            <p:cNvSpPr/>
            <p:nvPr/>
          </p:nvSpPr>
          <p:spPr>
            <a:xfrm>
              <a:off x="5883978" y="4048404"/>
              <a:ext cx="192773" cy="25377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4"/>
                <a:gd name="f7" fmla="val 198"/>
                <a:gd name="f8" fmla="val 174"/>
                <a:gd name="f9" fmla="val 138"/>
                <a:gd name="f10" fmla="val 162"/>
                <a:gd name="f11" fmla="val 126"/>
                <a:gd name="f12" fmla="val 132"/>
                <a:gd name="f13" fmla="val 96"/>
                <a:gd name="f14" fmla="val 114"/>
                <a:gd name="f15" fmla="val 66"/>
                <a:gd name="f16" fmla="val 48"/>
                <a:gd name="f17" fmla="val 42"/>
                <a:gd name="f18" fmla="val 108"/>
                <a:gd name="f19" fmla="val 6"/>
                <a:gd name="f20" fmla="val 102"/>
                <a:gd name="f21" fmla="val 24"/>
                <a:gd name="f22" fmla="val 84"/>
                <a:gd name="f23" fmla="val 72"/>
                <a:gd name="f24" fmla="val 54"/>
                <a:gd name="f25" fmla="val 156"/>
                <a:gd name="f26" fmla="val 18"/>
                <a:gd name="f27" fmla="+- 0 0 -90"/>
                <a:gd name="f28" fmla="*/ f3 1 144"/>
                <a:gd name="f29" fmla="*/ f4 1 198"/>
                <a:gd name="f30" fmla="val f5"/>
                <a:gd name="f31" fmla="val f6"/>
                <a:gd name="f32" fmla="val f7"/>
                <a:gd name="f33" fmla="*/ f27 f0 1"/>
                <a:gd name="f34" fmla="+- f32 0 f30"/>
                <a:gd name="f35" fmla="+- f31 0 f30"/>
                <a:gd name="f36" fmla="*/ f33 1 f2"/>
                <a:gd name="f37" fmla="*/ f35 1 144"/>
                <a:gd name="f38" fmla="*/ f34 1 198"/>
                <a:gd name="f39" fmla="*/ 2147483646 f35 1"/>
                <a:gd name="f40" fmla="*/ 2147483646 f34 1"/>
                <a:gd name="f41" fmla="*/ 0 f34 1"/>
                <a:gd name="f42" fmla="*/ 0 f35 1"/>
                <a:gd name="f43" fmla="+- f36 0 f1"/>
                <a:gd name="f44" fmla="*/ f39 1 144"/>
                <a:gd name="f45" fmla="*/ f40 1 198"/>
                <a:gd name="f46" fmla="*/ f41 1 198"/>
                <a:gd name="f47" fmla="*/ f42 1 144"/>
                <a:gd name="f48" fmla="*/ 0 1 f37"/>
                <a:gd name="f49" fmla="*/ f31 1 f37"/>
                <a:gd name="f50" fmla="*/ 0 1 f38"/>
                <a:gd name="f51" fmla="*/ f32 1 f38"/>
                <a:gd name="f52" fmla="*/ f44 1 f37"/>
                <a:gd name="f53" fmla="*/ f45 1 f38"/>
                <a:gd name="f54" fmla="*/ f46 1 f38"/>
                <a:gd name="f55" fmla="*/ f47 1 f37"/>
                <a:gd name="f56" fmla="*/ f48 f28 1"/>
                <a:gd name="f57" fmla="*/ f49 f28 1"/>
                <a:gd name="f58" fmla="*/ f51 f29 1"/>
                <a:gd name="f59" fmla="*/ f50 f29 1"/>
                <a:gd name="f60" fmla="*/ f52 f28 1"/>
                <a:gd name="f61" fmla="*/ f53 f29 1"/>
                <a:gd name="f62" fmla="*/ f54 f29 1"/>
                <a:gd name="f63" fmla="*/ f55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3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  <a:cxn ang="f43">
                  <a:pos x="f60" y="f61"/>
                </a:cxn>
              </a:cxnLst>
              <a:rect l="f56" t="f59" r="f57" b="f58"/>
              <a:pathLst>
                <a:path w="144" h="198">
                  <a:moveTo>
                    <a:pt x="f6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9" y="f13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4" y="f16"/>
                  </a:lnTo>
                  <a:lnTo>
                    <a:pt x="f9" y="f17"/>
                  </a:lnTo>
                  <a:lnTo>
                    <a:pt x="f11" y="f5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14"/>
                  </a:lnTo>
                  <a:lnTo>
                    <a:pt x="f21" y="f20"/>
                  </a:lnTo>
                  <a:lnTo>
                    <a:pt x="f19" y="f11"/>
                  </a:lnTo>
                  <a:lnTo>
                    <a:pt x="f5" y="f25"/>
                  </a:lnTo>
                  <a:lnTo>
                    <a:pt x="f26" y="f25"/>
                  </a:lnTo>
                  <a:lnTo>
                    <a:pt x="f21" y="f7"/>
                  </a:lnTo>
                  <a:lnTo>
                    <a:pt x="f23" y="f7"/>
                  </a:lnTo>
                  <a:lnTo>
                    <a:pt x="f20" y="f7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5" name="Freeform 393">
              <a:extLst>
                <a:ext uri="{FF2B5EF4-FFF2-40B4-BE49-F238E27FC236}">
                  <a16:creationId xmlns:a16="http://schemas.microsoft.com/office/drawing/2014/main" id="{92F2B4F4-D6F0-FEAA-CD97-CAA2E13E1996}"/>
                </a:ext>
              </a:extLst>
            </p:cNvPr>
            <p:cNvSpPr/>
            <p:nvPr/>
          </p:nvSpPr>
          <p:spPr>
            <a:xfrm>
              <a:off x="5705899" y="4039068"/>
              <a:ext cx="65352" cy="1541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8"/>
                <a:gd name="f7" fmla="val 120"/>
                <a:gd name="f8" fmla="val 24"/>
                <a:gd name="f9" fmla="val 6"/>
                <a:gd name="f10" fmla="val 42"/>
                <a:gd name="f11" fmla="val 30"/>
                <a:gd name="f12" fmla="val 90"/>
                <a:gd name="f13" fmla="val 36"/>
                <a:gd name="f14" fmla="+- 0 0 -90"/>
                <a:gd name="f15" fmla="*/ f3 1 48"/>
                <a:gd name="f16" fmla="*/ f4 1 120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48"/>
                <a:gd name="f25" fmla="*/ f21 1 120"/>
                <a:gd name="f26" fmla="*/ 2147483646 f22 1"/>
                <a:gd name="f27" fmla="*/ 2147483646 f21 1"/>
                <a:gd name="f28" fmla="*/ 0 f21 1"/>
                <a:gd name="f29" fmla="*/ 0 f22 1"/>
                <a:gd name="f30" fmla="+- f23 0 f1"/>
                <a:gd name="f31" fmla="*/ f26 1 48"/>
                <a:gd name="f32" fmla="*/ f27 1 120"/>
                <a:gd name="f33" fmla="*/ f28 1 120"/>
                <a:gd name="f34" fmla="*/ f29 1 48"/>
                <a:gd name="f35" fmla="*/ 0 1 f24"/>
                <a:gd name="f36" fmla="*/ f18 1 f24"/>
                <a:gd name="f37" fmla="*/ 0 1 f25"/>
                <a:gd name="f38" fmla="*/ f19 1 f25"/>
                <a:gd name="f39" fmla="*/ f31 1 f24"/>
                <a:gd name="f40" fmla="*/ f32 1 f25"/>
                <a:gd name="f41" fmla="*/ f33 1 f25"/>
                <a:gd name="f42" fmla="*/ f34 1 f24"/>
                <a:gd name="f43" fmla="*/ f35 f15 1"/>
                <a:gd name="f44" fmla="*/ f36 f15 1"/>
                <a:gd name="f45" fmla="*/ f38 f16 1"/>
                <a:gd name="f46" fmla="*/ f37 f16 1"/>
                <a:gd name="f47" fmla="*/ f39 f15 1"/>
                <a:gd name="f48" fmla="*/ f40 f16 1"/>
                <a:gd name="f49" fmla="*/ f41 f16 1"/>
                <a:gd name="f50" fmla="*/ f42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9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50" y="f48"/>
                </a:cxn>
                <a:cxn ang="f30">
                  <a:pos x="f50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</a:cxnLst>
              <a:rect l="f43" t="f46" r="f44" b="f45"/>
              <a:pathLst>
                <a:path w="48" h="120">
                  <a:moveTo>
                    <a:pt x="f6" y="f6"/>
                  </a:moveTo>
                  <a:lnTo>
                    <a:pt x="f6" y="f8"/>
                  </a:lnTo>
                  <a:lnTo>
                    <a:pt x="f6" y="f9"/>
                  </a:lnTo>
                  <a:lnTo>
                    <a:pt x="f10" y="f9"/>
                  </a:lnTo>
                  <a:lnTo>
                    <a:pt x="f11" y="f5"/>
                  </a:lnTo>
                  <a:lnTo>
                    <a:pt x="f8" y="f9"/>
                  </a:lnTo>
                  <a:lnTo>
                    <a:pt x="f9" y="f11"/>
                  </a:lnTo>
                  <a:lnTo>
                    <a:pt x="f5" y="f11"/>
                  </a:lnTo>
                  <a:lnTo>
                    <a:pt x="f5" y="f6"/>
                  </a:lnTo>
                  <a:lnTo>
                    <a:pt x="f9" y="f12"/>
                  </a:lnTo>
                  <a:lnTo>
                    <a:pt x="f8" y="f7"/>
                  </a:lnTo>
                  <a:lnTo>
                    <a:pt x="f13" y="f7"/>
                  </a:lnTo>
                  <a:lnTo>
                    <a:pt x="f13" y="f12"/>
                  </a:lnTo>
                  <a:lnTo>
                    <a:pt x="f6" y="f6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6" name="Freeform 394">
              <a:extLst>
                <a:ext uri="{FF2B5EF4-FFF2-40B4-BE49-F238E27FC236}">
                  <a16:creationId xmlns:a16="http://schemas.microsoft.com/office/drawing/2014/main" id="{82145D04-8CC1-666B-AEB3-9BF38A6557E9}"/>
                </a:ext>
              </a:extLst>
            </p:cNvPr>
            <p:cNvSpPr/>
            <p:nvPr/>
          </p:nvSpPr>
          <p:spPr>
            <a:xfrm>
              <a:off x="5681393" y="4079549"/>
              <a:ext cx="57177" cy="12144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2"/>
                <a:gd name="f7" fmla="val 96"/>
                <a:gd name="f8" fmla="val 18"/>
                <a:gd name="f9" fmla="val 6"/>
                <a:gd name="f10" fmla="val 12"/>
                <a:gd name="f11" fmla="val 90"/>
                <a:gd name="f12" fmla="val 24"/>
                <a:gd name="f13" fmla="val 60"/>
                <a:gd name="f14" fmla="+- 0 0 -90"/>
                <a:gd name="f15" fmla="*/ f3 1 42"/>
                <a:gd name="f16" fmla="*/ f4 1 96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42"/>
                <a:gd name="f25" fmla="*/ f21 1 96"/>
                <a:gd name="f26" fmla="*/ 2147483646 f22 1"/>
                <a:gd name="f27" fmla="*/ 2147483646 f21 1"/>
                <a:gd name="f28" fmla="*/ 0 f21 1"/>
                <a:gd name="f29" fmla="*/ 0 f22 1"/>
                <a:gd name="f30" fmla="+- f23 0 f1"/>
                <a:gd name="f31" fmla="*/ f26 1 42"/>
                <a:gd name="f32" fmla="*/ f27 1 96"/>
                <a:gd name="f33" fmla="*/ f28 1 96"/>
                <a:gd name="f34" fmla="*/ f29 1 42"/>
                <a:gd name="f35" fmla="*/ 0 1 f24"/>
                <a:gd name="f36" fmla="*/ f18 1 f24"/>
                <a:gd name="f37" fmla="*/ 0 1 f25"/>
                <a:gd name="f38" fmla="*/ f19 1 f25"/>
                <a:gd name="f39" fmla="*/ f31 1 f24"/>
                <a:gd name="f40" fmla="*/ f32 1 f25"/>
                <a:gd name="f41" fmla="*/ f33 1 f25"/>
                <a:gd name="f42" fmla="*/ f34 1 f24"/>
                <a:gd name="f43" fmla="*/ f35 f15 1"/>
                <a:gd name="f44" fmla="*/ f36 f15 1"/>
                <a:gd name="f45" fmla="*/ f38 f16 1"/>
                <a:gd name="f46" fmla="*/ f37 f16 1"/>
                <a:gd name="f47" fmla="*/ f39 f15 1"/>
                <a:gd name="f48" fmla="*/ f40 f16 1"/>
                <a:gd name="f49" fmla="*/ f41 f16 1"/>
                <a:gd name="f50" fmla="*/ f42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47" y="f48"/>
                </a:cxn>
                <a:cxn ang="f30">
                  <a:pos x="f47" y="f49"/>
                </a:cxn>
                <a:cxn ang="f30">
                  <a:pos x="f47" y="f48"/>
                </a:cxn>
                <a:cxn ang="f30">
                  <a:pos x="f50" y="f48"/>
                </a:cxn>
                <a:cxn ang="f30">
                  <a:pos x="f50" y="f48"/>
                </a:cxn>
                <a:cxn ang="f30">
                  <a:pos x="f50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  <a:cxn ang="f30">
                  <a:pos x="f47" y="f48"/>
                </a:cxn>
              </a:cxnLst>
              <a:rect l="f43" t="f46" r="f44" b="f45"/>
              <a:pathLst>
                <a:path w="42" h="96">
                  <a:moveTo>
                    <a:pt x="f8" y="f8"/>
                  </a:moveTo>
                  <a:lnTo>
                    <a:pt x="f8" y="f5"/>
                  </a:lnTo>
                  <a:lnTo>
                    <a:pt x="f9" y="f9"/>
                  </a:lnTo>
                  <a:lnTo>
                    <a:pt x="f5" y="f9"/>
                  </a:lnTo>
                  <a:lnTo>
                    <a:pt x="f5" y="f10"/>
                  </a:lnTo>
                  <a:lnTo>
                    <a:pt x="f5" y="f6"/>
                  </a:lnTo>
                  <a:lnTo>
                    <a:pt x="f8" y="f7"/>
                  </a:lnTo>
                  <a:lnTo>
                    <a:pt x="f6" y="f11"/>
                  </a:lnTo>
                  <a:lnTo>
                    <a:pt x="f12" y="f13"/>
                  </a:lnTo>
                  <a:lnTo>
                    <a:pt x="f8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7" name="Freeform 395">
              <a:extLst>
                <a:ext uri="{FF2B5EF4-FFF2-40B4-BE49-F238E27FC236}">
                  <a16:creationId xmlns:a16="http://schemas.microsoft.com/office/drawing/2014/main" id="{580A9E4C-18D6-C936-C79A-796391F71C79}"/>
                </a:ext>
              </a:extLst>
            </p:cNvPr>
            <p:cNvSpPr/>
            <p:nvPr/>
          </p:nvSpPr>
          <p:spPr>
            <a:xfrm>
              <a:off x="5981993" y="4761462"/>
              <a:ext cx="330006" cy="31916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6"/>
                <a:gd name="f7" fmla="val 252"/>
                <a:gd name="f8" fmla="val 126"/>
                <a:gd name="f9" fmla="val 144"/>
                <a:gd name="f10" fmla="val 156"/>
                <a:gd name="f11" fmla="val 162"/>
                <a:gd name="f12" fmla="val 108"/>
                <a:gd name="f13" fmla="val 168"/>
                <a:gd name="f14" fmla="val 102"/>
                <a:gd name="f15" fmla="val 174"/>
                <a:gd name="f16" fmla="val 36"/>
                <a:gd name="f17" fmla="val 222"/>
                <a:gd name="f18" fmla="val 24"/>
                <a:gd name="f19" fmla="val 240"/>
                <a:gd name="f20" fmla="val 18"/>
                <a:gd name="f21" fmla="val 234"/>
                <a:gd name="f22" fmla="val 12"/>
                <a:gd name="f23" fmla="val 210"/>
                <a:gd name="f24" fmla="val 216"/>
                <a:gd name="f25" fmla="val 114"/>
                <a:gd name="f26" fmla="val 30"/>
                <a:gd name="f27" fmla="val 6"/>
                <a:gd name="f28" fmla="val 42"/>
                <a:gd name="f29" fmla="val 48"/>
                <a:gd name="f30" fmla="val 60"/>
                <a:gd name="f31" fmla="val 90"/>
                <a:gd name="f32" fmla="val 96"/>
                <a:gd name="f33" fmla="+- 0 0 -90"/>
                <a:gd name="f34" fmla="*/ f3 1 246"/>
                <a:gd name="f35" fmla="*/ f4 1 252"/>
                <a:gd name="f36" fmla="val f5"/>
                <a:gd name="f37" fmla="val f6"/>
                <a:gd name="f38" fmla="val f7"/>
                <a:gd name="f39" fmla="*/ f33 f0 1"/>
                <a:gd name="f40" fmla="+- f38 0 f36"/>
                <a:gd name="f41" fmla="+- f37 0 f36"/>
                <a:gd name="f42" fmla="*/ f39 1 f2"/>
                <a:gd name="f43" fmla="*/ f41 1 246"/>
                <a:gd name="f44" fmla="*/ f40 1 252"/>
                <a:gd name="f45" fmla="*/ 2147483646 f41 1"/>
                <a:gd name="f46" fmla="*/ 2147483646 f40 1"/>
                <a:gd name="f47" fmla="*/ 0 f40 1"/>
                <a:gd name="f48" fmla="*/ 0 f41 1"/>
                <a:gd name="f49" fmla="+- f42 0 f1"/>
                <a:gd name="f50" fmla="*/ f45 1 246"/>
                <a:gd name="f51" fmla="*/ f46 1 252"/>
                <a:gd name="f52" fmla="*/ f47 1 252"/>
                <a:gd name="f53" fmla="*/ f48 1 246"/>
                <a:gd name="f54" fmla="*/ 0 1 f43"/>
                <a:gd name="f55" fmla="*/ f37 1 f43"/>
                <a:gd name="f56" fmla="*/ 0 1 f44"/>
                <a:gd name="f57" fmla="*/ f38 1 f44"/>
                <a:gd name="f58" fmla="*/ f50 1 f43"/>
                <a:gd name="f59" fmla="*/ f51 1 f44"/>
                <a:gd name="f60" fmla="*/ f52 1 f44"/>
                <a:gd name="f61" fmla="*/ f53 1 f43"/>
                <a:gd name="f62" fmla="*/ f54 f34 1"/>
                <a:gd name="f63" fmla="*/ f55 f34 1"/>
                <a:gd name="f64" fmla="*/ f57 f35 1"/>
                <a:gd name="f65" fmla="*/ f56 f35 1"/>
                <a:gd name="f66" fmla="*/ f58 f34 1"/>
                <a:gd name="f67" fmla="*/ f59 f35 1"/>
                <a:gd name="f68" fmla="*/ f60 f35 1"/>
                <a:gd name="f69" fmla="*/ f61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8"/>
                </a:cxn>
                <a:cxn ang="f49">
                  <a:pos x="f66" y="f67"/>
                </a:cxn>
                <a:cxn ang="f49">
                  <a:pos x="f69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</a:cxnLst>
              <a:rect l="f62" t="f65" r="f63" b="f64"/>
              <a:pathLst>
                <a:path w="246" h="252">
                  <a:moveTo>
                    <a:pt x="f8" y="f7"/>
                  </a:moveTo>
                  <a:lnTo>
                    <a:pt x="f9" y="f6"/>
                  </a:ln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6" y="f20"/>
                  </a:lnTo>
                  <a:lnTo>
                    <a:pt x="f21" y="f22"/>
                  </a:lnTo>
                  <a:lnTo>
                    <a:pt x="f23" y="f22"/>
                  </a:lnTo>
                  <a:lnTo>
                    <a:pt x="f24" y="f20"/>
                  </a:lnTo>
                  <a:lnTo>
                    <a:pt x="f23" y="f22"/>
                  </a:lnTo>
                  <a:lnTo>
                    <a:pt x="f15" y="f20"/>
                  </a:lnTo>
                  <a:lnTo>
                    <a:pt x="f8" y="f20"/>
                  </a:lnTo>
                  <a:lnTo>
                    <a:pt x="f25" y="f22"/>
                  </a:lnTo>
                  <a:lnTo>
                    <a:pt x="f26" y="f22"/>
                  </a:lnTo>
                  <a:lnTo>
                    <a:pt x="f20" y="f5"/>
                  </a:lnTo>
                  <a:lnTo>
                    <a:pt x="f27" y="f27"/>
                  </a:lnTo>
                  <a:lnTo>
                    <a:pt x="f5" y="f28"/>
                  </a:lnTo>
                  <a:lnTo>
                    <a:pt x="f28" y="f8"/>
                  </a:lnTo>
                  <a:lnTo>
                    <a:pt x="f29" y="f9"/>
                  </a:lnTo>
                  <a:lnTo>
                    <a:pt x="f30" y="f17"/>
                  </a:lnTo>
                  <a:lnTo>
                    <a:pt x="f31" y="f7"/>
                  </a:lnTo>
                  <a:lnTo>
                    <a:pt x="f32" y="f19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8" name="Freeform 396">
              <a:extLst>
                <a:ext uri="{FF2B5EF4-FFF2-40B4-BE49-F238E27FC236}">
                  <a16:creationId xmlns:a16="http://schemas.microsoft.com/office/drawing/2014/main" id="{355B980C-13E7-EE13-3143-3BB5BB9FAD5A}"/>
                </a:ext>
              </a:extLst>
            </p:cNvPr>
            <p:cNvSpPr/>
            <p:nvPr/>
          </p:nvSpPr>
          <p:spPr>
            <a:xfrm>
              <a:off x="5705899" y="3886491"/>
              <a:ext cx="81683" cy="918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"/>
                <a:gd name="f7" fmla="val 12"/>
                <a:gd name="f8" fmla="val 4"/>
                <a:gd name="f9" fmla="val 11"/>
                <a:gd name="f10" fmla="val 9"/>
                <a:gd name="f11" fmla="val 8"/>
                <a:gd name="f12" fmla="val 7"/>
                <a:gd name="f13" fmla="+- 0 0 -90"/>
                <a:gd name="f14" fmla="*/ f3 1 10"/>
                <a:gd name="f15" fmla="*/ f4 1 12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10"/>
                <a:gd name="f24" fmla="*/ f20 1 12"/>
                <a:gd name="f25" fmla="*/ 0 f21 1"/>
                <a:gd name="f26" fmla="*/ 2147483646 f20 1"/>
                <a:gd name="f27" fmla="*/ 2147483646 f21 1"/>
                <a:gd name="f28" fmla="*/ 0 f20 1"/>
                <a:gd name="f29" fmla="+- f22 0 f1"/>
                <a:gd name="f30" fmla="*/ f25 1 10"/>
                <a:gd name="f31" fmla="*/ f26 1 12"/>
                <a:gd name="f32" fmla="*/ f27 1 10"/>
                <a:gd name="f33" fmla="*/ f28 1 12"/>
                <a:gd name="f34" fmla="*/ 0 1 f23"/>
                <a:gd name="f35" fmla="*/ f17 1 f23"/>
                <a:gd name="f36" fmla="*/ 0 1 f24"/>
                <a:gd name="f37" fmla="*/ f18 1 f24"/>
                <a:gd name="f38" fmla="*/ f30 1 f23"/>
                <a:gd name="f39" fmla="*/ f31 1 f24"/>
                <a:gd name="f40" fmla="*/ f32 1 f23"/>
                <a:gd name="f41" fmla="*/ f33 1 f24"/>
                <a:gd name="f42" fmla="*/ f34 f14 1"/>
                <a:gd name="f43" fmla="*/ f35 f14 1"/>
                <a:gd name="f44" fmla="*/ f37 f15 1"/>
                <a:gd name="f45" fmla="*/ f36 f15 1"/>
                <a:gd name="f46" fmla="*/ f38 f14 1"/>
                <a:gd name="f47" fmla="*/ f39 f15 1"/>
                <a:gd name="f48" fmla="*/ f40 f14 1"/>
                <a:gd name="f49" fmla="*/ f41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46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9"/>
                </a:cxn>
              </a:cxnLst>
              <a:rect l="f42" t="f45" r="f43" b="f44"/>
              <a:pathLst>
                <a:path w="10" h="12">
                  <a:moveTo>
                    <a:pt x="f5" y="f7"/>
                  </a:moveTo>
                  <a:cubicBezTo>
                    <a:pt x="f8" y="f9"/>
                    <a:pt x="f8" y="f9"/>
                    <a:pt x="f8" y="f9"/>
                  </a:cubicBezTo>
                  <a:cubicBezTo>
                    <a:pt x="f10" y="f6"/>
                    <a:pt x="f10" y="f6"/>
                    <a:pt x="f10" y="f6"/>
                  </a:cubicBezTo>
                  <a:cubicBezTo>
                    <a:pt x="f10" y="f6"/>
                    <a:pt x="f6" y="f11"/>
                    <a:pt x="f6" y="f11"/>
                  </a:cubicBezTo>
                  <a:cubicBezTo>
                    <a:pt x="f6" y="f12"/>
                    <a:pt x="f6" y="f5"/>
                    <a:pt x="f6" y="f5"/>
                  </a:cubicBez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9" name="Freeform 397">
              <a:extLst>
                <a:ext uri="{FF2B5EF4-FFF2-40B4-BE49-F238E27FC236}">
                  <a16:creationId xmlns:a16="http://schemas.microsoft.com/office/drawing/2014/main" id="{67D53283-EFA3-FD02-BF98-7E563586505A}"/>
                </a:ext>
              </a:extLst>
            </p:cNvPr>
            <p:cNvSpPr/>
            <p:nvPr/>
          </p:nvSpPr>
          <p:spPr>
            <a:xfrm>
              <a:off x="1273674" y="1853213"/>
              <a:ext cx="695958" cy="9045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16"/>
                <a:gd name="f7" fmla="val 709"/>
                <a:gd name="f8" fmla="val 504"/>
                <a:gd name="f9" fmla="val 96"/>
                <a:gd name="f10" fmla="val 486"/>
                <a:gd name="f11" fmla="val 78"/>
                <a:gd name="f12" fmla="val 432"/>
                <a:gd name="f13" fmla="val 84"/>
                <a:gd name="f14" fmla="val 354"/>
                <a:gd name="f15" fmla="val 48"/>
                <a:gd name="f16" fmla="val 318"/>
                <a:gd name="f17" fmla="val 54"/>
                <a:gd name="f18" fmla="val 288"/>
                <a:gd name="f19" fmla="val 36"/>
                <a:gd name="f20" fmla="val 282"/>
                <a:gd name="f21" fmla="val 18"/>
                <a:gd name="f22" fmla="val 228"/>
                <a:gd name="f23" fmla="val 198"/>
                <a:gd name="f24" fmla="val 24"/>
                <a:gd name="f25" fmla="val 150"/>
                <a:gd name="f26" fmla="val 42"/>
                <a:gd name="f27" fmla="val 114"/>
                <a:gd name="f28" fmla="val 66"/>
                <a:gd name="f29" fmla="val 90"/>
                <a:gd name="f30" fmla="val 126"/>
                <a:gd name="f31" fmla="val 138"/>
                <a:gd name="f32" fmla="val 174"/>
                <a:gd name="f33" fmla="val 222"/>
                <a:gd name="f34" fmla="val 240"/>
                <a:gd name="f35" fmla="val 264"/>
                <a:gd name="f36" fmla="val 276"/>
                <a:gd name="f37" fmla="val 60"/>
                <a:gd name="f38" fmla="val 306"/>
                <a:gd name="f39" fmla="val 324"/>
                <a:gd name="f40" fmla="val 348"/>
                <a:gd name="f41" fmla="val 120"/>
                <a:gd name="f42" fmla="val 396"/>
                <a:gd name="f43" fmla="val 72"/>
                <a:gd name="f44" fmla="val 414"/>
                <a:gd name="f45" fmla="val 438"/>
                <a:gd name="f46" fmla="val 30"/>
                <a:gd name="f47" fmla="val 468"/>
                <a:gd name="f48" fmla="val 498"/>
                <a:gd name="f49" fmla="val 529"/>
                <a:gd name="f50" fmla="val 108"/>
                <a:gd name="f51" fmla="val 541"/>
                <a:gd name="f52" fmla="val 583"/>
                <a:gd name="f53" fmla="val 156"/>
                <a:gd name="f54" fmla="val 577"/>
                <a:gd name="f55" fmla="val 210"/>
                <a:gd name="f56" fmla="val 631"/>
                <a:gd name="f57" fmla="val 192"/>
                <a:gd name="f58" fmla="val 655"/>
                <a:gd name="f59" fmla="val 270"/>
                <a:gd name="f60" fmla="val 571"/>
                <a:gd name="f61" fmla="val 553"/>
                <a:gd name="f62" fmla="val 312"/>
                <a:gd name="f63" fmla="val 492"/>
                <a:gd name="f64" fmla="val 517"/>
                <a:gd name="f65" fmla="val 330"/>
                <a:gd name="f66" fmla="val 547"/>
                <a:gd name="f67" fmla="val 366"/>
                <a:gd name="f68" fmla="val 408"/>
                <a:gd name="f69" fmla="val 426"/>
                <a:gd name="f70" fmla="val 505"/>
                <a:gd name="f71" fmla="val 523"/>
                <a:gd name="f72" fmla="+- 0 0 -90"/>
                <a:gd name="f73" fmla="*/ f3 1 516"/>
                <a:gd name="f74" fmla="*/ f4 1 709"/>
                <a:gd name="f75" fmla="val f5"/>
                <a:gd name="f76" fmla="val f6"/>
                <a:gd name="f77" fmla="val f7"/>
                <a:gd name="f78" fmla="*/ f72 f0 1"/>
                <a:gd name="f79" fmla="+- f77 0 f75"/>
                <a:gd name="f80" fmla="+- f76 0 f75"/>
                <a:gd name="f81" fmla="*/ f78 1 f2"/>
                <a:gd name="f82" fmla="*/ f80 1 516"/>
                <a:gd name="f83" fmla="*/ f79 1 709"/>
                <a:gd name="f84" fmla="*/ 2147483646 f80 1"/>
                <a:gd name="f85" fmla="*/ 2147483646 f79 1"/>
                <a:gd name="f86" fmla="*/ 0 f79 1"/>
                <a:gd name="f87" fmla="*/ 0 f80 1"/>
                <a:gd name="f88" fmla="+- f81 0 f1"/>
                <a:gd name="f89" fmla="*/ f84 1 516"/>
                <a:gd name="f90" fmla="*/ f85 1 709"/>
                <a:gd name="f91" fmla="*/ f86 1 709"/>
                <a:gd name="f92" fmla="*/ f87 1 516"/>
                <a:gd name="f93" fmla="*/ 0 1 f82"/>
                <a:gd name="f94" fmla="*/ f76 1 f82"/>
                <a:gd name="f95" fmla="*/ 0 1 f83"/>
                <a:gd name="f96" fmla="*/ f77 1 f83"/>
                <a:gd name="f97" fmla="*/ f89 1 f82"/>
                <a:gd name="f98" fmla="*/ f90 1 f83"/>
                <a:gd name="f99" fmla="*/ f91 1 f83"/>
                <a:gd name="f100" fmla="*/ f92 1 f82"/>
                <a:gd name="f101" fmla="*/ f93 f73 1"/>
                <a:gd name="f102" fmla="*/ f94 f73 1"/>
                <a:gd name="f103" fmla="*/ f96 f74 1"/>
                <a:gd name="f104" fmla="*/ f95 f74 1"/>
                <a:gd name="f105" fmla="*/ f97 f73 1"/>
                <a:gd name="f106" fmla="*/ f98 f74 1"/>
                <a:gd name="f107" fmla="*/ f99 f74 1"/>
                <a:gd name="f108" fmla="*/ f100 f7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7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8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  <a:cxn ang="f88">
                  <a:pos x="f105" y="f106"/>
                </a:cxn>
              </a:cxnLst>
              <a:rect l="f101" t="f104" r="f102" b="f103"/>
              <a:pathLst>
                <a:path w="516" h="709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5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26" y="f31"/>
                  </a:lnTo>
                  <a:lnTo>
                    <a:pt x="f26" y="f32"/>
                  </a:lnTo>
                  <a:lnTo>
                    <a:pt x="f11" y="f33"/>
                  </a:lnTo>
                  <a:lnTo>
                    <a:pt x="f27" y="f34"/>
                  </a:lnTo>
                  <a:lnTo>
                    <a:pt x="f27" y="f35"/>
                  </a:lnTo>
                  <a:lnTo>
                    <a:pt x="f29" y="f36"/>
                  </a:lnTo>
                  <a:lnTo>
                    <a:pt x="f37" y="f35"/>
                  </a:lnTo>
                  <a:lnTo>
                    <a:pt x="f5" y="f38"/>
                  </a:lnTo>
                  <a:lnTo>
                    <a:pt x="f21" y="f39"/>
                  </a:lnTo>
                  <a:lnTo>
                    <a:pt x="f26" y="f40"/>
                  </a:lnTo>
                  <a:lnTo>
                    <a:pt x="f9" y="f40"/>
                  </a:lnTo>
                  <a:lnTo>
                    <a:pt x="f31" y="f14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19" y="f45"/>
                  </a:lnTo>
                  <a:lnTo>
                    <a:pt x="f46" y="f47"/>
                  </a:lnTo>
                  <a:lnTo>
                    <a:pt x="f43" y="f48"/>
                  </a:lnTo>
                  <a:lnTo>
                    <a:pt x="f11" y="f49"/>
                  </a:lnTo>
                  <a:lnTo>
                    <a:pt x="f50" y="f51"/>
                  </a:lnTo>
                  <a:lnTo>
                    <a:pt x="f27" y="f52"/>
                  </a:lnTo>
                  <a:lnTo>
                    <a:pt x="f53" y="f54"/>
                  </a:lnTo>
                  <a:lnTo>
                    <a:pt x="f55" y="f54"/>
                  </a:lnTo>
                  <a:lnTo>
                    <a:pt x="f2" y="f56"/>
                  </a:lnTo>
                  <a:lnTo>
                    <a:pt x="f29" y="f7"/>
                  </a:lnTo>
                  <a:lnTo>
                    <a:pt x="f57" y="f58"/>
                  </a:lnTo>
                  <a:lnTo>
                    <a:pt x="f59" y="f60"/>
                  </a:lnTo>
                  <a:lnTo>
                    <a:pt x="f35" y="f61"/>
                  </a:lnTo>
                  <a:lnTo>
                    <a:pt x="f62" y="f63"/>
                  </a:lnTo>
                  <a:lnTo>
                    <a:pt x="f39" y="f64"/>
                  </a:lnTo>
                  <a:lnTo>
                    <a:pt x="f65" y="f66"/>
                  </a:lnTo>
                  <a:lnTo>
                    <a:pt x="f67" y="f64"/>
                  </a:lnTo>
                  <a:lnTo>
                    <a:pt x="f68" y="f63"/>
                  </a:lnTo>
                  <a:lnTo>
                    <a:pt x="f69" y="f70"/>
                  </a:lnTo>
                  <a:lnTo>
                    <a:pt x="f6" y="f71"/>
                  </a:lnTo>
                  <a:lnTo>
                    <a:pt x="f6" y="f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0" name="Freeform 400">
              <a:extLst>
                <a:ext uri="{FF2B5EF4-FFF2-40B4-BE49-F238E27FC236}">
                  <a16:creationId xmlns:a16="http://schemas.microsoft.com/office/drawing/2014/main" id="{559AADC0-B50D-88FF-95C1-468AA8738CED}"/>
                </a:ext>
              </a:extLst>
            </p:cNvPr>
            <p:cNvSpPr/>
            <p:nvPr/>
          </p:nvSpPr>
          <p:spPr>
            <a:xfrm>
              <a:off x="3323969" y="3989243"/>
              <a:ext cx="114364" cy="11053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"/>
                <a:gd name="f7" fmla="val 12"/>
                <a:gd name="f8" fmla="val 13"/>
                <a:gd name="f9" fmla="val 11"/>
                <a:gd name="f10" fmla="val 7"/>
                <a:gd name="f11" fmla="val 3"/>
                <a:gd name="f12" fmla="val 6"/>
                <a:gd name="f13" fmla="val 5"/>
                <a:gd name="f14" fmla="val 9"/>
                <a:gd name="f15" fmla="+- 0 0 -90"/>
                <a:gd name="f16" fmla="*/ f3 1 14"/>
                <a:gd name="f17" fmla="*/ f4 1 14"/>
                <a:gd name="f18" fmla="val f5"/>
                <a:gd name="f19" fmla="val f6"/>
                <a:gd name="f20" fmla="*/ f15 f0 1"/>
                <a:gd name="f21" fmla="+- f19 0 f18"/>
                <a:gd name="f22" fmla="*/ f20 1 f2"/>
                <a:gd name="f23" fmla="*/ f21 1 14"/>
                <a:gd name="f24" fmla="*/ 2147483646 f21 1"/>
                <a:gd name="f25" fmla="*/ 0 f21 1"/>
                <a:gd name="f26" fmla="+- f22 0 f1"/>
                <a:gd name="f27" fmla="*/ f24 1 14"/>
                <a:gd name="f28" fmla="*/ f25 1 14"/>
                <a:gd name="f29" fmla="*/ 0 1 f23"/>
                <a:gd name="f30" fmla="*/ f19 1 f23"/>
                <a:gd name="f31" fmla="*/ f27 1 f23"/>
                <a:gd name="f32" fmla="*/ f28 1 f23"/>
                <a:gd name="f33" fmla="*/ f29 f16 1"/>
                <a:gd name="f34" fmla="*/ f30 f16 1"/>
                <a:gd name="f35" fmla="*/ f30 f17 1"/>
                <a:gd name="f36" fmla="*/ f29 f17 1"/>
                <a:gd name="f37" fmla="*/ f31 f16 1"/>
                <a:gd name="f38" fmla="*/ f31 f17 1"/>
                <a:gd name="f39" fmla="*/ f32 f17 1"/>
                <a:gd name="f40" fmla="*/ f32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6">
                  <a:pos x="f37" y="f38"/>
                </a:cxn>
                <a:cxn ang="f26">
                  <a:pos x="f37" y="f38"/>
                </a:cxn>
                <a:cxn ang="f26">
                  <a:pos x="f37" y="f39"/>
                </a:cxn>
                <a:cxn ang="f26">
                  <a:pos x="f37" y="f38"/>
                </a:cxn>
                <a:cxn ang="f26">
                  <a:pos x="f40" y="f38"/>
                </a:cxn>
                <a:cxn ang="f26">
                  <a:pos x="f37" y="f38"/>
                </a:cxn>
                <a:cxn ang="f26">
                  <a:pos x="f37" y="f38"/>
                </a:cxn>
                <a:cxn ang="f26">
                  <a:pos x="f37" y="f38"/>
                </a:cxn>
              </a:cxnLst>
              <a:rect l="f33" t="f36" r="f34" b="f35"/>
              <a:pathLst>
                <a:path w="14" h="14">
                  <a:moveTo>
                    <a:pt x="f6" y="f6"/>
                  </a:moveTo>
                  <a:cubicBezTo>
                    <a:pt x="f6" y="f7"/>
                    <a:pt x="f8" y="f9"/>
                    <a:pt x="f8" y="f9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5" y="f12"/>
                    <a:pt x="f5" y="f12"/>
                    <a:pt x="f5" y="f12"/>
                  </a:cubicBezTo>
                  <a:cubicBezTo>
                    <a:pt x="f13" y="f6"/>
                    <a:pt x="f13" y="f6"/>
                    <a:pt x="f13" y="f6"/>
                  </a:cubicBezTo>
                  <a:cubicBezTo>
                    <a:pt x="f14" y="f8"/>
                    <a:pt x="f14" y="f8"/>
                    <a:pt x="f14" y="f8"/>
                  </a:cubicBezTo>
                  <a:lnTo>
                    <a:pt x="f6" y="f6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1" name="Freeform 401">
              <a:extLst>
                <a:ext uri="{FF2B5EF4-FFF2-40B4-BE49-F238E27FC236}">
                  <a16:creationId xmlns:a16="http://schemas.microsoft.com/office/drawing/2014/main" id="{94C5ED8F-635A-E5D0-6E6C-F93E2F9AC209}"/>
                </a:ext>
              </a:extLst>
            </p:cNvPr>
            <p:cNvSpPr/>
            <p:nvPr/>
          </p:nvSpPr>
          <p:spPr>
            <a:xfrm>
              <a:off x="3364806" y="4090448"/>
              <a:ext cx="98023" cy="68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"/>
                <a:gd name="f7" fmla="val 9"/>
                <a:gd name="f8" fmla="val 1"/>
                <a:gd name="f9" fmla="val 4"/>
                <a:gd name="f10" fmla="val 2"/>
                <a:gd name="f11" fmla="val 3"/>
                <a:gd name="f12" fmla="val 11"/>
                <a:gd name="f13" fmla="val 5"/>
                <a:gd name="f14" fmla="val 10"/>
                <a:gd name="f15" fmla="+- 0 0 -90"/>
                <a:gd name="f16" fmla="*/ f3 1 12"/>
                <a:gd name="f17" fmla="*/ f4 1 9"/>
                <a:gd name="f18" fmla="val f5"/>
                <a:gd name="f19" fmla="val f6"/>
                <a:gd name="f20" fmla="val f7"/>
                <a:gd name="f21" fmla="*/ f15 f0 1"/>
                <a:gd name="f22" fmla="+- f20 0 f18"/>
                <a:gd name="f23" fmla="+- f19 0 f18"/>
                <a:gd name="f24" fmla="*/ f21 1 f2"/>
                <a:gd name="f25" fmla="*/ f23 1 12"/>
                <a:gd name="f26" fmla="*/ f22 1 9"/>
                <a:gd name="f27" fmla="*/ 2147483646 f23 1"/>
                <a:gd name="f28" fmla="*/ 2147483646 f22 1"/>
                <a:gd name="f29" fmla="*/ 0 f22 1"/>
                <a:gd name="f30" fmla="*/ 0 f23 1"/>
                <a:gd name="f31" fmla="+- f24 0 f1"/>
                <a:gd name="f32" fmla="*/ f27 1 12"/>
                <a:gd name="f33" fmla="*/ f28 1 9"/>
                <a:gd name="f34" fmla="*/ f29 1 9"/>
                <a:gd name="f35" fmla="*/ f30 1 12"/>
                <a:gd name="f36" fmla="*/ 0 1 f25"/>
                <a:gd name="f37" fmla="*/ f19 1 f25"/>
                <a:gd name="f38" fmla="*/ 0 1 f26"/>
                <a:gd name="f39" fmla="*/ f20 1 f26"/>
                <a:gd name="f40" fmla="*/ f32 1 f25"/>
                <a:gd name="f41" fmla="*/ f33 1 f26"/>
                <a:gd name="f42" fmla="*/ f34 1 f26"/>
                <a:gd name="f43" fmla="*/ f35 1 f25"/>
                <a:gd name="f44" fmla="*/ f36 f16 1"/>
                <a:gd name="f45" fmla="*/ f37 f16 1"/>
                <a:gd name="f46" fmla="*/ f39 f17 1"/>
                <a:gd name="f47" fmla="*/ f38 f17 1"/>
                <a:gd name="f48" fmla="*/ f40 f16 1"/>
                <a:gd name="f49" fmla="*/ f41 f17 1"/>
                <a:gd name="f50" fmla="*/ f42 f17 1"/>
                <a:gd name="f51" fmla="*/ f4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1">
                  <a:pos x="f48" y="f49"/>
                </a:cxn>
                <a:cxn ang="f31">
                  <a:pos x="f48" y="f50"/>
                </a:cxn>
                <a:cxn ang="f31">
                  <a:pos x="f51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</a:cxnLst>
              <a:rect l="f44" t="f47" r="f45" b="f46"/>
              <a:pathLst>
                <a:path w="12" h="9">
                  <a:moveTo>
                    <a:pt x="f7" y="f8"/>
                  </a:moveTo>
                  <a:cubicBezTo>
                    <a:pt x="f9" y="f5"/>
                    <a:pt x="f9" y="f5"/>
                    <a:pt x="f9" y="f5"/>
                  </a:cubicBezTo>
                  <a:cubicBezTo>
                    <a:pt x="f5" y="f8"/>
                    <a:pt x="f5" y="f8"/>
                    <a:pt x="f5" y="f8"/>
                  </a:cubicBezTo>
                  <a:cubicBezTo>
                    <a:pt x="f10" y="f11"/>
                    <a:pt x="f10" y="f11"/>
                    <a:pt x="f10" y="f11"/>
                  </a:cubicBezTo>
                  <a:cubicBezTo>
                    <a:pt x="f12" y="f7"/>
                    <a:pt x="f12" y="f7"/>
                    <a:pt x="f12" y="f7"/>
                  </a:cubicBezTo>
                  <a:cubicBezTo>
                    <a:pt x="f6" y="f13"/>
                    <a:pt x="f6" y="f13"/>
                    <a:pt x="f6" y="f13"/>
                  </a:cubicBezTo>
                  <a:cubicBezTo>
                    <a:pt x="f12" y="f9"/>
                    <a:pt x="f14" y="f10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2" name="Freeform 422">
              <a:extLst>
                <a:ext uri="{FF2B5EF4-FFF2-40B4-BE49-F238E27FC236}">
                  <a16:creationId xmlns:a16="http://schemas.microsoft.com/office/drawing/2014/main" id="{29BD6E8B-5002-3587-EE55-A0BAE3539209}"/>
                </a:ext>
              </a:extLst>
            </p:cNvPr>
            <p:cNvSpPr/>
            <p:nvPr/>
          </p:nvSpPr>
          <p:spPr>
            <a:xfrm>
              <a:off x="3283123" y="3967452"/>
              <a:ext cx="155201" cy="68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"/>
                <a:gd name="f7" fmla="val 9"/>
                <a:gd name="f8" fmla="val 3"/>
                <a:gd name="f9" fmla="val 10"/>
                <a:gd name="f10" fmla="val 1"/>
                <a:gd name="f11" fmla="val 8"/>
                <a:gd name="f12" fmla="val 7"/>
                <a:gd name="f13" fmla="val 6"/>
                <a:gd name="f14" fmla="val 5"/>
                <a:gd name="f15" fmla="val 12"/>
                <a:gd name="f16" fmla="+- 0 0 -90"/>
                <a:gd name="f17" fmla="*/ f3 1 19"/>
                <a:gd name="f18" fmla="*/ f4 1 9"/>
                <a:gd name="f19" fmla="val f5"/>
                <a:gd name="f20" fmla="val f6"/>
                <a:gd name="f21" fmla="val f7"/>
                <a:gd name="f22" fmla="*/ f16 f0 1"/>
                <a:gd name="f23" fmla="+- f21 0 f19"/>
                <a:gd name="f24" fmla="+- f20 0 f19"/>
                <a:gd name="f25" fmla="*/ f22 1 f2"/>
                <a:gd name="f26" fmla="*/ f24 1 19"/>
                <a:gd name="f27" fmla="*/ f23 1 9"/>
                <a:gd name="f28" fmla="*/ 2147483646 f24 1"/>
                <a:gd name="f29" fmla="*/ 2147483646 f23 1"/>
                <a:gd name="f30" fmla="*/ 0 f23 1"/>
                <a:gd name="f31" fmla="*/ 0 f24 1"/>
                <a:gd name="f32" fmla="+- f25 0 f1"/>
                <a:gd name="f33" fmla="*/ f28 1 19"/>
                <a:gd name="f34" fmla="*/ f29 1 9"/>
                <a:gd name="f35" fmla="*/ f30 1 9"/>
                <a:gd name="f36" fmla="*/ f31 1 19"/>
                <a:gd name="f37" fmla="*/ 0 1 f26"/>
                <a:gd name="f38" fmla="*/ f20 1 f26"/>
                <a:gd name="f39" fmla="*/ 0 1 f27"/>
                <a:gd name="f40" fmla="*/ f21 1 f27"/>
                <a:gd name="f41" fmla="*/ f33 1 f26"/>
                <a:gd name="f42" fmla="*/ f34 1 f27"/>
                <a:gd name="f43" fmla="*/ f35 1 f27"/>
                <a:gd name="f44" fmla="*/ f36 1 f26"/>
                <a:gd name="f45" fmla="*/ f37 f17 1"/>
                <a:gd name="f46" fmla="*/ f38 f17 1"/>
                <a:gd name="f47" fmla="*/ f40 f18 1"/>
                <a:gd name="f48" fmla="*/ f39 f18 1"/>
                <a:gd name="f49" fmla="*/ f41 f17 1"/>
                <a:gd name="f50" fmla="*/ f42 f18 1"/>
                <a:gd name="f51" fmla="*/ f43 f18 1"/>
                <a:gd name="f52" fmla="*/ f44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1"/>
                </a:cxn>
                <a:cxn ang="f32">
                  <a:pos x="f49" y="f50"/>
                </a:cxn>
                <a:cxn ang="f32">
                  <a:pos x="f52" y="f50"/>
                </a:cxn>
                <a:cxn ang="f32">
                  <a:pos x="f52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</a:cxnLst>
              <a:rect l="f45" t="f48" r="f46" b="f47"/>
              <a:pathLst>
                <a:path w="19" h="9">
                  <a:moveTo>
                    <a:pt x="f6" y="f8"/>
                  </a:moveTo>
                  <a:cubicBezTo>
                    <a:pt x="f6" y="f8"/>
                    <a:pt x="f9" y="f10"/>
                    <a:pt x="f11" y="f10"/>
                  </a:cubicBezTo>
                  <a:cubicBezTo>
                    <a:pt x="f12" y="f10"/>
                    <a:pt x="f13" y="f5"/>
                    <a:pt x="f14" y="f5"/>
                  </a:cubicBezTo>
                  <a:cubicBezTo>
                    <a:pt x="f10" y="f8"/>
                    <a:pt x="f10" y="f8"/>
                    <a:pt x="f10" y="f8"/>
                  </a:cubicBezTo>
                  <a:cubicBezTo>
                    <a:pt x="f5" y="f13"/>
                    <a:pt x="f5" y="f13"/>
                    <a:pt x="f5" y="f13"/>
                  </a:cubicBezTo>
                  <a:cubicBezTo>
                    <a:pt x="f5" y="f13"/>
                    <a:pt x="f5" y="f13"/>
                    <a:pt x="f5" y="f13"/>
                  </a:cubicBezTo>
                  <a:cubicBezTo>
                    <a:pt x="f14" y="f7"/>
                    <a:pt x="f14" y="f7"/>
                    <a:pt x="f14" y="f7"/>
                  </a:cubicBezTo>
                  <a:cubicBezTo>
                    <a:pt x="f15" y="f13"/>
                    <a:pt x="f15" y="f13"/>
                    <a:pt x="f15" y="f13"/>
                  </a:cubicBez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3" name="Freeform 425">
              <a:extLst>
                <a:ext uri="{FF2B5EF4-FFF2-40B4-BE49-F238E27FC236}">
                  <a16:creationId xmlns:a16="http://schemas.microsoft.com/office/drawing/2014/main" id="{9370DA3D-EB49-35EF-2384-1ACE5288323E}"/>
                </a:ext>
              </a:extLst>
            </p:cNvPr>
            <p:cNvSpPr/>
            <p:nvPr/>
          </p:nvSpPr>
          <p:spPr>
            <a:xfrm rot="20747696">
              <a:off x="3843477" y="1582314"/>
              <a:ext cx="836447" cy="87963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125"/>
                <a:gd name="f7" fmla="val 2047"/>
                <a:gd name="f8" fmla="val 718"/>
                <a:gd name="f9" fmla="val 105"/>
                <a:gd name="f10" fmla="val 722"/>
                <a:gd name="f11" fmla="val 102"/>
                <a:gd name="f12" fmla="val 730"/>
                <a:gd name="f13" fmla="val 95"/>
                <a:gd name="f14" fmla="val 740"/>
                <a:gd name="f15" fmla="val 83"/>
                <a:gd name="f16" fmla="val 751"/>
                <a:gd name="f17" fmla="val 70"/>
                <a:gd name="f18" fmla="val 760"/>
                <a:gd name="f19" fmla="val 58"/>
                <a:gd name="f20" fmla="val 764"/>
                <a:gd name="f21" fmla="val 46"/>
                <a:gd name="f22" fmla="val 761"/>
                <a:gd name="f23" fmla="val 37"/>
                <a:gd name="f24" fmla="val 748"/>
                <a:gd name="f25" fmla="val 32"/>
                <a:gd name="f26" fmla="val 735"/>
                <a:gd name="f27" fmla="val 30"/>
                <a:gd name="f28" fmla="val 725"/>
                <a:gd name="f29" fmla="val 27"/>
                <a:gd name="f30" fmla="val 716"/>
                <a:gd name="f31" fmla="val 22"/>
                <a:gd name="f32" fmla="val 708"/>
                <a:gd name="f33" fmla="val 17"/>
                <a:gd name="f34" fmla="val 700"/>
                <a:gd name="f35" fmla="val 13"/>
                <a:gd name="f36" fmla="val 693"/>
                <a:gd name="f37" fmla="val 8"/>
                <a:gd name="f38" fmla="val 686"/>
                <a:gd name="f39" fmla="val 4"/>
                <a:gd name="f40" fmla="val 678"/>
                <a:gd name="f41" fmla="val 1"/>
                <a:gd name="f42" fmla="val 672"/>
                <a:gd name="f43" fmla="val 665"/>
                <a:gd name="f44" fmla="val 658"/>
                <a:gd name="f45" fmla="val 651"/>
                <a:gd name="f46" fmla="val 2"/>
                <a:gd name="f47" fmla="val 633"/>
                <a:gd name="f48" fmla="val 7"/>
                <a:gd name="f49" fmla="val 610"/>
                <a:gd name="f50" fmla="val 583"/>
                <a:gd name="f51" fmla="val 19"/>
                <a:gd name="f52" fmla="val 558"/>
                <a:gd name="f53" fmla="val 25"/>
                <a:gd name="f54" fmla="val 534"/>
                <a:gd name="f55" fmla="val 34"/>
                <a:gd name="f56" fmla="val 512"/>
                <a:gd name="f57" fmla="val 42"/>
                <a:gd name="f58" fmla="val 496"/>
                <a:gd name="f59" fmla="val 52"/>
                <a:gd name="f60" fmla="val 487"/>
                <a:gd name="f61" fmla="val 62"/>
                <a:gd name="f62" fmla="val 483"/>
                <a:gd name="f63" fmla="val 74"/>
                <a:gd name="f64" fmla="val 478"/>
                <a:gd name="f65" fmla="val 84"/>
                <a:gd name="f66" fmla="val 474"/>
                <a:gd name="f67" fmla="val 93"/>
                <a:gd name="f68" fmla="val 468"/>
                <a:gd name="f69" fmla="val 461"/>
                <a:gd name="f70" fmla="val 107"/>
                <a:gd name="f71" fmla="val 452"/>
                <a:gd name="f72" fmla="val 110"/>
                <a:gd name="f73" fmla="val 440"/>
                <a:gd name="f74" fmla="val 426"/>
                <a:gd name="f75" fmla="val 409"/>
                <a:gd name="f76" fmla="val 100"/>
                <a:gd name="f77" fmla="val 391"/>
                <a:gd name="f78" fmla="val 98"/>
                <a:gd name="f79" fmla="val 371"/>
                <a:gd name="f80" fmla="val 351"/>
                <a:gd name="f81" fmla="val 334"/>
                <a:gd name="f82" fmla="val 112"/>
                <a:gd name="f83" fmla="val 319"/>
                <a:gd name="f84" fmla="val 120"/>
                <a:gd name="f85" fmla="val 306"/>
                <a:gd name="f86" fmla="val 130"/>
                <a:gd name="f87" fmla="val 300"/>
                <a:gd name="f88" fmla="val 141"/>
                <a:gd name="f89" fmla="val 291"/>
                <a:gd name="f90" fmla="val 151"/>
                <a:gd name="f91" fmla="val 278"/>
                <a:gd name="f92" fmla="val 161"/>
                <a:gd name="f93" fmla="val 260"/>
                <a:gd name="f94" fmla="val 172"/>
                <a:gd name="f95" fmla="val 241"/>
                <a:gd name="f96" fmla="val 182"/>
                <a:gd name="f97" fmla="val 221"/>
                <a:gd name="f98" fmla="val 194"/>
                <a:gd name="f99" fmla="val 204"/>
                <a:gd name="f100" fmla="val 208"/>
                <a:gd name="f101" fmla="val 191"/>
                <a:gd name="f102" fmla="val 224"/>
                <a:gd name="f103" fmla="val 184"/>
                <a:gd name="f104" fmla="val 242"/>
                <a:gd name="f105" fmla="val 261"/>
                <a:gd name="f106" fmla="val 277"/>
                <a:gd name="f107" fmla="val 160"/>
                <a:gd name="f108" fmla="val 289"/>
                <a:gd name="f109" fmla="val 146"/>
                <a:gd name="f110" fmla="val 299"/>
                <a:gd name="f111" fmla="val 305"/>
                <a:gd name="f112" fmla="val 113"/>
                <a:gd name="f113" fmla="val 311"/>
                <a:gd name="f114" fmla="val 94"/>
                <a:gd name="f115" fmla="val 314"/>
                <a:gd name="f116" fmla="val 76"/>
                <a:gd name="f117" fmla="val 315"/>
                <a:gd name="f118" fmla="val 59"/>
                <a:gd name="f119" fmla="val 316"/>
                <a:gd name="f120" fmla="val 44"/>
                <a:gd name="f121" fmla="val 31"/>
                <a:gd name="f122" fmla="val 325"/>
                <a:gd name="f123" fmla="val 332"/>
                <a:gd name="f124" fmla="val 16"/>
                <a:gd name="f125" fmla="val 342"/>
                <a:gd name="f126" fmla="val 355"/>
                <a:gd name="f127" fmla="val 11"/>
                <a:gd name="f128" fmla="val 369"/>
                <a:gd name="f129" fmla="val 15"/>
                <a:gd name="f130" fmla="val 386"/>
                <a:gd name="f131" fmla="val 402"/>
                <a:gd name="f132" fmla="val 415"/>
                <a:gd name="f133" fmla="val 425"/>
                <a:gd name="f134" fmla="val 9"/>
                <a:gd name="f135" fmla="val 434"/>
                <a:gd name="f136" fmla="val 444"/>
                <a:gd name="f137" fmla="val 454"/>
                <a:gd name="f138" fmla="val 466"/>
                <a:gd name="f139" fmla="val 482"/>
                <a:gd name="f140" fmla="val 499"/>
                <a:gd name="f141" fmla="val 515"/>
                <a:gd name="f142" fmla="val 18"/>
                <a:gd name="f143" fmla="val 530"/>
                <a:gd name="f144" fmla="val 543"/>
                <a:gd name="f145" fmla="val 553"/>
                <a:gd name="f146" fmla="val 45"/>
                <a:gd name="f147" fmla="val 562"/>
                <a:gd name="f148" fmla="val 568"/>
                <a:gd name="f149" fmla="val 572"/>
                <a:gd name="f150" fmla="val 575"/>
                <a:gd name="f151" fmla="val 579"/>
                <a:gd name="f152" fmla="val 584"/>
                <a:gd name="f153" fmla="val 145"/>
                <a:gd name="f154" fmla="val 593"/>
                <a:gd name="f155" fmla="val 159"/>
                <a:gd name="f156" fmla="val 605"/>
                <a:gd name="f157" fmla="val 169"/>
                <a:gd name="f158" fmla="val 621"/>
                <a:gd name="f159" fmla="val 176"/>
                <a:gd name="f160" fmla="val 642"/>
                <a:gd name="f161" fmla="val 179"/>
                <a:gd name="f162" fmla="val 668"/>
                <a:gd name="f163" fmla="val 181"/>
                <a:gd name="f164" fmla="val 695"/>
                <a:gd name="f165" fmla="val 185"/>
                <a:gd name="f166" fmla="val 198"/>
                <a:gd name="f167" fmla="val 762"/>
                <a:gd name="f168" fmla="val 203"/>
                <a:gd name="f169" fmla="val 785"/>
                <a:gd name="f170" fmla="val 206"/>
                <a:gd name="f171" fmla="val 810"/>
                <a:gd name="f172" fmla="val 207"/>
                <a:gd name="f173" fmla="val 841"/>
                <a:gd name="f174" fmla="val 878"/>
                <a:gd name="f175" fmla="val 196"/>
                <a:gd name="f176" fmla="val 915"/>
                <a:gd name="f177" fmla="val 190"/>
                <a:gd name="f178" fmla="val 945"/>
                <a:gd name="f179" fmla="val 968"/>
                <a:gd name="f180" fmla="val 986"/>
                <a:gd name="f181" fmla="val 999"/>
                <a:gd name="f182" fmla="val 1009"/>
                <a:gd name="f183" fmla="val 1016"/>
                <a:gd name="f184" fmla="val 1022"/>
                <a:gd name="f185" fmla="val 200"/>
                <a:gd name="f186" fmla="val 1028"/>
                <a:gd name="f187" fmla="val 210"/>
                <a:gd name="f188" fmla="val 1034"/>
                <a:gd name="f189" fmla="val 218"/>
                <a:gd name="f190" fmla="val 1042"/>
                <a:gd name="f191" fmla="val 225"/>
                <a:gd name="f192" fmla="val 1050"/>
                <a:gd name="f193" fmla="val 227"/>
                <a:gd name="f194" fmla="val 1057"/>
                <a:gd name="f195" fmla="val 1062"/>
                <a:gd name="f196" fmla="val 217"/>
                <a:gd name="f197" fmla="val 1067"/>
                <a:gd name="f198" fmla="val 1068"/>
                <a:gd name="f199" fmla="val 189"/>
                <a:gd name="f200" fmla="val 1070"/>
                <a:gd name="f201" fmla="val 183"/>
                <a:gd name="f202" fmla="val 1075"/>
                <a:gd name="f203" fmla="val 1082"/>
                <a:gd name="f204" fmla="val 188"/>
                <a:gd name="f205" fmla="val 1089"/>
                <a:gd name="f206" fmla="val 1097"/>
                <a:gd name="f207" fmla="val 1104"/>
                <a:gd name="f208" fmla="val 1108"/>
                <a:gd name="f209" fmla="val 1111"/>
                <a:gd name="f210" fmla="val 1110"/>
                <a:gd name="f211" fmla="val 162"/>
                <a:gd name="f212" fmla="val 1115"/>
                <a:gd name="f213" fmla="val 157"/>
                <a:gd name="f214" fmla="val 1123"/>
                <a:gd name="f215" fmla="val 154"/>
                <a:gd name="f216" fmla="val 1135"/>
                <a:gd name="f217" fmla="val 1149"/>
                <a:gd name="f218" fmla="val 164"/>
                <a:gd name="f219" fmla="val 1163"/>
                <a:gd name="f220" fmla="val 173"/>
                <a:gd name="f221" fmla="val 1176"/>
                <a:gd name="f222" fmla="val 1187"/>
                <a:gd name="f223" fmla="val 1196"/>
                <a:gd name="f224" fmla="val 1201"/>
                <a:gd name="f225" fmla="val 219"/>
                <a:gd name="f226" fmla="val 1195"/>
                <a:gd name="f227" fmla="val 234"/>
                <a:gd name="f228" fmla="val 1186"/>
                <a:gd name="f229" fmla="val 238"/>
                <a:gd name="f230" fmla="val 1178"/>
                <a:gd name="f231" fmla="val 244"/>
                <a:gd name="f232" fmla="val 1171"/>
                <a:gd name="f233" fmla="val 249"/>
                <a:gd name="f234" fmla="val 1165"/>
                <a:gd name="f235" fmla="val 252"/>
                <a:gd name="f236" fmla="val 1161"/>
                <a:gd name="f237" fmla="val 258"/>
                <a:gd name="f238" fmla="val 1158"/>
                <a:gd name="f239" fmla="val 263"/>
                <a:gd name="f240" fmla="val 270"/>
                <a:gd name="f241" fmla="val 1159"/>
                <a:gd name="f242" fmla="val 1174"/>
                <a:gd name="f243" fmla="val 275"/>
                <a:gd name="f244" fmla="val 1202"/>
                <a:gd name="f245" fmla="val 267"/>
                <a:gd name="f246" fmla="val 1233"/>
                <a:gd name="f247" fmla="val 1255"/>
                <a:gd name="f248" fmla="val 1261"/>
                <a:gd name="f249" fmla="val 1265"/>
                <a:gd name="f250" fmla="val 1270"/>
                <a:gd name="f251" fmla="val 223"/>
                <a:gd name="f252" fmla="val 1273"/>
                <a:gd name="f253" fmla="val 212"/>
                <a:gd name="f254" fmla="val 1279"/>
                <a:gd name="f255" fmla="val 202"/>
                <a:gd name="f256" fmla="val 1285"/>
                <a:gd name="f257" fmla="val 192"/>
                <a:gd name="f258" fmla="val 1292"/>
                <a:gd name="f259" fmla="val 1302"/>
                <a:gd name="f260" fmla="val 177"/>
                <a:gd name="f261" fmla="val 1318"/>
                <a:gd name="f262" fmla="val 1340"/>
                <a:gd name="f263" fmla="val 1369"/>
                <a:gd name="f264" fmla="val 1399"/>
                <a:gd name="f265" fmla="val 149"/>
                <a:gd name="f266" fmla="val 1430"/>
                <a:gd name="f267" fmla="val 144"/>
                <a:gd name="f268" fmla="val 1459"/>
                <a:gd name="f269" fmla="val 142"/>
                <a:gd name="f270" fmla="val 1483"/>
                <a:gd name="f271" fmla="val 143"/>
                <a:gd name="f272" fmla="val 1500"/>
                <a:gd name="f273" fmla="val 1514"/>
                <a:gd name="f274" fmla="val 153"/>
                <a:gd name="f275" fmla="val 1530"/>
                <a:gd name="f276" fmla="val 1547"/>
                <a:gd name="f277" fmla="val 168"/>
                <a:gd name="f278" fmla="val 1566"/>
                <a:gd name="f279" fmla="val 174"/>
                <a:gd name="f280" fmla="val 1585"/>
                <a:gd name="f281" fmla="val 1606"/>
                <a:gd name="f282" fmla="val 1628"/>
                <a:gd name="f283" fmla="val 1650"/>
                <a:gd name="f284" fmla="val 1672"/>
                <a:gd name="f285" fmla="val 1694"/>
                <a:gd name="f286" fmla="val 1714"/>
                <a:gd name="f287" fmla="val 1735"/>
                <a:gd name="f288" fmla="val 1754"/>
                <a:gd name="f289" fmla="val 1772"/>
                <a:gd name="f290" fmla="val 1791"/>
                <a:gd name="f291" fmla="val 1807"/>
                <a:gd name="f292" fmla="val 235"/>
                <a:gd name="f293" fmla="val 1825"/>
                <a:gd name="f294" fmla="val 245"/>
                <a:gd name="f295" fmla="val 1847"/>
                <a:gd name="f296" fmla="val 257"/>
                <a:gd name="f297" fmla="val 1872"/>
                <a:gd name="f298" fmla="val 1897"/>
                <a:gd name="f299" fmla="val 283"/>
                <a:gd name="f300" fmla="val 1918"/>
                <a:gd name="f301" fmla="val 1937"/>
                <a:gd name="f302" fmla="val 1948"/>
                <a:gd name="f303" fmla="val 331"/>
                <a:gd name="f304" fmla="val 1951"/>
                <a:gd name="f305" fmla="val 346"/>
                <a:gd name="f306" fmla="val 1950"/>
                <a:gd name="f307" fmla="val 358"/>
                <a:gd name="f308" fmla="val 1953"/>
                <a:gd name="f309" fmla="val 370"/>
                <a:gd name="f310" fmla="val 1959"/>
                <a:gd name="f311" fmla="val 379"/>
                <a:gd name="f312" fmla="val 1967"/>
                <a:gd name="f313" fmla="val 1977"/>
                <a:gd name="f314" fmla="val 392"/>
                <a:gd name="f315" fmla="val 1988"/>
                <a:gd name="f316" fmla="val 395"/>
                <a:gd name="f317" fmla="val 1999"/>
                <a:gd name="f318" fmla="val 396"/>
                <a:gd name="f319" fmla="val 2011"/>
                <a:gd name="f320" fmla="val 398"/>
                <a:gd name="f321" fmla="val 2016"/>
                <a:gd name="f322" fmla="val 401"/>
                <a:gd name="f323" fmla="val 2022"/>
                <a:gd name="f324" fmla="val 406"/>
                <a:gd name="f325" fmla="val 2028"/>
                <a:gd name="f326" fmla="val 413"/>
                <a:gd name="f327" fmla="val 2032"/>
                <a:gd name="f328" fmla="val 421"/>
                <a:gd name="f329" fmla="val 2037"/>
                <a:gd name="f330" fmla="val 430"/>
                <a:gd name="f331" fmla="val 2042"/>
                <a:gd name="f332" fmla="val 439"/>
                <a:gd name="f333" fmla="val 2044"/>
                <a:gd name="f334" fmla="val 449"/>
                <a:gd name="f335" fmla="val 2046"/>
                <a:gd name="f336" fmla="val 460"/>
                <a:gd name="f337" fmla="val 470"/>
                <a:gd name="f338" fmla="val 479"/>
                <a:gd name="f339" fmla="val 489"/>
                <a:gd name="f340" fmla="val 2039"/>
                <a:gd name="f341" fmla="val 497"/>
                <a:gd name="f342" fmla="val 2034"/>
                <a:gd name="f343" fmla="val 504"/>
                <a:gd name="f344" fmla="val 2024"/>
                <a:gd name="f345" fmla="val 508"/>
                <a:gd name="f346" fmla="val 2013"/>
                <a:gd name="f347" fmla="val 1998"/>
                <a:gd name="f348" fmla="val 1969"/>
                <a:gd name="f349" fmla="val 519"/>
                <a:gd name="f350" fmla="val 1947"/>
                <a:gd name="f351" fmla="val 522"/>
                <a:gd name="f352" fmla="val 1930"/>
                <a:gd name="f353" fmla="val 524"/>
                <a:gd name="f354" fmla="val 1916"/>
                <a:gd name="f355" fmla="val 529"/>
                <a:gd name="f356" fmla="val 1906"/>
                <a:gd name="f357" fmla="val 1898"/>
                <a:gd name="f358" fmla="val 539"/>
                <a:gd name="f359" fmla="val 1891"/>
                <a:gd name="f360" fmla="val 547"/>
                <a:gd name="f361" fmla="val 1884"/>
                <a:gd name="f362" fmla="val 557"/>
                <a:gd name="f363" fmla="val 1865"/>
                <a:gd name="f364" fmla="val 555"/>
                <a:gd name="f365" fmla="val 1840"/>
                <a:gd name="f366" fmla="val 551"/>
                <a:gd name="f367" fmla="val 1816"/>
                <a:gd name="f368" fmla="val 554"/>
                <a:gd name="f369" fmla="val 1800"/>
                <a:gd name="f370" fmla="val 561"/>
                <a:gd name="f371" fmla="val 1792"/>
                <a:gd name="f372" fmla="val 570"/>
                <a:gd name="f373" fmla="val 1779"/>
                <a:gd name="f374" fmla="val 582"/>
                <a:gd name="f375" fmla="val 1762"/>
                <a:gd name="f376" fmla="val 595"/>
                <a:gd name="f377" fmla="val 1741"/>
                <a:gd name="f378" fmla="val 1718"/>
                <a:gd name="f379" fmla="val 614"/>
                <a:gd name="f380" fmla="val 1695"/>
                <a:gd name="f381" fmla="val 620"/>
                <a:gd name="f382" fmla="val 622"/>
                <a:gd name="f383" fmla="val 1629"/>
                <a:gd name="f384" fmla="val 630"/>
                <a:gd name="f385" fmla="val 1607"/>
                <a:gd name="f386" fmla="val 1587"/>
                <a:gd name="f387" fmla="val 1567"/>
                <a:gd name="f388" fmla="val 675"/>
                <a:gd name="f389" fmla="val 1550"/>
                <a:gd name="f390" fmla="val 692"/>
                <a:gd name="f391" fmla="val 1536"/>
                <a:gd name="f392" fmla="val 707"/>
                <a:gd name="f393" fmla="val 1528"/>
                <a:gd name="f394" fmla="val 1524"/>
                <a:gd name="f395" fmla="val 728"/>
                <a:gd name="f396" fmla="val 1523"/>
                <a:gd name="f397" fmla="val 743"/>
                <a:gd name="f398" fmla="val 1519"/>
                <a:gd name="f399" fmla="val 1511"/>
                <a:gd name="f400" fmla="val 777"/>
                <a:gd name="f401" fmla="val 1498"/>
                <a:gd name="f402" fmla="val 795"/>
                <a:gd name="f403" fmla="val 1482"/>
                <a:gd name="f404" fmla="val 814"/>
                <a:gd name="f405" fmla="val 1461"/>
                <a:gd name="f406" fmla="val 831"/>
                <a:gd name="f407" fmla="val 1436"/>
                <a:gd name="f408" fmla="val 846"/>
                <a:gd name="f409" fmla="val 1405"/>
                <a:gd name="f410" fmla="val 858"/>
                <a:gd name="f411" fmla="val 1375"/>
                <a:gd name="f412" fmla="val 867"/>
                <a:gd name="f413" fmla="val 1354"/>
                <a:gd name="f414" fmla="val 875"/>
                <a:gd name="f415" fmla="val 1338"/>
                <a:gd name="f416" fmla="val 881"/>
                <a:gd name="f417" fmla="val 1327"/>
                <a:gd name="f418" fmla="val 888"/>
                <a:gd name="f419" fmla="val 1320"/>
                <a:gd name="f420" fmla="val 893"/>
                <a:gd name="f421" fmla="val 1316"/>
                <a:gd name="f422" fmla="val 901"/>
                <a:gd name="f423" fmla="val 1312"/>
                <a:gd name="f424" fmla="val 912"/>
                <a:gd name="f425" fmla="val 1309"/>
                <a:gd name="f426" fmla="val 919"/>
                <a:gd name="f427" fmla="val 1305"/>
                <a:gd name="f428" fmla="val 929"/>
                <a:gd name="f429" fmla="val 1299"/>
                <a:gd name="f430" fmla="val 943"/>
                <a:gd name="f431" fmla="val 1289"/>
                <a:gd name="f432" fmla="val 958"/>
                <a:gd name="f433" fmla="val 974"/>
                <a:gd name="f434" fmla="val 991"/>
                <a:gd name="f435" fmla="val 1251"/>
                <a:gd name="f436" fmla="val 1236"/>
                <a:gd name="f437" fmla="val 1027"/>
                <a:gd name="f438" fmla="val 1220"/>
                <a:gd name="f439" fmla="val 1045"/>
                <a:gd name="f440" fmla="val 1204"/>
                <a:gd name="f441" fmla="val 1188"/>
                <a:gd name="f442" fmla="val 1078"/>
                <a:gd name="f443" fmla="val 1173"/>
                <a:gd name="f444" fmla="val 1092"/>
                <a:gd name="f445" fmla="val 1103"/>
                <a:gd name="f446" fmla="val 1143"/>
                <a:gd name="f447" fmla="val 1130"/>
                <a:gd name="f448" fmla="val 1117"/>
                <a:gd name="f449" fmla="val 1120"/>
                <a:gd name="f450" fmla="val 1119"/>
                <a:gd name="f451" fmla="val 1116"/>
                <a:gd name="f452" fmla="val 1087"/>
                <a:gd name="f453" fmla="val 1088"/>
                <a:gd name="f454" fmla="val 1080"/>
                <a:gd name="f455" fmla="val 1077"/>
                <a:gd name="f456" fmla="val 1048"/>
                <a:gd name="f457" fmla="val 1007"/>
                <a:gd name="f458" fmla="val 1098"/>
                <a:gd name="f459" fmla="val 983"/>
                <a:gd name="f460" fmla="val 1105"/>
                <a:gd name="f461" fmla="val 1102"/>
                <a:gd name="f462" fmla="val 988"/>
                <a:gd name="f463" fmla="val 1093"/>
                <a:gd name="f464" fmla="val 995"/>
                <a:gd name="f465" fmla="val 1081"/>
                <a:gd name="f466" fmla="val 1066"/>
                <a:gd name="f467" fmla="val 998"/>
                <a:gd name="f468" fmla="val 1053"/>
                <a:gd name="f469" fmla="val 989"/>
                <a:gd name="f470" fmla="val 1043"/>
                <a:gd name="f471" fmla="val 967"/>
                <a:gd name="f472" fmla="val 1039"/>
                <a:gd name="f473" fmla="val 1038"/>
                <a:gd name="f474" fmla="val 961"/>
                <a:gd name="f475" fmla="val 975"/>
                <a:gd name="f476" fmla="val 994"/>
                <a:gd name="f477" fmla="val 1015"/>
                <a:gd name="f478" fmla="val 1019"/>
                <a:gd name="f479" fmla="val 1035"/>
                <a:gd name="f480" fmla="val 1017"/>
                <a:gd name="f481" fmla="val 1051"/>
                <a:gd name="f482" fmla="val 1020"/>
                <a:gd name="f483" fmla="val 1058"/>
                <a:gd name="f484" fmla="val 1063"/>
                <a:gd name="f485" fmla="val 1037"/>
                <a:gd name="f486" fmla="val 1071"/>
                <a:gd name="f487" fmla="val 1094"/>
                <a:gd name="f488" fmla="val 1030"/>
                <a:gd name="f489" fmla="val 1004"/>
                <a:gd name="f490" fmla="val 1124"/>
                <a:gd name="f491" fmla="val 976"/>
                <a:gd name="f492" fmla="val 966"/>
                <a:gd name="f493" fmla="val 1107"/>
                <a:gd name="f494" fmla="val 955"/>
                <a:gd name="f495" fmla="val 1096"/>
                <a:gd name="f496" fmla="val 946"/>
                <a:gd name="f497" fmla="val 1085"/>
                <a:gd name="f498" fmla="val 937"/>
                <a:gd name="f499" fmla="val 1052"/>
                <a:gd name="f500" fmla="val 920"/>
                <a:gd name="f501" fmla="val 1036"/>
                <a:gd name="f502" fmla="val 913"/>
                <a:gd name="f503" fmla="val 909"/>
                <a:gd name="f504" fmla="val 1013"/>
                <a:gd name="f505" fmla="val 908"/>
                <a:gd name="f506" fmla="val 1003"/>
                <a:gd name="f507" fmla="val 1002"/>
                <a:gd name="f508" fmla="val 907"/>
                <a:gd name="f509" fmla="val 903"/>
                <a:gd name="f510" fmla="val 896"/>
                <a:gd name="f511" fmla="val 891"/>
                <a:gd name="f512" fmla="val 1018"/>
                <a:gd name="f513" fmla="val 1029"/>
                <a:gd name="f514" fmla="val 899"/>
                <a:gd name="f515" fmla="val 898"/>
                <a:gd name="f516" fmla="val 1059"/>
                <a:gd name="f517" fmla="val 892"/>
                <a:gd name="f518" fmla="val 1041"/>
                <a:gd name="f519" fmla="val 862"/>
                <a:gd name="f520" fmla="val 848"/>
                <a:gd name="f521" fmla="val 1021"/>
                <a:gd name="f522" fmla="val 838"/>
                <a:gd name="f523" fmla="val 1014"/>
                <a:gd name="f524" fmla="val 830"/>
                <a:gd name="f525" fmla="val 1010"/>
                <a:gd name="f526" fmla="val 823"/>
                <a:gd name="f527" fmla="val 818"/>
                <a:gd name="f528" fmla="val 815"/>
                <a:gd name="f529" fmla="val 812"/>
                <a:gd name="f530" fmla="val 1033"/>
                <a:gd name="f531" fmla="val 808"/>
                <a:gd name="f532" fmla="val 801"/>
                <a:gd name="f533" fmla="val 790"/>
                <a:gd name="f534" fmla="val 780"/>
                <a:gd name="f535" fmla="val 1064"/>
                <a:gd name="f536" fmla="val 767"/>
                <a:gd name="f537" fmla="val 756"/>
                <a:gd name="f538" fmla="val 744"/>
                <a:gd name="f539" fmla="val 734"/>
                <a:gd name="f540" fmla="val 706"/>
                <a:gd name="f541" fmla="val 698"/>
                <a:gd name="f542" fmla="val 1074"/>
                <a:gd name="f543" fmla="val 689"/>
                <a:gd name="f544" fmla="val 680"/>
                <a:gd name="f545" fmla="val 1072"/>
                <a:gd name="f546" fmla="val 663"/>
                <a:gd name="f547" fmla="val 1056"/>
                <a:gd name="f548" fmla="val 655"/>
                <a:gd name="f549" fmla="val 646"/>
                <a:gd name="f550" fmla="val 640"/>
                <a:gd name="f551" fmla="val 632"/>
                <a:gd name="f552" fmla="val 1054"/>
                <a:gd name="f553" fmla="val 625"/>
                <a:gd name="f554" fmla="val 1055"/>
                <a:gd name="f555" fmla="val 618"/>
                <a:gd name="f556" fmla="val 602"/>
                <a:gd name="f557" fmla="val 592"/>
                <a:gd name="f558" fmla="val 1005"/>
                <a:gd name="f559" fmla="val 990"/>
                <a:gd name="f560" fmla="val 559"/>
                <a:gd name="f561" fmla="val 980"/>
                <a:gd name="f562" fmla="val 535"/>
                <a:gd name="f563" fmla="val 523"/>
                <a:gd name="f564" fmla="val 501"/>
                <a:gd name="f565" fmla="val 1006"/>
                <a:gd name="f566" fmla="val 491"/>
                <a:gd name="f567" fmla="val 463"/>
                <a:gd name="f568" fmla="val 979"/>
                <a:gd name="f569" fmla="val 459"/>
                <a:gd name="f570" fmla="val 969"/>
                <a:gd name="f571" fmla="val 456"/>
                <a:gd name="f572" fmla="val 964"/>
                <a:gd name="f573" fmla="val 960"/>
                <a:gd name="f574" fmla="val 436"/>
                <a:gd name="f575" fmla="val 956"/>
                <a:gd name="f576" fmla="val 428"/>
                <a:gd name="f577" fmla="val 952"/>
                <a:gd name="f578" fmla="val 416"/>
                <a:gd name="f579" fmla="val 405"/>
                <a:gd name="f580" fmla="val 328"/>
                <a:gd name="f581" fmla="val 290"/>
                <a:gd name="f582" fmla="val 914"/>
                <a:gd name="f583" fmla="val 240"/>
                <a:gd name="f584" fmla="val 922"/>
                <a:gd name="f585" fmla="val 195"/>
                <a:gd name="f586" fmla="val 917"/>
                <a:gd name="f587" fmla="val 924"/>
                <a:gd name="f588" fmla="val 934"/>
                <a:gd name="f589" fmla="val 939"/>
                <a:gd name="f590" fmla="val 75"/>
                <a:gd name="f591" fmla="val 932"/>
                <a:gd name="f592" fmla="val 68"/>
                <a:gd name="f593" fmla="val 60"/>
                <a:gd name="f594" fmla="val 911"/>
                <a:gd name="f595" fmla="val 904"/>
                <a:gd name="f596" fmla="val 889"/>
                <a:gd name="f597" fmla="val 879"/>
                <a:gd name="f598" fmla="val 871"/>
                <a:gd name="f599" fmla="val 863"/>
                <a:gd name="f600" fmla="val 856"/>
                <a:gd name="f601" fmla="val 851"/>
                <a:gd name="f602" fmla="val 104"/>
                <a:gd name="f603" fmla="val 845"/>
                <a:gd name="f604" fmla="val 839"/>
                <a:gd name="f605" fmla="val 122"/>
                <a:gd name="f606" fmla="val 832"/>
                <a:gd name="f607" fmla="val 133"/>
                <a:gd name="f608" fmla="val 826"/>
                <a:gd name="f609" fmla="val 140"/>
                <a:gd name="f610" fmla="val 821"/>
                <a:gd name="f611" fmla="val 816"/>
                <a:gd name="f612" fmla="val 813"/>
                <a:gd name="f613" fmla="val 809"/>
                <a:gd name="f614" fmla="val 806"/>
                <a:gd name="f615" fmla="val 803"/>
                <a:gd name="f616" fmla="val 800"/>
                <a:gd name="f617" fmla="val 114"/>
                <a:gd name="f618" fmla="val 111"/>
                <a:gd name="f619" fmla="val 783"/>
                <a:gd name="f620" fmla="val 776"/>
                <a:gd name="f621" fmla="val 769"/>
                <a:gd name="f622" fmla="val 128"/>
                <a:gd name="f623" fmla="val 137"/>
                <a:gd name="f624" fmla="val 754"/>
                <a:gd name="f625" fmla="val 750"/>
                <a:gd name="f626" fmla="val 753"/>
                <a:gd name="f627" fmla="val 755"/>
                <a:gd name="f628" fmla="val 121"/>
                <a:gd name="f629" fmla="val 749"/>
                <a:gd name="f630" fmla="val 738"/>
                <a:gd name="f631" fmla="val 106"/>
                <a:gd name="f632" fmla="+- 0 0 -90"/>
                <a:gd name="f633" fmla="*/ f3 1 1125"/>
                <a:gd name="f634" fmla="*/ f4 1 2047"/>
                <a:gd name="f635" fmla="val f5"/>
                <a:gd name="f636" fmla="val f6"/>
                <a:gd name="f637" fmla="val f7"/>
                <a:gd name="f638" fmla="*/ f632 f0 1"/>
                <a:gd name="f639" fmla="+- f637 0 f635"/>
                <a:gd name="f640" fmla="+- f636 0 f635"/>
                <a:gd name="f641" fmla="*/ f638 1 f2"/>
                <a:gd name="f642" fmla="*/ f640 1 1125"/>
                <a:gd name="f643" fmla="*/ f639 1 2047"/>
                <a:gd name="f644" fmla="*/ 2147483646 f640 1"/>
                <a:gd name="f645" fmla="*/ 2147483646 f639 1"/>
                <a:gd name="f646" fmla="+- f641 0 f1"/>
                <a:gd name="f647" fmla="*/ f644 1 1125"/>
                <a:gd name="f648" fmla="*/ f645 1 2047"/>
                <a:gd name="f649" fmla="*/ 0 1 f642"/>
                <a:gd name="f650" fmla="*/ f636 1 f642"/>
                <a:gd name="f651" fmla="*/ 0 1 f643"/>
                <a:gd name="f652" fmla="*/ f637 1 f643"/>
                <a:gd name="f653" fmla="*/ f647 1 f642"/>
                <a:gd name="f654" fmla="*/ f648 1 f643"/>
                <a:gd name="f655" fmla="*/ f649 f633 1"/>
                <a:gd name="f656" fmla="*/ f650 f633 1"/>
                <a:gd name="f657" fmla="*/ f652 f634 1"/>
                <a:gd name="f658" fmla="*/ f651 f634 1"/>
                <a:gd name="f659" fmla="*/ f653 f633 1"/>
                <a:gd name="f660" fmla="*/ f654 f6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  <a:cxn ang="f646">
                  <a:pos x="f659" y="f660"/>
                </a:cxn>
              </a:cxnLst>
              <a:rect l="f655" t="f658" r="f656" b="f657"/>
              <a:pathLst>
                <a:path w="1125" h="2047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5"/>
                  </a:lnTo>
                  <a:lnTo>
                    <a:pt x="f43" y="f5"/>
                  </a:lnTo>
                  <a:lnTo>
                    <a:pt x="f44" y="f5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35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11"/>
                  </a:lnTo>
                  <a:lnTo>
                    <a:pt x="f69" y="f70"/>
                  </a:lnTo>
                  <a:lnTo>
                    <a:pt x="f71" y="f72"/>
                  </a:lnTo>
                  <a:lnTo>
                    <a:pt x="f73" y="f72"/>
                  </a:lnTo>
                  <a:lnTo>
                    <a:pt x="f74" y="f9"/>
                  </a:lnTo>
                  <a:lnTo>
                    <a:pt x="f75" y="f76"/>
                  </a:lnTo>
                  <a:lnTo>
                    <a:pt x="f77" y="f78"/>
                  </a:lnTo>
                  <a:lnTo>
                    <a:pt x="f79" y="f76"/>
                  </a:lnTo>
                  <a:lnTo>
                    <a:pt x="f80" y="f9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85" y="f86"/>
                  </a:lnTo>
                  <a:lnTo>
                    <a:pt x="f87" y="f88"/>
                  </a:lnTo>
                  <a:lnTo>
                    <a:pt x="f89" y="f90"/>
                  </a:lnTo>
                  <a:lnTo>
                    <a:pt x="f91" y="f92"/>
                  </a:lnTo>
                  <a:lnTo>
                    <a:pt x="f93" y="f94"/>
                  </a:lnTo>
                  <a:lnTo>
                    <a:pt x="f95" y="f96"/>
                  </a:lnTo>
                  <a:lnTo>
                    <a:pt x="f97" y="f98"/>
                  </a:lnTo>
                  <a:lnTo>
                    <a:pt x="f99" y="f100"/>
                  </a:lnTo>
                  <a:lnTo>
                    <a:pt x="f101" y="f102"/>
                  </a:lnTo>
                  <a:lnTo>
                    <a:pt x="f103" y="f104"/>
                  </a:lnTo>
                  <a:lnTo>
                    <a:pt x="f2" y="f105"/>
                  </a:lnTo>
                  <a:lnTo>
                    <a:pt x="f94" y="f106"/>
                  </a:lnTo>
                  <a:lnTo>
                    <a:pt x="f107" y="f108"/>
                  </a:lnTo>
                  <a:lnTo>
                    <a:pt x="f109" y="f110"/>
                  </a:lnTo>
                  <a:lnTo>
                    <a:pt x="f86" y="f111"/>
                  </a:lnTo>
                  <a:lnTo>
                    <a:pt x="f112" y="f113"/>
                  </a:lnTo>
                  <a:lnTo>
                    <a:pt x="f114" y="f115"/>
                  </a:lnTo>
                  <a:lnTo>
                    <a:pt x="f116" y="f117"/>
                  </a:lnTo>
                  <a:lnTo>
                    <a:pt x="f118" y="f119"/>
                  </a:lnTo>
                  <a:lnTo>
                    <a:pt x="f120" y="f83"/>
                  </a:lnTo>
                  <a:lnTo>
                    <a:pt x="f121" y="f122"/>
                  </a:lnTo>
                  <a:lnTo>
                    <a:pt x="f31" y="f123"/>
                  </a:lnTo>
                  <a:lnTo>
                    <a:pt x="f124" y="f125"/>
                  </a:lnTo>
                  <a:lnTo>
                    <a:pt x="f35" y="f126"/>
                  </a:lnTo>
                  <a:lnTo>
                    <a:pt x="f127" y="f128"/>
                  </a:lnTo>
                  <a:lnTo>
                    <a:pt x="f129" y="f130"/>
                  </a:lnTo>
                  <a:lnTo>
                    <a:pt x="f33" y="f131"/>
                  </a:lnTo>
                  <a:lnTo>
                    <a:pt x="f124" y="f132"/>
                  </a:lnTo>
                  <a:lnTo>
                    <a:pt x="f35" y="f133"/>
                  </a:lnTo>
                  <a:lnTo>
                    <a:pt x="f134" y="f135"/>
                  </a:lnTo>
                  <a:lnTo>
                    <a:pt x="f39" y="f136"/>
                  </a:lnTo>
                  <a:lnTo>
                    <a:pt x="f41" y="f137"/>
                  </a:lnTo>
                  <a:lnTo>
                    <a:pt x="f5" y="f138"/>
                  </a:lnTo>
                  <a:lnTo>
                    <a:pt x="f46" y="f139"/>
                  </a:lnTo>
                  <a:lnTo>
                    <a:pt x="f48" y="f140"/>
                  </a:lnTo>
                  <a:lnTo>
                    <a:pt x="f35" y="f141"/>
                  </a:lnTo>
                  <a:lnTo>
                    <a:pt x="f142" y="f143"/>
                  </a:lnTo>
                  <a:lnTo>
                    <a:pt x="f53" y="f144"/>
                  </a:lnTo>
                  <a:lnTo>
                    <a:pt x="f55" y="f145"/>
                  </a:lnTo>
                  <a:lnTo>
                    <a:pt x="f146" y="f147"/>
                  </a:lnTo>
                  <a:lnTo>
                    <a:pt x="f118" y="f148"/>
                  </a:lnTo>
                  <a:lnTo>
                    <a:pt x="f116" y="f149"/>
                  </a:lnTo>
                  <a:lnTo>
                    <a:pt x="f114" y="f150"/>
                  </a:lnTo>
                  <a:lnTo>
                    <a:pt x="f112" y="f151"/>
                  </a:lnTo>
                  <a:lnTo>
                    <a:pt x="f86" y="f152"/>
                  </a:lnTo>
                  <a:lnTo>
                    <a:pt x="f153" y="f154"/>
                  </a:lnTo>
                  <a:lnTo>
                    <a:pt x="f155" y="f156"/>
                  </a:lnTo>
                  <a:lnTo>
                    <a:pt x="f157" y="f158"/>
                  </a:lnTo>
                  <a:lnTo>
                    <a:pt x="f159" y="f160"/>
                  </a:lnTo>
                  <a:lnTo>
                    <a:pt x="f161" y="f162"/>
                  </a:lnTo>
                  <a:lnTo>
                    <a:pt x="f163" y="f164"/>
                  </a:lnTo>
                  <a:lnTo>
                    <a:pt x="f165" y="f8"/>
                  </a:lnTo>
                  <a:lnTo>
                    <a:pt x="f101" y="f14"/>
                  </a:lnTo>
                  <a:lnTo>
                    <a:pt x="f166" y="f167"/>
                  </a:lnTo>
                  <a:lnTo>
                    <a:pt x="f168" y="f169"/>
                  </a:lnTo>
                  <a:lnTo>
                    <a:pt x="f170" y="f171"/>
                  </a:lnTo>
                  <a:lnTo>
                    <a:pt x="f172" y="f173"/>
                  </a:lnTo>
                  <a:lnTo>
                    <a:pt x="f168" y="f174"/>
                  </a:lnTo>
                  <a:lnTo>
                    <a:pt x="f175" y="f176"/>
                  </a:lnTo>
                  <a:lnTo>
                    <a:pt x="f177" y="f178"/>
                  </a:lnTo>
                  <a:lnTo>
                    <a:pt x="f103" y="f179"/>
                  </a:lnTo>
                  <a:lnTo>
                    <a:pt x="f163" y="f180"/>
                  </a:lnTo>
                  <a:lnTo>
                    <a:pt x="f2" y="f181"/>
                  </a:lnTo>
                  <a:lnTo>
                    <a:pt x="f2" y="f182"/>
                  </a:lnTo>
                  <a:lnTo>
                    <a:pt x="f103" y="f183"/>
                  </a:lnTo>
                  <a:lnTo>
                    <a:pt x="f101" y="f184"/>
                  </a:lnTo>
                  <a:lnTo>
                    <a:pt x="f185" y="f186"/>
                  </a:lnTo>
                  <a:lnTo>
                    <a:pt x="f187" y="f188"/>
                  </a:lnTo>
                  <a:lnTo>
                    <a:pt x="f189" y="f190"/>
                  </a:lnTo>
                  <a:lnTo>
                    <a:pt x="f191" y="f192"/>
                  </a:lnTo>
                  <a:lnTo>
                    <a:pt x="f193" y="f194"/>
                  </a:lnTo>
                  <a:lnTo>
                    <a:pt x="f191" y="f195"/>
                  </a:lnTo>
                  <a:lnTo>
                    <a:pt x="f196" y="f197"/>
                  </a:lnTo>
                  <a:lnTo>
                    <a:pt x="f168" y="f198"/>
                  </a:lnTo>
                  <a:lnTo>
                    <a:pt x="f199" y="f200"/>
                  </a:lnTo>
                  <a:lnTo>
                    <a:pt x="f201" y="f202"/>
                  </a:lnTo>
                  <a:lnTo>
                    <a:pt x="f201" y="f203"/>
                  </a:lnTo>
                  <a:lnTo>
                    <a:pt x="f204" y="f205"/>
                  </a:lnTo>
                  <a:lnTo>
                    <a:pt x="f98" y="f206"/>
                  </a:lnTo>
                  <a:lnTo>
                    <a:pt x="f185" y="f207"/>
                  </a:lnTo>
                  <a:lnTo>
                    <a:pt x="f170" y="f208"/>
                  </a:lnTo>
                  <a:lnTo>
                    <a:pt x="f100" y="f209"/>
                  </a:lnTo>
                  <a:lnTo>
                    <a:pt x="f170" y="f209"/>
                  </a:lnTo>
                  <a:lnTo>
                    <a:pt x="f185" y="f210"/>
                  </a:lnTo>
                  <a:lnTo>
                    <a:pt x="f101" y="f208"/>
                  </a:lnTo>
                  <a:lnTo>
                    <a:pt x="f96" y="f208"/>
                  </a:lnTo>
                  <a:lnTo>
                    <a:pt x="f94" y="f209"/>
                  </a:lnTo>
                  <a:lnTo>
                    <a:pt x="f211" y="f212"/>
                  </a:lnTo>
                  <a:lnTo>
                    <a:pt x="f213" y="f214"/>
                  </a:lnTo>
                  <a:lnTo>
                    <a:pt x="f215" y="f216"/>
                  </a:lnTo>
                  <a:lnTo>
                    <a:pt x="f213" y="f217"/>
                  </a:lnTo>
                  <a:lnTo>
                    <a:pt x="f218" y="f219"/>
                  </a:lnTo>
                  <a:lnTo>
                    <a:pt x="f220" y="f221"/>
                  </a:lnTo>
                  <a:lnTo>
                    <a:pt x="f103" y="f222"/>
                  </a:lnTo>
                  <a:lnTo>
                    <a:pt x="f175" y="f223"/>
                  </a:lnTo>
                  <a:lnTo>
                    <a:pt x="f172" y="f224"/>
                  </a:lnTo>
                  <a:lnTo>
                    <a:pt x="f225" y="f224"/>
                  </a:lnTo>
                  <a:lnTo>
                    <a:pt x="f193" y="f226"/>
                  </a:lnTo>
                  <a:lnTo>
                    <a:pt x="f227" y="f228"/>
                  </a:lnTo>
                  <a:lnTo>
                    <a:pt x="f229" y="f230"/>
                  </a:lnTo>
                  <a:lnTo>
                    <a:pt x="f231" y="f232"/>
                  </a:lnTo>
                  <a:lnTo>
                    <a:pt x="f233" y="f234"/>
                  </a:lnTo>
                  <a:lnTo>
                    <a:pt x="f235" y="f236"/>
                  </a:lnTo>
                  <a:lnTo>
                    <a:pt x="f237" y="f238"/>
                  </a:lnTo>
                  <a:lnTo>
                    <a:pt x="f239" y="f238"/>
                  </a:lnTo>
                  <a:lnTo>
                    <a:pt x="f240" y="f241"/>
                  </a:lnTo>
                  <a:lnTo>
                    <a:pt x="f91" y="f242"/>
                  </a:lnTo>
                  <a:lnTo>
                    <a:pt x="f243" y="f244"/>
                  </a:lnTo>
                  <a:lnTo>
                    <a:pt x="f245" y="f246"/>
                  </a:lnTo>
                  <a:lnTo>
                    <a:pt x="f237" y="f247"/>
                  </a:lnTo>
                  <a:lnTo>
                    <a:pt x="f235" y="f248"/>
                  </a:lnTo>
                  <a:lnTo>
                    <a:pt x="f231" y="f249"/>
                  </a:lnTo>
                  <a:lnTo>
                    <a:pt x="f227" y="f250"/>
                  </a:lnTo>
                  <a:lnTo>
                    <a:pt x="f251" y="f252"/>
                  </a:lnTo>
                  <a:lnTo>
                    <a:pt x="f253" y="f254"/>
                  </a:lnTo>
                  <a:lnTo>
                    <a:pt x="f255" y="f256"/>
                  </a:lnTo>
                  <a:lnTo>
                    <a:pt x="f257" y="f258"/>
                  </a:lnTo>
                  <a:lnTo>
                    <a:pt x="f103" y="f259"/>
                  </a:lnTo>
                  <a:lnTo>
                    <a:pt x="f260" y="f261"/>
                  </a:lnTo>
                  <a:lnTo>
                    <a:pt x="f157" y="f262"/>
                  </a:lnTo>
                  <a:lnTo>
                    <a:pt x="f92" y="f263"/>
                  </a:lnTo>
                  <a:lnTo>
                    <a:pt x="f215" y="f264"/>
                  </a:lnTo>
                  <a:lnTo>
                    <a:pt x="f265" y="f266"/>
                  </a:lnTo>
                  <a:lnTo>
                    <a:pt x="f267" y="f268"/>
                  </a:lnTo>
                  <a:lnTo>
                    <a:pt x="f269" y="f270"/>
                  </a:lnTo>
                  <a:lnTo>
                    <a:pt x="f271" y="f272"/>
                  </a:lnTo>
                  <a:lnTo>
                    <a:pt x="f109" y="f273"/>
                  </a:lnTo>
                  <a:lnTo>
                    <a:pt x="f274" y="f275"/>
                  </a:lnTo>
                  <a:lnTo>
                    <a:pt x="f107" y="f276"/>
                  </a:lnTo>
                  <a:lnTo>
                    <a:pt x="f277" y="f278"/>
                  </a:lnTo>
                  <a:lnTo>
                    <a:pt x="f279" y="f280"/>
                  </a:lnTo>
                  <a:lnTo>
                    <a:pt x="f2" y="f281"/>
                  </a:lnTo>
                  <a:lnTo>
                    <a:pt x="f163" y="f282"/>
                  </a:lnTo>
                  <a:lnTo>
                    <a:pt x="f161" y="f283"/>
                  </a:lnTo>
                  <a:lnTo>
                    <a:pt x="f159" y="f284"/>
                  </a:lnTo>
                  <a:lnTo>
                    <a:pt x="f161" y="f285"/>
                  </a:lnTo>
                  <a:lnTo>
                    <a:pt x="f103" y="f286"/>
                  </a:lnTo>
                  <a:lnTo>
                    <a:pt x="f101" y="f287"/>
                  </a:lnTo>
                  <a:lnTo>
                    <a:pt x="f185" y="f288"/>
                  </a:lnTo>
                  <a:lnTo>
                    <a:pt x="f187" y="f289"/>
                  </a:lnTo>
                  <a:lnTo>
                    <a:pt x="f225" y="f290"/>
                  </a:lnTo>
                  <a:lnTo>
                    <a:pt x="f193" y="f291"/>
                  </a:lnTo>
                  <a:lnTo>
                    <a:pt x="f292" y="f293"/>
                  </a:lnTo>
                  <a:lnTo>
                    <a:pt x="f294" y="f295"/>
                  </a:lnTo>
                  <a:lnTo>
                    <a:pt x="f296" y="f297"/>
                  </a:lnTo>
                  <a:lnTo>
                    <a:pt x="f240" y="f298"/>
                  </a:lnTo>
                  <a:lnTo>
                    <a:pt x="f299" y="f300"/>
                  </a:lnTo>
                  <a:lnTo>
                    <a:pt x="f87" y="f301"/>
                  </a:lnTo>
                  <a:lnTo>
                    <a:pt x="f117" y="f302"/>
                  </a:lnTo>
                  <a:lnTo>
                    <a:pt x="f303" y="f304"/>
                  </a:lnTo>
                  <a:lnTo>
                    <a:pt x="f305" y="f306"/>
                  </a:lnTo>
                  <a:lnTo>
                    <a:pt x="f307" y="f308"/>
                  </a:lnTo>
                  <a:lnTo>
                    <a:pt x="f309" y="f310"/>
                  </a:lnTo>
                  <a:lnTo>
                    <a:pt x="f311" y="f312"/>
                  </a:lnTo>
                  <a:lnTo>
                    <a:pt x="f130" y="f313"/>
                  </a:lnTo>
                  <a:lnTo>
                    <a:pt x="f314" y="f315"/>
                  </a:lnTo>
                  <a:lnTo>
                    <a:pt x="f316" y="f317"/>
                  </a:lnTo>
                  <a:lnTo>
                    <a:pt x="f318" y="f319"/>
                  </a:lnTo>
                  <a:lnTo>
                    <a:pt x="f320" y="f321"/>
                  </a:lnTo>
                  <a:lnTo>
                    <a:pt x="f322" y="f323"/>
                  </a:lnTo>
                  <a:lnTo>
                    <a:pt x="f324" y="f325"/>
                  </a:lnTo>
                  <a:lnTo>
                    <a:pt x="f326" y="f327"/>
                  </a:lnTo>
                  <a:lnTo>
                    <a:pt x="f328" y="f329"/>
                  </a:lnTo>
                  <a:lnTo>
                    <a:pt x="f330" y="f331"/>
                  </a:lnTo>
                  <a:lnTo>
                    <a:pt x="f332" y="f333"/>
                  </a:lnTo>
                  <a:lnTo>
                    <a:pt x="f334" y="f335"/>
                  </a:lnTo>
                  <a:lnTo>
                    <a:pt x="f336" y="f7"/>
                  </a:lnTo>
                  <a:lnTo>
                    <a:pt x="f337" y="f335"/>
                  </a:lnTo>
                  <a:lnTo>
                    <a:pt x="f338" y="f333"/>
                  </a:lnTo>
                  <a:lnTo>
                    <a:pt x="f339" y="f340"/>
                  </a:lnTo>
                  <a:lnTo>
                    <a:pt x="f341" y="f342"/>
                  </a:lnTo>
                  <a:lnTo>
                    <a:pt x="f343" y="f344"/>
                  </a:lnTo>
                  <a:lnTo>
                    <a:pt x="f345" y="f346"/>
                  </a:lnTo>
                  <a:lnTo>
                    <a:pt x="f56" y="f347"/>
                  </a:lnTo>
                  <a:lnTo>
                    <a:pt x="f141" y="f348"/>
                  </a:lnTo>
                  <a:lnTo>
                    <a:pt x="f349" y="f350"/>
                  </a:lnTo>
                  <a:lnTo>
                    <a:pt x="f351" y="f352"/>
                  </a:lnTo>
                  <a:lnTo>
                    <a:pt x="f353" y="f354"/>
                  </a:lnTo>
                  <a:lnTo>
                    <a:pt x="f355" y="f356"/>
                  </a:lnTo>
                  <a:lnTo>
                    <a:pt x="f54" y="f357"/>
                  </a:lnTo>
                  <a:lnTo>
                    <a:pt x="f358" y="f359"/>
                  </a:lnTo>
                  <a:lnTo>
                    <a:pt x="f360" y="f361"/>
                  </a:lnTo>
                  <a:lnTo>
                    <a:pt x="f362" y="f363"/>
                  </a:lnTo>
                  <a:lnTo>
                    <a:pt x="f364" y="f365"/>
                  </a:lnTo>
                  <a:lnTo>
                    <a:pt x="f366" y="f367"/>
                  </a:lnTo>
                  <a:lnTo>
                    <a:pt x="f368" y="f369"/>
                  </a:lnTo>
                  <a:lnTo>
                    <a:pt x="f370" y="f371"/>
                  </a:lnTo>
                  <a:lnTo>
                    <a:pt x="f372" y="f373"/>
                  </a:lnTo>
                  <a:lnTo>
                    <a:pt x="f374" y="f375"/>
                  </a:lnTo>
                  <a:lnTo>
                    <a:pt x="f376" y="f377"/>
                  </a:lnTo>
                  <a:lnTo>
                    <a:pt x="f156" y="f378"/>
                  </a:lnTo>
                  <a:lnTo>
                    <a:pt x="f379" y="f380"/>
                  </a:lnTo>
                  <a:lnTo>
                    <a:pt x="f381" y="f284"/>
                  </a:lnTo>
                  <a:lnTo>
                    <a:pt x="f158" y="f283"/>
                  </a:lnTo>
                  <a:lnTo>
                    <a:pt x="f382" y="f383"/>
                  </a:lnTo>
                  <a:lnTo>
                    <a:pt x="f384" y="f385"/>
                  </a:lnTo>
                  <a:lnTo>
                    <a:pt x="f160" y="f386"/>
                  </a:lnTo>
                  <a:lnTo>
                    <a:pt x="f44" y="f387"/>
                  </a:lnTo>
                  <a:lnTo>
                    <a:pt x="f388" y="f389"/>
                  </a:lnTo>
                  <a:lnTo>
                    <a:pt x="f390" y="f391"/>
                  </a:lnTo>
                  <a:lnTo>
                    <a:pt x="f392" y="f393"/>
                  </a:lnTo>
                  <a:lnTo>
                    <a:pt x="f8" y="f394"/>
                  </a:lnTo>
                  <a:lnTo>
                    <a:pt x="f395" y="f396"/>
                  </a:lnTo>
                  <a:lnTo>
                    <a:pt x="f397" y="f398"/>
                  </a:lnTo>
                  <a:lnTo>
                    <a:pt x="f18" y="f399"/>
                  </a:lnTo>
                  <a:lnTo>
                    <a:pt x="f400" y="f401"/>
                  </a:lnTo>
                  <a:lnTo>
                    <a:pt x="f402" y="f403"/>
                  </a:lnTo>
                  <a:lnTo>
                    <a:pt x="f404" y="f405"/>
                  </a:lnTo>
                  <a:lnTo>
                    <a:pt x="f406" y="f407"/>
                  </a:lnTo>
                  <a:lnTo>
                    <a:pt x="f408" y="f409"/>
                  </a:lnTo>
                  <a:lnTo>
                    <a:pt x="f410" y="f411"/>
                  </a:lnTo>
                  <a:lnTo>
                    <a:pt x="f412" y="f413"/>
                  </a:lnTo>
                  <a:lnTo>
                    <a:pt x="f414" y="f415"/>
                  </a:lnTo>
                  <a:lnTo>
                    <a:pt x="f416" y="f417"/>
                  </a:lnTo>
                  <a:lnTo>
                    <a:pt x="f418" y="f419"/>
                  </a:lnTo>
                  <a:lnTo>
                    <a:pt x="f420" y="f421"/>
                  </a:lnTo>
                  <a:lnTo>
                    <a:pt x="f422" y="f423"/>
                  </a:lnTo>
                  <a:lnTo>
                    <a:pt x="f424" y="f425"/>
                  </a:lnTo>
                  <a:lnTo>
                    <a:pt x="f426" y="f427"/>
                  </a:lnTo>
                  <a:lnTo>
                    <a:pt x="f428" y="f429"/>
                  </a:lnTo>
                  <a:lnTo>
                    <a:pt x="f430" y="f431"/>
                  </a:lnTo>
                  <a:lnTo>
                    <a:pt x="f432" y="f254"/>
                  </a:lnTo>
                  <a:lnTo>
                    <a:pt x="f433" y="f249"/>
                  </a:lnTo>
                  <a:lnTo>
                    <a:pt x="f434" y="f435"/>
                  </a:lnTo>
                  <a:lnTo>
                    <a:pt x="f182" y="f436"/>
                  </a:lnTo>
                  <a:lnTo>
                    <a:pt x="f437" y="f438"/>
                  </a:lnTo>
                  <a:lnTo>
                    <a:pt x="f439" y="f440"/>
                  </a:lnTo>
                  <a:lnTo>
                    <a:pt x="f195" y="f441"/>
                  </a:lnTo>
                  <a:lnTo>
                    <a:pt x="f442" y="f443"/>
                  </a:lnTo>
                  <a:lnTo>
                    <a:pt x="f444" y="f238"/>
                  </a:lnTo>
                  <a:lnTo>
                    <a:pt x="f445" y="f446"/>
                  </a:lnTo>
                  <a:lnTo>
                    <a:pt x="f209" y="f447"/>
                  </a:lnTo>
                  <a:lnTo>
                    <a:pt x="f448" y="f449"/>
                  </a:lnTo>
                  <a:lnTo>
                    <a:pt x="f450" y="f209"/>
                  </a:lnTo>
                  <a:lnTo>
                    <a:pt x="f451" y="f206"/>
                  </a:lnTo>
                  <a:lnTo>
                    <a:pt x="f207" y="f452"/>
                  </a:lnTo>
                  <a:lnTo>
                    <a:pt x="f453" y="f454"/>
                  </a:lnTo>
                  <a:lnTo>
                    <a:pt x="f200" y="f455"/>
                  </a:lnTo>
                  <a:lnTo>
                    <a:pt x="f456" y="f455"/>
                  </a:lnTo>
                  <a:lnTo>
                    <a:pt x="f437" y="f203"/>
                  </a:lnTo>
                  <a:lnTo>
                    <a:pt x="f457" y="f453"/>
                  </a:lnTo>
                  <a:lnTo>
                    <a:pt x="f434" y="f458"/>
                  </a:lnTo>
                  <a:lnTo>
                    <a:pt x="f459" y="f460"/>
                  </a:lnTo>
                  <a:lnTo>
                    <a:pt x="f459" y="f461"/>
                  </a:lnTo>
                  <a:lnTo>
                    <a:pt x="f462" y="f463"/>
                  </a:lnTo>
                  <a:lnTo>
                    <a:pt x="f464" y="f465"/>
                  </a:lnTo>
                  <a:lnTo>
                    <a:pt x="f181" y="f466"/>
                  </a:lnTo>
                  <a:lnTo>
                    <a:pt x="f467" y="f468"/>
                  </a:lnTo>
                  <a:lnTo>
                    <a:pt x="f469" y="f470"/>
                  </a:lnTo>
                  <a:lnTo>
                    <a:pt x="f471" y="f472"/>
                  </a:lnTo>
                  <a:lnTo>
                    <a:pt x="f432" y="f473"/>
                  </a:lnTo>
                  <a:lnTo>
                    <a:pt x="f474" y="f188"/>
                  </a:lnTo>
                  <a:lnTo>
                    <a:pt x="f475" y="f186"/>
                  </a:lnTo>
                  <a:lnTo>
                    <a:pt x="f476" y="f184"/>
                  </a:lnTo>
                  <a:lnTo>
                    <a:pt x="f477" y="f478"/>
                  </a:lnTo>
                  <a:lnTo>
                    <a:pt x="f479" y="f480"/>
                  </a:lnTo>
                  <a:lnTo>
                    <a:pt x="f481" y="f482"/>
                  </a:lnTo>
                  <a:lnTo>
                    <a:pt x="f483" y="f186"/>
                  </a:lnTo>
                  <a:lnTo>
                    <a:pt x="f484" y="f485"/>
                  </a:lnTo>
                  <a:lnTo>
                    <a:pt x="f486" y="f470"/>
                  </a:lnTo>
                  <a:lnTo>
                    <a:pt x="f203" y="f439"/>
                  </a:lnTo>
                  <a:lnTo>
                    <a:pt x="f487" y="f470"/>
                  </a:lnTo>
                  <a:lnTo>
                    <a:pt x="f460" y="f473"/>
                  </a:lnTo>
                  <a:lnTo>
                    <a:pt x="f451" y="f488"/>
                  </a:lnTo>
                  <a:lnTo>
                    <a:pt x="f214" y="f478"/>
                  </a:lnTo>
                  <a:lnTo>
                    <a:pt x="f6" y="f489"/>
                  </a:lnTo>
                  <a:lnTo>
                    <a:pt x="f490" y="f469"/>
                  </a:lnTo>
                  <a:lnTo>
                    <a:pt x="f449" y="f491"/>
                  </a:lnTo>
                  <a:lnTo>
                    <a:pt x="f212" y="f492"/>
                  </a:lnTo>
                  <a:lnTo>
                    <a:pt x="f493" y="f494"/>
                  </a:lnTo>
                  <a:lnTo>
                    <a:pt x="f495" y="f496"/>
                  </a:lnTo>
                  <a:lnTo>
                    <a:pt x="f497" y="f498"/>
                  </a:lnTo>
                  <a:lnTo>
                    <a:pt x="f200" y="f428"/>
                  </a:lnTo>
                  <a:lnTo>
                    <a:pt x="f499" y="f500"/>
                  </a:lnTo>
                  <a:lnTo>
                    <a:pt x="f501" y="f502"/>
                  </a:lnTo>
                  <a:lnTo>
                    <a:pt x="f184" y="f503"/>
                  </a:lnTo>
                  <a:lnTo>
                    <a:pt x="f504" y="f505"/>
                  </a:lnTo>
                  <a:lnTo>
                    <a:pt x="f457" y="f505"/>
                  </a:lnTo>
                  <a:lnTo>
                    <a:pt x="f506" y="f505"/>
                  </a:lnTo>
                  <a:lnTo>
                    <a:pt x="f507" y="f508"/>
                  </a:lnTo>
                  <a:lnTo>
                    <a:pt x="f507" y="f509"/>
                  </a:lnTo>
                  <a:lnTo>
                    <a:pt x="f506" y="f510"/>
                  </a:lnTo>
                  <a:lnTo>
                    <a:pt x="f182" y="f511"/>
                  </a:lnTo>
                  <a:lnTo>
                    <a:pt x="f512" y="f511"/>
                  </a:lnTo>
                  <a:lnTo>
                    <a:pt x="f513" y="f420"/>
                  </a:lnTo>
                  <a:lnTo>
                    <a:pt x="f190" y="f510"/>
                  </a:lnTo>
                  <a:lnTo>
                    <a:pt x="f481" y="f514"/>
                  </a:lnTo>
                  <a:lnTo>
                    <a:pt x="f483" y="f515"/>
                  </a:lnTo>
                  <a:lnTo>
                    <a:pt x="f516" y="f517"/>
                  </a:lnTo>
                  <a:lnTo>
                    <a:pt x="f499" y="f174"/>
                  </a:lnTo>
                  <a:lnTo>
                    <a:pt x="f518" y="f519"/>
                  </a:lnTo>
                  <a:lnTo>
                    <a:pt x="f488" y="f520"/>
                  </a:lnTo>
                  <a:lnTo>
                    <a:pt x="f521" y="f522"/>
                  </a:lnTo>
                  <a:lnTo>
                    <a:pt x="f523" y="f524"/>
                  </a:lnTo>
                  <a:lnTo>
                    <a:pt x="f525" y="f526"/>
                  </a:lnTo>
                  <a:lnTo>
                    <a:pt x="f182" y="f527"/>
                  </a:lnTo>
                  <a:lnTo>
                    <a:pt x="f504" y="f528"/>
                  </a:lnTo>
                  <a:lnTo>
                    <a:pt x="f521" y="f529"/>
                  </a:lnTo>
                  <a:lnTo>
                    <a:pt x="f530" y="f531"/>
                  </a:lnTo>
                  <a:lnTo>
                    <a:pt x="f470" y="f532"/>
                  </a:lnTo>
                  <a:lnTo>
                    <a:pt x="f481" y="f533"/>
                  </a:lnTo>
                  <a:lnTo>
                    <a:pt x="f516" y="f534"/>
                  </a:lnTo>
                  <a:lnTo>
                    <a:pt x="f535" y="f536"/>
                  </a:lnTo>
                  <a:lnTo>
                    <a:pt x="f197" y="f537"/>
                  </a:lnTo>
                  <a:lnTo>
                    <a:pt x="f197" y="f538"/>
                  </a:lnTo>
                  <a:lnTo>
                    <a:pt x="f535" y="f539"/>
                  </a:lnTo>
                  <a:lnTo>
                    <a:pt x="f195" y="f28"/>
                  </a:lnTo>
                  <a:lnTo>
                    <a:pt x="f484" y="f30"/>
                  </a:lnTo>
                  <a:lnTo>
                    <a:pt x="f466" y="f540"/>
                  </a:lnTo>
                  <a:lnTo>
                    <a:pt x="f486" y="f541"/>
                  </a:lnTo>
                  <a:lnTo>
                    <a:pt x="f542" y="f543"/>
                  </a:lnTo>
                  <a:lnTo>
                    <a:pt x="f202" y="f544"/>
                  </a:lnTo>
                  <a:lnTo>
                    <a:pt x="f545" y="f42"/>
                  </a:lnTo>
                  <a:lnTo>
                    <a:pt x="f535" y="f546"/>
                  </a:lnTo>
                  <a:lnTo>
                    <a:pt x="f547" y="f548"/>
                  </a:lnTo>
                  <a:lnTo>
                    <a:pt x="f481" y="f549"/>
                  </a:lnTo>
                  <a:lnTo>
                    <a:pt x="f481" y="f550"/>
                  </a:lnTo>
                  <a:lnTo>
                    <a:pt x="f499" y="f551"/>
                  </a:lnTo>
                  <a:lnTo>
                    <a:pt x="f552" y="f553"/>
                  </a:lnTo>
                  <a:lnTo>
                    <a:pt x="f554" y="f555"/>
                  </a:lnTo>
                  <a:lnTo>
                    <a:pt x="f499" y="f49"/>
                  </a:lnTo>
                  <a:lnTo>
                    <a:pt x="f439" y="f556"/>
                  </a:lnTo>
                  <a:lnTo>
                    <a:pt x="f188" y="f557"/>
                  </a:lnTo>
                  <a:lnTo>
                    <a:pt x="f482" y="f374"/>
                  </a:lnTo>
                  <a:lnTo>
                    <a:pt x="f558" y="f372"/>
                  </a:lnTo>
                  <a:lnTo>
                    <a:pt x="f559" y="f560"/>
                  </a:lnTo>
                  <a:lnTo>
                    <a:pt x="f561" y="f360"/>
                  </a:lnTo>
                  <a:lnTo>
                    <a:pt x="f433" y="f562"/>
                  </a:lnTo>
                  <a:lnTo>
                    <a:pt x="f475" y="f563"/>
                  </a:lnTo>
                  <a:lnTo>
                    <a:pt x="f180" y="f56"/>
                  </a:lnTo>
                  <a:lnTo>
                    <a:pt x="f467" y="f564"/>
                  </a:lnTo>
                  <a:lnTo>
                    <a:pt x="f565" y="f566"/>
                  </a:lnTo>
                  <a:lnTo>
                    <a:pt x="f525" y="f139"/>
                  </a:lnTo>
                  <a:lnTo>
                    <a:pt x="f525" y="f66"/>
                  </a:lnTo>
                  <a:lnTo>
                    <a:pt x="f565" y="f68"/>
                  </a:lnTo>
                  <a:lnTo>
                    <a:pt x="f181" y="f567"/>
                  </a:lnTo>
                  <a:lnTo>
                    <a:pt x="f559" y="f336"/>
                  </a:lnTo>
                  <a:lnTo>
                    <a:pt x="f568" y="f569"/>
                  </a:lnTo>
                  <a:lnTo>
                    <a:pt x="f570" y="f571"/>
                  </a:lnTo>
                  <a:lnTo>
                    <a:pt x="f572" y="f71"/>
                  </a:lnTo>
                  <a:lnTo>
                    <a:pt x="f573" y="f136"/>
                  </a:lnTo>
                  <a:lnTo>
                    <a:pt x="f432" y="f574"/>
                  </a:lnTo>
                  <a:lnTo>
                    <a:pt x="f575" y="f576"/>
                  </a:lnTo>
                  <a:lnTo>
                    <a:pt x="f577" y="f328"/>
                  </a:lnTo>
                  <a:lnTo>
                    <a:pt x="f496" y="f578"/>
                  </a:lnTo>
                  <a:lnTo>
                    <a:pt x="f498" y="f578"/>
                  </a:lnTo>
                  <a:lnTo>
                    <a:pt x="f500" y="f579"/>
                  </a:lnTo>
                  <a:lnTo>
                    <a:pt x="f502" y="f79"/>
                  </a:lnTo>
                  <a:lnTo>
                    <a:pt x="f424" y="f580"/>
                  </a:lnTo>
                  <a:lnTo>
                    <a:pt x="f424" y="f581"/>
                  </a:lnTo>
                  <a:lnTo>
                    <a:pt x="f582" y="f239"/>
                  </a:lnTo>
                  <a:lnTo>
                    <a:pt x="f500" y="f583"/>
                  </a:lnTo>
                  <a:lnTo>
                    <a:pt x="f584" y="f225"/>
                  </a:lnTo>
                  <a:lnTo>
                    <a:pt x="f426" y="f585"/>
                  </a:lnTo>
                  <a:lnTo>
                    <a:pt x="f586" y="f220"/>
                  </a:lnTo>
                  <a:lnTo>
                    <a:pt x="f587" y="f109"/>
                  </a:lnTo>
                  <a:lnTo>
                    <a:pt x="f588" y="f84"/>
                  </a:lnTo>
                  <a:lnTo>
                    <a:pt x="f589" y="f13"/>
                  </a:lnTo>
                  <a:lnTo>
                    <a:pt x="f589" y="f65"/>
                  </a:lnTo>
                  <a:lnTo>
                    <a:pt x="f498" y="f590"/>
                  </a:lnTo>
                  <a:lnTo>
                    <a:pt x="f591" y="f592"/>
                  </a:lnTo>
                  <a:lnTo>
                    <a:pt x="f587" y="f61"/>
                  </a:lnTo>
                  <a:lnTo>
                    <a:pt x="f586" y="f593"/>
                  </a:lnTo>
                  <a:lnTo>
                    <a:pt x="f594" y="f118"/>
                  </a:lnTo>
                  <a:lnTo>
                    <a:pt x="f595" y="f118"/>
                  </a:lnTo>
                  <a:lnTo>
                    <a:pt x="f515" y="f118"/>
                  </a:lnTo>
                  <a:lnTo>
                    <a:pt x="f596" y="f61"/>
                  </a:lnTo>
                  <a:lnTo>
                    <a:pt x="f597" y="f592"/>
                  </a:lnTo>
                  <a:lnTo>
                    <a:pt x="f598" y="f116"/>
                  </a:lnTo>
                  <a:lnTo>
                    <a:pt x="f599" y="f65"/>
                  </a:lnTo>
                  <a:lnTo>
                    <a:pt x="f600" y="f67"/>
                  </a:lnTo>
                  <a:lnTo>
                    <a:pt x="f601" y="f602"/>
                  </a:lnTo>
                  <a:lnTo>
                    <a:pt x="f603" y="f112"/>
                  </a:lnTo>
                  <a:lnTo>
                    <a:pt x="f604" y="f605"/>
                  </a:lnTo>
                  <a:lnTo>
                    <a:pt x="f606" y="f607"/>
                  </a:lnTo>
                  <a:lnTo>
                    <a:pt x="f608" y="f609"/>
                  </a:lnTo>
                  <a:lnTo>
                    <a:pt x="f610" y="f271"/>
                  </a:lnTo>
                  <a:lnTo>
                    <a:pt x="f611" y="f267"/>
                  </a:lnTo>
                  <a:lnTo>
                    <a:pt x="f612" y="f271"/>
                  </a:lnTo>
                  <a:lnTo>
                    <a:pt x="f613" y="f609"/>
                  </a:lnTo>
                  <a:lnTo>
                    <a:pt x="f614" y="f607"/>
                  </a:lnTo>
                  <a:lnTo>
                    <a:pt x="f615" y="f605"/>
                  </a:lnTo>
                  <a:lnTo>
                    <a:pt x="f616" y="f617"/>
                  </a:lnTo>
                  <a:lnTo>
                    <a:pt x="f402" y="f72"/>
                  </a:lnTo>
                  <a:lnTo>
                    <a:pt x="f533" y="f618"/>
                  </a:lnTo>
                  <a:lnTo>
                    <a:pt x="f619" y="f617"/>
                  </a:lnTo>
                  <a:lnTo>
                    <a:pt x="f620" y="f84"/>
                  </a:lnTo>
                  <a:lnTo>
                    <a:pt x="f621" y="f622"/>
                  </a:lnTo>
                  <a:lnTo>
                    <a:pt x="f22" y="f623"/>
                  </a:lnTo>
                  <a:lnTo>
                    <a:pt x="f624" y="f109"/>
                  </a:lnTo>
                  <a:lnTo>
                    <a:pt x="f625" y="f90"/>
                  </a:lnTo>
                  <a:lnTo>
                    <a:pt x="f625" y="f265"/>
                  </a:lnTo>
                  <a:lnTo>
                    <a:pt x="f626" y="f269"/>
                  </a:lnTo>
                  <a:lnTo>
                    <a:pt x="f627" y="f607"/>
                  </a:lnTo>
                  <a:lnTo>
                    <a:pt x="f624" y="f628"/>
                  </a:lnTo>
                  <a:lnTo>
                    <a:pt x="f629" y="f82"/>
                  </a:lnTo>
                  <a:lnTo>
                    <a:pt x="f630" y="f63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4" name="Freeform 426">
              <a:extLst>
                <a:ext uri="{FF2B5EF4-FFF2-40B4-BE49-F238E27FC236}">
                  <a16:creationId xmlns:a16="http://schemas.microsoft.com/office/drawing/2014/main" id="{07EB30AE-1222-7D03-439E-F57A4BC5C76D}"/>
                </a:ext>
              </a:extLst>
            </p:cNvPr>
            <p:cNvSpPr/>
            <p:nvPr/>
          </p:nvSpPr>
          <p:spPr>
            <a:xfrm>
              <a:off x="2848564" y="1818960"/>
              <a:ext cx="42473" cy="358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0"/>
                <a:gd name="f7" fmla="val 36"/>
                <a:gd name="f8" fmla="val 39"/>
                <a:gd name="f9" fmla="val 19"/>
                <a:gd name="f10" fmla="val 38"/>
                <a:gd name="f11" fmla="val 21"/>
                <a:gd name="f12" fmla="val 35"/>
                <a:gd name="f13" fmla="val 25"/>
                <a:gd name="f14" fmla="val 31"/>
                <a:gd name="f15" fmla="val 29"/>
                <a:gd name="f16" fmla="val 27"/>
                <a:gd name="f17" fmla="val 33"/>
                <a:gd name="f18" fmla="val 23"/>
                <a:gd name="f19" fmla="val 18"/>
                <a:gd name="f20" fmla="val 13"/>
                <a:gd name="f21" fmla="val 12"/>
                <a:gd name="f22" fmla="val 11"/>
                <a:gd name="f23" fmla="val 10"/>
                <a:gd name="f24" fmla="val 8"/>
                <a:gd name="f25" fmla="val 4"/>
                <a:gd name="f26" fmla="val 1"/>
                <a:gd name="f27" fmla="val 24"/>
                <a:gd name="f28" fmla="val 16"/>
                <a:gd name="f29" fmla="val 7"/>
                <a:gd name="f30" fmla="val 6"/>
                <a:gd name="f31" fmla="val 2"/>
                <a:gd name="f32" fmla="val 3"/>
                <a:gd name="f33" fmla="val 37"/>
                <a:gd name="f34" fmla="+- 0 0 -90"/>
                <a:gd name="f35" fmla="*/ f3 1 40"/>
                <a:gd name="f36" fmla="*/ f4 1 36"/>
                <a:gd name="f37" fmla="val f5"/>
                <a:gd name="f38" fmla="val f6"/>
                <a:gd name="f39" fmla="val f7"/>
                <a:gd name="f40" fmla="*/ f34 f0 1"/>
                <a:gd name="f41" fmla="+- f39 0 f37"/>
                <a:gd name="f42" fmla="+- f38 0 f37"/>
                <a:gd name="f43" fmla="*/ f40 1 f2"/>
                <a:gd name="f44" fmla="*/ f42 1 40"/>
                <a:gd name="f45" fmla="*/ f41 1 36"/>
                <a:gd name="f46" fmla="*/ 2147483646 f42 1"/>
                <a:gd name="f47" fmla="*/ 2147483646 f41 1"/>
                <a:gd name="f48" fmla="*/ 0 f42 1"/>
                <a:gd name="f49" fmla="*/ 0 f41 1"/>
                <a:gd name="f50" fmla="+- f43 0 f1"/>
                <a:gd name="f51" fmla="*/ f46 1 40"/>
                <a:gd name="f52" fmla="*/ f47 1 36"/>
                <a:gd name="f53" fmla="*/ f48 1 40"/>
                <a:gd name="f54" fmla="*/ f49 1 36"/>
                <a:gd name="f55" fmla="*/ 0 1 f44"/>
                <a:gd name="f56" fmla="*/ f38 1 f44"/>
                <a:gd name="f57" fmla="*/ 0 1 f45"/>
                <a:gd name="f58" fmla="*/ f39 1 f45"/>
                <a:gd name="f59" fmla="*/ f51 1 f44"/>
                <a:gd name="f60" fmla="*/ f52 1 f45"/>
                <a:gd name="f61" fmla="*/ f53 1 f44"/>
                <a:gd name="f62" fmla="*/ f54 1 f45"/>
                <a:gd name="f63" fmla="*/ f55 f35 1"/>
                <a:gd name="f64" fmla="*/ f56 f35 1"/>
                <a:gd name="f65" fmla="*/ f58 f36 1"/>
                <a:gd name="f66" fmla="*/ f57 f36 1"/>
                <a:gd name="f67" fmla="*/ f59 f35 1"/>
                <a:gd name="f68" fmla="*/ f60 f36 1"/>
                <a:gd name="f69" fmla="*/ f61 f35 1"/>
                <a:gd name="f70" fmla="*/ f62 f3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9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70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</a:cxnLst>
              <a:rect l="f63" t="f66" r="f64" b="f65"/>
              <a:pathLst>
                <a:path w="40" h="36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2"/>
                  </a:lnTo>
                  <a:lnTo>
                    <a:pt x="f19" y="f7"/>
                  </a:lnTo>
                  <a:lnTo>
                    <a:pt x="f20" y="f7"/>
                  </a:lnTo>
                  <a:lnTo>
                    <a:pt x="f21" y="f7"/>
                  </a:lnTo>
                  <a:lnTo>
                    <a:pt x="f22" y="f12"/>
                  </a:lnTo>
                  <a:lnTo>
                    <a:pt x="f23" y="f17"/>
                  </a:lnTo>
                  <a:lnTo>
                    <a:pt x="f24" y="f14"/>
                  </a:lnTo>
                  <a:lnTo>
                    <a:pt x="f25" y="f16"/>
                  </a:lnTo>
                  <a:lnTo>
                    <a:pt x="f26" y="f27"/>
                  </a:lnTo>
                  <a:lnTo>
                    <a:pt x="f5" y="f9"/>
                  </a:lnTo>
                  <a:lnTo>
                    <a:pt x="f26" y="f28"/>
                  </a:lnTo>
                  <a:lnTo>
                    <a:pt x="f29" y="f22"/>
                  </a:lnTo>
                  <a:lnTo>
                    <a:pt x="f21" y="f30"/>
                  </a:lnTo>
                  <a:lnTo>
                    <a:pt x="f28" y="f31"/>
                  </a:lnTo>
                  <a:lnTo>
                    <a:pt x="f9" y="f5"/>
                  </a:lnTo>
                  <a:lnTo>
                    <a:pt x="f27" y="f26"/>
                  </a:lnTo>
                  <a:lnTo>
                    <a:pt x="f14" y="f32"/>
                  </a:lnTo>
                  <a:lnTo>
                    <a:pt x="f33" y="f30"/>
                  </a:lnTo>
                  <a:lnTo>
                    <a:pt x="f6" y="f22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5" name="Freeform 427">
              <a:extLst>
                <a:ext uri="{FF2B5EF4-FFF2-40B4-BE49-F238E27FC236}">
                  <a16:creationId xmlns:a16="http://schemas.microsoft.com/office/drawing/2014/main" id="{25B5C6A4-0FA3-638D-53C6-103CB9AA3E25}"/>
                </a:ext>
              </a:extLst>
            </p:cNvPr>
            <p:cNvSpPr/>
            <p:nvPr/>
          </p:nvSpPr>
          <p:spPr>
            <a:xfrm>
              <a:off x="3211242" y="2108541"/>
              <a:ext cx="0" cy="467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"/>
                <a:gd name="f7" fmla="val 4"/>
                <a:gd name="f8" fmla="val 2"/>
                <a:gd name="f9" fmla="+- 0 0 -90"/>
                <a:gd name="f10" fmla="*/ f3 1 1"/>
                <a:gd name="f11" fmla="*/ f4 1 4"/>
                <a:gd name="f12" fmla="val f5"/>
                <a:gd name="f13" fmla="val f6"/>
                <a:gd name="f14" fmla="val f7"/>
                <a:gd name="f15" fmla="*/ f9 f0 1"/>
                <a:gd name="f16" fmla="+- f14 0 f12"/>
                <a:gd name="f17" fmla="+- f13 0 f12"/>
                <a:gd name="f18" fmla="*/ f15 1 f2"/>
                <a:gd name="f19" fmla="*/ f16 1 4"/>
                <a:gd name="f20" fmla="val f17"/>
                <a:gd name="f21" fmla="*/ 1 f17 1"/>
                <a:gd name="f22" fmla="*/ 2147483646 f16 1"/>
                <a:gd name="f23" fmla="*/ 0 f17 1"/>
                <a:gd name="f24" fmla="*/ 0 f16 1"/>
                <a:gd name="f25" fmla="+- f18 0 f1"/>
                <a:gd name="f26" fmla="*/ f22 1 4"/>
                <a:gd name="f27" fmla="*/ f24 1 4"/>
                <a:gd name="f28" fmla="*/ f21 1 f20"/>
                <a:gd name="f29" fmla="*/ f23 1 f20"/>
                <a:gd name="f30" fmla="*/ 0 1 f20"/>
                <a:gd name="f31" fmla="*/ f13 1 f20"/>
                <a:gd name="f32" fmla="*/ 0 1 f19"/>
                <a:gd name="f33" fmla="*/ f14 1 f19"/>
                <a:gd name="f34" fmla="*/ f26 1 f19"/>
                <a:gd name="f35" fmla="*/ f27 1 f19"/>
                <a:gd name="f36" fmla="*/ f30 f10 1"/>
                <a:gd name="f37" fmla="*/ f31 f10 1"/>
                <a:gd name="f38" fmla="*/ f33 f11 1"/>
                <a:gd name="f39" fmla="*/ f32 f11 1"/>
                <a:gd name="f40" fmla="*/ f28 f10 1"/>
                <a:gd name="f41" fmla="*/ f29 f10 1"/>
                <a:gd name="f42" fmla="*/ f34 f11 1"/>
                <a:gd name="f43" fmla="*/ f35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">
                  <a:pos x="f40" y="f42"/>
                </a:cxn>
                <a:cxn ang="f25">
                  <a:pos x="f40" y="f42"/>
                </a:cxn>
                <a:cxn ang="f25">
                  <a:pos x="f40" y="f42"/>
                </a:cxn>
                <a:cxn ang="f25">
                  <a:pos x="f41" y="f43"/>
                </a:cxn>
                <a:cxn ang="f25">
                  <a:pos x="f41" y="f43"/>
                </a:cxn>
                <a:cxn ang="f25">
                  <a:pos x="f40" y="f42"/>
                </a:cxn>
                <a:cxn ang="f25">
                  <a:pos x="f40" y="f42"/>
                </a:cxn>
                <a:cxn ang="f25">
                  <a:pos x="f40" y="f42"/>
                </a:cxn>
                <a:cxn ang="f25">
                  <a:pos x="f40" y="f42"/>
                </a:cxn>
              </a:cxnLst>
              <a:rect l="f36" t="f39" r="f37" b="f38"/>
              <a:pathLst>
                <a:path w="1" h="4">
                  <a:moveTo>
                    <a:pt x="f6" y="f8"/>
                  </a:moveTo>
                  <a:lnTo>
                    <a:pt x="f6" y="f6"/>
                  </a:lnTo>
                  <a:lnTo>
                    <a:pt x="f5" y="f5"/>
                  </a:lnTo>
                  <a:lnTo>
                    <a:pt x="f6" y="f8"/>
                  </a:lnTo>
                  <a:lnTo>
                    <a:pt x="f6" y="f7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6" name="Freeform 428">
              <a:extLst>
                <a:ext uri="{FF2B5EF4-FFF2-40B4-BE49-F238E27FC236}">
                  <a16:creationId xmlns:a16="http://schemas.microsoft.com/office/drawing/2014/main" id="{739B1E61-F83E-1926-E5AC-024E905220FF}"/>
                </a:ext>
              </a:extLst>
            </p:cNvPr>
            <p:cNvSpPr/>
            <p:nvPr/>
          </p:nvSpPr>
          <p:spPr>
            <a:xfrm>
              <a:off x="3578822" y="2141231"/>
              <a:ext cx="3264" cy="622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"/>
                <a:gd name="f7" fmla="val 8"/>
                <a:gd name="f8" fmla="val 6"/>
                <a:gd name="f9" fmla="val 2"/>
                <a:gd name="f10" fmla="val 3"/>
                <a:gd name="f11" fmla="val 1"/>
                <a:gd name="f12" fmla="+- 0 0 -90"/>
                <a:gd name="f13" fmla="*/ f3 1 5"/>
                <a:gd name="f14" fmla="*/ f4 1 8"/>
                <a:gd name="f15" fmla="val f5"/>
                <a:gd name="f16" fmla="val f6"/>
                <a:gd name="f17" fmla="val f7"/>
                <a:gd name="f18" fmla="*/ f12 f0 1"/>
                <a:gd name="f19" fmla="+- f17 0 f15"/>
                <a:gd name="f20" fmla="+- f16 0 f15"/>
                <a:gd name="f21" fmla="*/ f18 1 f2"/>
                <a:gd name="f22" fmla="*/ f19 1 8"/>
                <a:gd name="f23" fmla="*/ f20 1 5"/>
                <a:gd name="f24" fmla="*/ 2147483646 f20 1"/>
                <a:gd name="f25" fmla="*/ 2147483646 f19 1"/>
                <a:gd name="f26" fmla="*/ 0 f19 1"/>
                <a:gd name="f27" fmla="*/ 0 f20 1"/>
                <a:gd name="f28" fmla="+- f21 0 f1"/>
                <a:gd name="f29" fmla="*/ f24 1 5"/>
                <a:gd name="f30" fmla="*/ f25 1 8"/>
                <a:gd name="f31" fmla="*/ f26 1 8"/>
                <a:gd name="f32" fmla="*/ f27 1 5"/>
                <a:gd name="f33" fmla="*/ 0 1 f23"/>
                <a:gd name="f34" fmla="*/ f16 1 f23"/>
                <a:gd name="f35" fmla="*/ 0 1 f22"/>
                <a:gd name="f36" fmla="*/ f17 1 f22"/>
                <a:gd name="f37" fmla="*/ f29 1 f23"/>
                <a:gd name="f38" fmla="*/ f30 1 f22"/>
                <a:gd name="f39" fmla="*/ f31 1 f22"/>
                <a:gd name="f40" fmla="*/ f32 1 f23"/>
                <a:gd name="f41" fmla="*/ f33 f13 1"/>
                <a:gd name="f42" fmla="*/ f34 f13 1"/>
                <a:gd name="f43" fmla="*/ f36 f14 1"/>
                <a:gd name="f44" fmla="*/ f35 f14 1"/>
                <a:gd name="f45" fmla="*/ f37 f13 1"/>
                <a:gd name="f46" fmla="*/ f38 f14 1"/>
                <a:gd name="f47" fmla="*/ f39 f14 1"/>
                <a:gd name="f48" fmla="*/ f40 f1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45" y="f46"/>
                </a:cxn>
                <a:cxn ang="f28">
                  <a:pos x="f45" y="f46"/>
                </a:cxn>
                <a:cxn ang="f28">
                  <a:pos x="f45" y="f46"/>
                </a:cxn>
                <a:cxn ang="f28">
                  <a:pos x="f45" y="f46"/>
                </a:cxn>
                <a:cxn ang="f28">
                  <a:pos x="f45" y="f47"/>
                </a:cxn>
                <a:cxn ang="f28">
                  <a:pos x="f48" y="f47"/>
                </a:cxn>
                <a:cxn ang="f28">
                  <a:pos x="f48" y="f46"/>
                </a:cxn>
                <a:cxn ang="f28">
                  <a:pos x="f45" y="f46"/>
                </a:cxn>
                <a:cxn ang="f28">
                  <a:pos x="f45" y="f46"/>
                </a:cxn>
              </a:cxnLst>
              <a:rect l="f41" t="f44" r="f42" b="f43"/>
              <a:pathLst>
                <a:path w="5" h="8">
                  <a:moveTo>
                    <a:pt x="f6" y="f7"/>
                  </a:moveTo>
                  <a:lnTo>
                    <a:pt x="f6" y="f8"/>
                  </a:lnTo>
                  <a:lnTo>
                    <a:pt x="f6" y="f6"/>
                  </a:lnTo>
                  <a:lnTo>
                    <a:pt x="f6" y="f9"/>
                  </a:lnTo>
                  <a:lnTo>
                    <a:pt x="f10" y="f5"/>
                  </a:lnTo>
                  <a:lnTo>
                    <a:pt x="f5" y="f5"/>
                  </a:lnTo>
                  <a:lnTo>
                    <a:pt x="f5" y="f11"/>
                  </a:lnTo>
                  <a:lnTo>
                    <a:pt x="f9" y="f6"/>
                  </a:lnTo>
                  <a:lnTo>
                    <a:pt x="f6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7" name="Freeform 430">
              <a:extLst>
                <a:ext uri="{FF2B5EF4-FFF2-40B4-BE49-F238E27FC236}">
                  <a16:creationId xmlns:a16="http://schemas.microsoft.com/office/drawing/2014/main" id="{D530E44E-E489-9AB6-D1F4-E1355884D4F4}"/>
                </a:ext>
              </a:extLst>
            </p:cNvPr>
            <p:cNvSpPr/>
            <p:nvPr/>
          </p:nvSpPr>
          <p:spPr>
            <a:xfrm>
              <a:off x="3410554" y="2191057"/>
              <a:ext cx="148663" cy="1183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5"/>
                <a:gd name="f7" fmla="val 119"/>
                <a:gd name="f8" fmla="val 122"/>
                <a:gd name="f9" fmla="val 59"/>
                <a:gd name="f10" fmla="val 124"/>
                <a:gd name="f11" fmla="val 60"/>
                <a:gd name="f12" fmla="val 130"/>
                <a:gd name="f13" fmla="val 62"/>
                <a:gd name="f14" fmla="val 67"/>
                <a:gd name="f15" fmla="val 133"/>
                <a:gd name="f16" fmla="val 71"/>
                <a:gd name="f17" fmla="val 129"/>
                <a:gd name="f18" fmla="val 76"/>
                <a:gd name="f19" fmla="val 126"/>
                <a:gd name="f20" fmla="val 78"/>
                <a:gd name="f21" fmla="val 81"/>
                <a:gd name="f22" fmla="val 121"/>
                <a:gd name="f23" fmla="val 83"/>
                <a:gd name="f24" fmla="val 118"/>
                <a:gd name="f25" fmla="val 116"/>
                <a:gd name="f26" fmla="val 114"/>
                <a:gd name="f27" fmla="val 82"/>
                <a:gd name="f28" fmla="val 108"/>
                <a:gd name="f29" fmla="val 79"/>
                <a:gd name="f30" fmla="val 101"/>
                <a:gd name="f31" fmla="val 77"/>
                <a:gd name="f32" fmla="val 95"/>
                <a:gd name="f33" fmla="val 75"/>
                <a:gd name="f34" fmla="val 91"/>
                <a:gd name="f35" fmla="val 74"/>
                <a:gd name="f36" fmla="val 86"/>
                <a:gd name="f37" fmla="val 68"/>
                <a:gd name="f38" fmla="val 66"/>
                <a:gd name="f39" fmla="val 72"/>
                <a:gd name="f40" fmla="val 70"/>
                <a:gd name="f41" fmla="val 85"/>
                <a:gd name="f42" fmla="val 92"/>
                <a:gd name="f43" fmla="val 96"/>
                <a:gd name="f44" fmla="val 61"/>
                <a:gd name="f45" fmla="val 99"/>
                <a:gd name="f46" fmla="val 58"/>
                <a:gd name="f47" fmla="val 102"/>
                <a:gd name="f48" fmla="val 57"/>
                <a:gd name="f49" fmla="val 107"/>
                <a:gd name="f50" fmla="val 56"/>
                <a:gd name="f51" fmla="val 111"/>
                <a:gd name="f52" fmla="val 53"/>
                <a:gd name="f53" fmla="val 48"/>
                <a:gd name="f54" fmla="val 117"/>
                <a:gd name="f55" fmla="val 44"/>
                <a:gd name="f56" fmla="val 40"/>
                <a:gd name="f57" fmla="val 39"/>
                <a:gd name="f58" fmla="val 38"/>
                <a:gd name="f59" fmla="val 105"/>
                <a:gd name="f60" fmla="val 34"/>
                <a:gd name="f61" fmla="val 100"/>
                <a:gd name="f62" fmla="val 29"/>
                <a:gd name="f63" fmla="val 23"/>
                <a:gd name="f64" fmla="val 20"/>
                <a:gd name="f65" fmla="val 17"/>
                <a:gd name="f66" fmla="val 10"/>
                <a:gd name="f67" fmla="val 104"/>
                <a:gd name="f68" fmla="val 3"/>
                <a:gd name="f69" fmla="val 1"/>
                <a:gd name="f70" fmla="val 97"/>
                <a:gd name="f71" fmla="val 4"/>
                <a:gd name="f72" fmla="val 90"/>
                <a:gd name="f73" fmla="val 9"/>
                <a:gd name="f74" fmla="val 84"/>
                <a:gd name="f75" fmla="val 12"/>
                <a:gd name="f76" fmla="val 16"/>
                <a:gd name="f77" fmla="val 14"/>
                <a:gd name="f78" fmla="val 11"/>
                <a:gd name="f79" fmla="val 55"/>
                <a:gd name="f80" fmla="val 8"/>
                <a:gd name="f81" fmla="val 35"/>
                <a:gd name="f82" fmla="val 26"/>
                <a:gd name="f83" fmla="val 2"/>
                <a:gd name="f84" fmla="val 18"/>
                <a:gd name="f85" fmla="val 24"/>
                <a:gd name="f86" fmla="val 27"/>
                <a:gd name="f87" fmla="val 30"/>
                <a:gd name="f88" fmla="val 32"/>
                <a:gd name="f89" fmla="val 33"/>
                <a:gd name="f90" fmla="val 37"/>
                <a:gd name="f91" fmla="val 28"/>
                <a:gd name="f92" fmla="val 25"/>
                <a:gd name="f93" fmla="val 54"/>
                <a:gd name="f94" fmla="val 93"/>
                <a:gd name="f95" fmla="val 98"/>
                <a:gd name="f96" fmla="+- 0 0 -90"/>
                <a:gd name="f97" fmla="*/ f3 1 135"/>
                <a:gd name="f98" fmla="*/ f4 1 119"/>
                <a:gd name="f99" fmla="val f5"/>
                <a:gd name="f100" fmla="val f6"/>
                <a:gd name="f101" fmla="val f7"/>
                <a:gd name="f102" fmla="*/ f96 f0 1"/>
                <a:gd name="f103" fmla="+- f101 0 f99"/>
                <a:gd name="f104" fmla="+- f100 0 f99"/>
                <a:gd name="f105" fmla="*/ f102 1 f2"/>
                <a:gd name="f106" fmla="*/ f104 1 135"/>
                <a:gd name="f107" fmla="*/ f103 1 119"/>
                <a:gd name="f108" fmla="*/ 2147483646 f104 1"/>
                <a:gd name="f109" fmla="*/ 2147483646 f103 1"/>
                <a:gd name="f110" fmla="+- f105 0 f1"/>
                <a:gd name="f111" fmla="*/ f108 1 135"/>
                <a:gd name="f112" fmla="*/ f109 1 119"/>
                <a:gd name="f113" fmla="*/ 0 1 f106"/>
                <a:gd name="f114" fmla="*/ f100 1 f106"/>
                <a:gd name="f115" fmla="*/ 0 1 f107"/>
                <a:gd name="f116" fmla="*/ f101 1 f107"/>
                <a:gd name="f117" fmla="*/ f111 1 f106"/>
                <a:gd name="f118" fmla="*/ f112 1 f107"/>
                <a:gd name="f119" fmla="*/ f113 f97 1"/>
                <a:gd name="f120" fmla="*/ f114 f97 1"/>
                <a:gd name="f121" fmla="*/ f116 f98 1"/>
                <a:gd name="f122" fmla="*/ f115 f98 1"/>
                <a:gd name="f123" fmla="*/ f117 f97 1"/>
                <a:gd name="f124" fmla="*/ f118 f9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  <a:cxn ang="f110">
                  <a:pos x="f123" y="f124"/>
                </a:cxn>
              </a:cxnLst>
              <a:rect l="f119" t="f122" r="f120" b="f121"/>
              <a:pathLst>
                <a:path w="135" h="119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6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0" y="f21"/>
                  </a:lnTo>
                  <a:lnTo>
                    <a:pt x="f22" y="f23"/>
                  </a:lnTo>
                  <a:lnTo>
                    <a:pt x="f24" y="f23"/>
                  </a:lnTo>
                  <a:lnTo>
                    <a:pt x="f25" y="f23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16"/>
                  </a:lnTo>
                  <a:lnTo>
                    <a:pt x="f27" y="f37"/>
                  </a:lnTo>
                  <a:lnTo>
                    <a:pt x="f31" y="f38"/>
                  </a:lnTo>
                  <a:lnTo>
                    <a:pt x="f39" y="f38"/>
                  </a:lnTo>
                  <a:lnTo>
                    <a:pt x="f40" y="f40"/>
                  </a:lnTo>
                  <a:lnTo>
                    <a:pt x="f16" y="f20"/>
                  </a:lnTo>
                  <a:lnTo>
                    <a:pt x="f39" y="f41"/>
                  </a:lnTo>
                  <a:lnTo>
                    <a:pt x="f39" y="f42"/>
                  </a:lnTo>
                  <a:lnTo>
                    <a:pt x="f37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26"/>
                  </a:lnTo>
                  <a:lnTo>
                    <a:pt x="f53" y="f54"/>
                  </a:lnTo>
                  <a:lnTo>
                    <a:pt x="f55" y="f7"/>
                  </a:lnTo>
                  <a:lnTo>
                    <a:pt x="f56" y="f25"/>
                  </a:lnTo>
                  <a:lnTo>
                    <a:pt x="f57" y="f51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45"/>
                  </a:lnTo>
                  <a:lnTo>
                    <a:pt x="f63" y="f45"/>
                  </a:lnTo>
                  <a:lnTo>
                    <a:pt x="f64" y="f61"/>
                  </a:lnTo>
                  <a:lnTo>
                    <a:pt x="f65" y="f30"/>
                  </a:lnTo>
                  <a:lnTo>
                    <a:pt x="f66" y="f67"/>
                  </a:lnTo>
                  <a:lnTo>
                    <a:pt x="f68" y="f59"/>
                  </a:lnTo>
                  <a:lnTo>
                    <a:pt x="f5" y="f30"/>
                  </a:lnTo>
                  <a:lnTo>
                    <a:pt x="f69" y="f70"/>
                  </a:lnTo>
                  <a:lnTo>
                    <a:pt x="f71" y="f72"/>
                  </a:lnTo>
                  <a:lnTo>
                    <a:pt x="f73" y="f74"/>
                  </a:lnTo>
                  <a:lnTo>
                    <a:pt x="f75" y="f27"/>
                  </a:lnTo>
                  <a:lnTo>
                    <a:pt x="f76" y="f29"/>
                  </a:lnTo>
                  <a:lnTo>
                    <a:pt x="f76" y="f33"/>
                  </a:lnTo>
                  <a:lnTo>
                    <a:pt x="f77" y="f37"/>
                  </a:lnTo>
                  <a:lnTo>
                    <a:pt x="f75" y="f44"/>
                  </a:lnTo>
                  <a:lnTo>
                    <a:pt x="f78" y="f79"/>
                  </a:lnTo>
                  <a:lnTo>
                    <a:pt x="f75" y="f53"/>
                  </a:lnTo>
                  <a:lnTo>
                    <a:pt x="f75" y="f55"/>
                  </a:lnTo>
                  <a:lnTo>
                    <a:pt x="f66" y="f57"/>
                  </a:lnTo>
                  <a:lnTo>
                    <a:pt x="f80" y="f81"/>
                  </a:lnTo>
                  <a:lnTo>
                    <a:pt x="f80" y="f82"/>
                  </a:lnTo>
                  <a:lnTo>
                    <a:pt x="f80" y="f76"/>
                  </a:lnTo>
                  <a:lnTo>
                    <a:pt x="f80" y="f80"/>
                  </a:lnTo>
                  <a:lnTo>
                    <a:pt x="f73" y="f83"/>
                  </a:lnTo>
                  <a:lnTo>
                    <a:pt x="f75" y="f5"/>
                  </a:lnTo>
                  <a:lnTo>
                    <a:pt x="f84" y="f69"/>
                  </a:lnTo>
                  <a:lnTo>
                    <a:pt x="f85" y="f68"/>
                  </a:lnTo>
                  <a:lnTo>
                    <a:pt x="f86" y="f73"/>
                  </a:lnTo>
                  <a:lnTo>
                    <a:pt x="f87" y="f84"/>
                  </a:lnTo>
                  <a:lnTo>
                    <a:pt x="f88" y="f82"/>
                  </a:lnTo>
                  <a:lnTo>
                    <a:pt x="f89" y="f87"/>
                  </a:lnTo>
                  <a:lnTo>
                    <a:pt x="f90" y="f87"/>
                  </a:lnTo>
                  <a:lnTo>
                    <a:pt x="f56" y="f91"/>
                  </a:lnTo>
                  <a:lnTo>
                    <a:pt x="f55" y="f92"/>
                  </a:lnTo>
                  <a:lnTo>
                    <a:pt x="f53" y="f63"/>
                  </a:lnTo>
                  <a:lnTo>
                    <a:pt x="f93" y="f63"/>
                  </a:lnTo>
                  <a:lnTo>
                    <a:pt x="f44" y="f85"/>
                  </a:lnTo>
                  <a:lnTo>
                    <a:pt x="f40" y="f82"/>
                  </a:lnTo>
                  <a:lnTo>
                    <a:pt x="f20" y="f87"/>
                  </a:lnTo>
                  <a:lnTo>
                    <a:pt x="f41" y="f89"/>
                  </a:lnTo>
                  <a:lnTo>
                    <a:pt x="f72" y="f56"/>
                  </a:lnTo>
                  <a:lnTo>
                    <a:pt x="f94" y="f53"/>
                  </a:lnTo>
                  <a:lnTo>
                    <a:pt x="f95" y="f93"/>
                  </a:lnTo>
                  <a:lnTo>
                    <a:pt x="f61" y="f46"/>
                  </a:lnTo>
                  <a:lnTo>
                    <a:pt x="f30" y="f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8" name="Freeform 431">
              <a:extLst>
                <a:ext uri="{FF2B5EF4-FFF2-40B4-BE49-F238E27FC236}">
                  <a16:creationId xmlns:a16="http://schemas.microsoft.com/office/drawing/2014/main" id="{9450E7C6-2DAE-D24E-49F6-6615E291D45B}"/>
                </a:ext>
              </a:extLst>
            </p:cNvPr>
            <p:cNvSpPr/>
            <p:nvPr/>
          </p:nvSpPr>
          <p:spPr>
            <a:xfrm>
              <a:off x="3291289" y="1836087"/>
              <a:ext cx="615903" cy="392332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556"/>
                <a:gd name="f8" fmla="val 395"/>
                <a:gd name="f9" fmla="val 539"/>
                <a:gd name="f10" fmla="val 379"/>
                <a:gd name="f11" fmla="val 540"/>
                <a:gd name="f12" fmla="val 380"/>
                <a:gd name="f13" fmla="val 542"/>
                <a:gd name="f14" fmla="val 383"/>
                <a:gd name="f15" fmla="val 541"/>
                <a:gd name="f16" fmla="val 387"/>
                <a:gd name="f17" fmla="val 533"/>
                <a:gd name="f18" fmla="val 388"/>
                <a:gd name="f19" fmla="val 527"/>
                <a:gd name="f20" fmla="val 523"/>
                <a:gd name="f21" fmla="val 518"/>
                <a:gd name="f22" fmla="val 514"/>
                <a:gd name="f23" fmla="val 510"/>
                <a:gd name="f24" fmla="val 506"/>
                <a:gd name="f25" fmla="val 389"/>
                <a:gd name="f26" fmla="val 501"/>
                <a:gd name="f27" fmla="val 390"/>
                <a:gd name="f28" fmla="val 495"/>
                <a:gd name="f29" fmla="val 392"/>
                <a:gd name="f30" fmla="val 488"/>
                <a:gd name="f31" fmla="val 393"/>
                <a:gd name="f32" fmla="val 482"/>
                <a:gd name="f33" fmla="val 394"/>
                <a:gd name="f34" fmla="val 478"/>
                <a:gd name="f35" fmla="val 473"/>
                <a:gd name="f36" fmla="val 468"/>
                <a:gd name="f37" fmla="val 464"/>
                <a:gd name="f38" fmla="val 459"/>
                <a:gd name="f39" fmla="val 453"/>
                <a:gd name="f40" fmla="val 449"/>
                <a:gd name="f41" fmla="val 444"/>
                <a:gd name="f42" fmla="val 440"/>
                <a:gd name="f43" fmla="val 435"/>
                <a:gd name="f44" fmla="val 430"/>
                <a:gd name="f45" fmla="val 427"/>
                <a:gd name="f46" fmla="val 422"/>
                <a:gd name="f47" fmla="val 419"/>
                <a:gd name="f48" fmla="val 414"/>
                <a:gd name="f49" fmla="val 386"/>
                <a:gd name="f50" fmla="val 413"/>
                <a:gd name="f51" fmla="val 409"/>
                <a:gd name="f52" fmla="val 375"/>
                <a:gd name="f53" fmla="val 397"/>
                <a:gd name="f54" fmla="val 372"/>
                <a:gd name="f55" fmla="val 371"/>
                <a:gd name="f56" fmla="val 382"/>
                <a:gd name="f57" fmla="val 368"/>
                <a:gd name="f58" fmla="val 376"/>
                <a:gd name="f59" fmla="val 366"/>
                <a:gd name="f60" fmla="val 364"/>
                <a:gd name="f61" fmla="val 362"/>
                <a:gd name="f62" fmla="val 365"/>
                <a:gd name="f63" fmla="val 359"/>
                <a:gd name="f64" fmla="val 358"/>
                <a:gd name="f65" fmla="val 356"/>
                <a:gd name="f66" fmla="val 354"/>
                <a:gd name="f67" fmla="val 352"/>
                <a:gd name="f68" fmla="val 350"/>
                <a:gd name="f69" fmla="val 351"/>
                <a:gd name="f70" fmla="val 344"/>
                <a:gd name="f71" fmla="val 335"/>
                <a:gd name="f72" fmla="val 357"/>
                <a:gd name="f73" fmla="val 324"/>
                <a:gd name="f74" fmla="val 316"/>
                <a:gd name="f75" fmla="val 363"/>
                <a:gd name="f76" fmla="val 309"/>
                <a:gd name="f77" fmla="val 304"/>
                <a:gd name="f78" fmla="val 370"/>
                <a:gd name="f79" fmla="val 297"/>
                <a:gd name="f80" fmla="val 377"/>
                <a:gd name="f81" fmla="val 290"/>
                <a:gd name="f82" fmla="val 381"/>
                <a:gd name="f83" fmla="val 283"/>
                <a:gd name="f84" fmla="val 276"/>
                <a:gd name="f85" fmla="val 271"/>
                <a:gd name="f86" fmla="val 373"/>
                <a:gd name="f87" fmla="val 267"/>
                <a:gd name="f88" fmla="val 262"/>
                <a:gd name="f89" fmla="val 259"/>
                <a:gd name="f90" fmla="val 256"/>
                <a:gd name="f91" fmla="val 355"/>
                <a:gd name="f92" fmla="val 260"/>
                <a:gd name="f93" fmla="val 268"/>
                <a:gd name="f94" fmla="val 277"/>
                <a:gd name="f95" fmla="val 340"/>
                <a:gd name="f96" fmla="val 337"/>
                <a:gd name="f97" fmla="val 288"/>
                <a:gd name="f98" fmla="val 291"/>
                <a:gd name="f99" fmla="val 293"/>
                <a:gd name="f100" fmla="val 296"/>
                <a:gd name="f101" fmla="val 336"/>
                <a:gd name="f102" fmla="val 300"/>
                <a:gd name="f103" fmla="val 334"/>
                <a:gd name="f104" fmla="val 305"/>
                <a:gd name="f105" fmla="val 329"/>
                <a:gd name="f106" fmla="val 320"/>
                <a:gd name="f107" fmla="val 326"/>
                <a:gd name="f108" fmla="val 313"/>
                <a:gd name="f109" fmla="val 330"/>
                <a:gd name="f110" fmla="val 307"/>
                <a:gd name="f111" fmla="val 327"/>
                <a:gd name="f112" fmla="val 301"/>
                <a:gd name="f113" fmla="val 318"/>
                <a:gd name="f114" fmla="val 295"/>
                <a:gd name="f115" fmla="val 308"/>
                <a:gd name="f116" fmla="val 292"/>
                <a:gd name="f117" fmla="val 287"/>
                <a:gd name="f118" fmla="val 273"/>
                <a:gd name="f119" fmla="val 258"/>
                <a:gd name="f120" fmla="val 328"/>
                <a:gd name="f121" fmla="val 246"/>
                <a:gd name="f122" fmla="val 235"/>
                <a:gd name="f123" fmla="val 315"/>
                <a:gd name="f124" fmla="val 218"/>
                <a:gd name="f125" fmla="val 306"/>
                <a:gd name="f126" fmla="val 208"/>
                <a:gd name="f127" fmla="val 200"/>
                <a:gd name="f128" fmla="val 289"/>
                <a:gd name="f129" fmla="val 193"/>
                <a:gd name="f130" fmla="val 282"/>
                <a:gd name="f131" fmla="val 188"/>
                <a:gd name="f132" fmla="val 274"/>
                <a:gd name="f133" fmla="val 183"/>
                <a:gd name="f134" fmla="val 176"/>
                <a:gd name="f135" fmla="val 252"/>
                <a:gd name="f136" fmla="val 173"/>
                <a:gd name="f137" fmla="val 244"/>
                <a:gd name="f138" fmla="val 169"/>
                <a:gd name="f139" fmla="val 236"/>
                <a:gd name="f140" fmla="val 166"/>
                <a:gd name="f141" fmla="val 228"/>
                <a:gd name="f142" fmla="val 161"/>
                <a:gd name="f143" fmla="val 221"/>
                <a:gd name="f144" fmla="val 156"/>
                <a:gd name="f145" fmla="val 214"/>
                <a:gd name="f146" fmla="val 152"/>
                <a:gd name="f147" fmla="val 148"/>
                <a:gd name="f148" fmla="val 202"/>
                <a:gd name="f149" fmla="val 145"/>
                <a:gd name="f150" fmla="val 199"/>
                <a:gd name="f151" fmla="val 142"/>
                <a:gd name="f152" fmla="val 191"/>
                <a:gd name="f153" fmla="val 137"/>
                <a:gd name="f154" fmla="val 132"/>
                <a:gd name="f155" fmla="val 178"/>
                <a:gd name="f156" fmla="val 131"/>
                <a:gd name="f157" fmla="val 179"/>
                <a:gd name="f158" fmla="val 185"/>
                <a:gd name="f159" fmla="val 146"/>
                <a:gd name="f160" fmla="val 186"/>
                <a:gd name="f161" fmla="val 155"/>
                <a:gd name="f162" fmla="val 171"/>
                <a:gd name="f163" fmla="val 163"/>
                <a:gd name="f164" fmla="val 159"/>
                <a:gd name="f165" fmla="val 154"/>
                <a:gd name="f166" fmla="val 151"/>
                <a:gd name="f167" fmla="val 147"/>
                <a:gd name="f168" fmla="val 162"/>
                <a:gd name="f169" fmla="val 138"/>
                <a:gd name="f170" fmla="val 165"/>
                <a:gd name="f171" fmla="val 124"/>
                <a:gd name="f172" fmla="val 118"/>
                <a:gd name="f173" fmla="val 167"/>
                <a:gd name="f174" fmla="val 114"/>
                <a:gd name="f175" fmla="val 168"/>
                <a:gd name="f176" fmla="val 110"/>
                <a:gd name="f177" fmla="val 106"/>
                <a:gd name="f178" fmla="val 170"/>
                <a:gd name="f179" fmla="val 101"/>
                <a:gd name="f180" fmla="val 95"/>
                <a:gd name="f181" fmla="val 87"/>
                <a:gd name="f182" fmla="val 74"/>
                <a:gd name="f183" fmla="val 70"/>
                <a:gd name="f184" fmla="val 66"/>
                <a:gd name="f185" fmla="val 160"/>
                <a:gd name="f186" fmla="val 60"/>
                <a:gd name="f187" fmla="val 51"/>
                <a:gd name="f188" fmla="val 47"/>
                <a:gd name="f189" fmla="val 43"/>
                <a:gd name="f190" fmla="val 35"/>
                <a:gd name="f191" fmla="val 30"/>
                <a:gd name="f192" fmla="val 24"/>
                <a:gd name="f193" fmla="val 18"/>
                <a:gd name="f194" fmla="val 153"/>
                <a:gd name="f195" fmla="val 13"/>
                <a:gd name="f196" fmla="val 10"/>
                <a:gd name="f197" fmla="val 9"/>
                <a:gd name="f198" fmla="val 11"/>
                <a:gd name="f199" fmla="val 143"/>
                <a:gd name="f200" fmla="val 16"/>
                <a:gd name="f201" fmla="val 140"/>
                <a:gd name="f202" fmla="val 23"/>
                <a:gd name="f203" fmla="val 36"/>
                <a:gd name="f204" fmla="val 136"/>
                <a:gd name="f205" fmla="val 41"/>
                <a:gd name="f206" fmla="val 135"/>
                <a:gd name="f207" fmla="val 45"/>
                <a:gd name="f208" fmla="val 133"/>
                <a:gd name="f209" fmla="val 42"/>
                <a:gd name="f210" fmla="val 130"/>
                <a:gd name="f211" fmla="val 128"/>
                <a:gd name="f212" fmla="val 27"/>
                <a:gd name="f213" fmla="val 125"/>
                <a:gd name="f214" fmla="val 19"/>
                <a:gd name="f215" fmla="val 123"/>
                <a:gd name="f216" fmla="val 122"/>
                <a:gd name="f217" fmla="val 121"/>
                <a:gd name="f218" fmla="val 4"/>
                <a:gd name="f219" fmla="val 2"/>
                <a:gd name="f220" fmla="val 116"/>
                <a:gd name="f221" fmla="val 112"/>
                <a:gd name="f222" fmla="val 105"/>
                <a:gd name="f223" fmla="val 93"/>
                <a:gd name="f224" fmla="val 85"/>
                <a:gd name="f225" fmla="val 76"/>
                <a:gd name="f226" fmla="val 1"/>
                <a:gd name="f227" fmla="val 5"/>
                <a:gd name="f228" fmla="val 39"/>
                <a:gd name="f229" fmla="val 12"/>
                <a:gd name="f230" fmla="val 21"/>
                <a:gd name="f231" fmla="val 22"/>
                <a:gd name="f232" fmla="val 31"/>
                <a:gd name="f233" fmla="val 3"/>
                <a:gd name="f234" fmla="val 46"/>
                <a:gd name="f235" fmla="val 6"/>
                <a:gd name="f236" fmla="val 50"/>
                <a:gd name="f237" fmla="val 49"/>
                <a:gd name="f238" fmla="val 40"/>
                <a:gd name="f239" fmla="val 56"/>
                <a:gd name="f240" fmla="val 80"/>
                <a:gd name="f241" fmla="val 90"/>
                <a:gd name="f242" fmla="val 62"/>
                <a:gd name="f243" fmla="val 97"/>
                <a:gd name="f244" fmla="val 68"/>
                <a:gd name="f245" fmla="val 102"/>
                <a:gd name="f246" fmla="val 71"/>
                <a:gd name="f247" fmla="val 108"/>
                <a:gd name="f248" fmla="val 107"/>
                <a:gd name="f249" fmla="val 63"/>
                <a:gd name="f250" fmla="val 55"/>
                <a:gd name="f251" fmla="val 58"/>
                <a:gd name="f252" fmla="val 26"/>
                <a:gd name="f253" fmla="val 69"/>
                <a:gd name="f254" fmla="val 79"/>
                <a:gd name="f255" fmla="val 91"/>
                <a:gd name="f256" fmla="val 100"/>
                <a:gd name="f257" fmla="val 7"/>
                <a:gd name="f258" fmla="val 14"/>
                <a:gd name="f259" fmla="val 109"/>
                <a:gd name="f260" fmla="val 111"/>
                <a:gd name="f261" fmla="val 32"/>
                <a:gd name="f262" fmla="val 115"/>
                <a:gd name="f263" fmla="val 53"/>
                <a:gd name="f264" fmla="val 54"/>
                <a:gd name="f265" fmla="val 52"/>
                <a:gd name="f266" fmla="val 149"/>
                <a:gd name="f267" fmla="val 164"/>
                <a:gd name="f268" fmla="val 175"/>
                <a:gd name="f269" fmla="val 197"/>
                <a:gd name="f270" fmla="val 38"/>
                <a:gd name="f271" fmla="val 206"/>
                <a:gd name="f272" fmla="val 44"/>
                <a:gd name="f273" fmla="val 209"/>
                <a:gd name="f274" fmla="val 227"/>
                <a:gd name="f275" fmla="val 61"/>
                <a:gd name="f276" fmla="val 231"/>
                <a:gd name="f277" fmla="val 237"/>
                <a:gd name="f278" fmla="val 263"/>
                <a:gd name="f279" fmla="val 266"/>
                <a:gd name="f280" fmla="val 59"/>
                <a:gd name="f281" fmla="val 281"/>
                <a:gd name="f282" fmla="val 311"/>
                <a:gd name="f283" fmla="val 321"/>
                <a:gd name="f284" fmla="val 64"/>
                <a:gd name="f285" fmla="val 323"/>
                <a:gd name="f286" fmla="val 67"/>
                <a:gd name="f287" fmla="val 319"/>
                <a:gd name="f288" fmla="val 72"/>
                <a:gd name="f289" fmla="val 322"/>
                <a:gd name="f290" fmla="val 339"/>
                <a:gd name="f291" fmla="val 78"/>
                <a:gd name="f292" fmla="val 345"/>
                <a:gd name="f293" fmla="val 83"/>
                <a:gd name="f294" fmla="val 349"/>
                <a:gd name="f295" fmla="val 86"/>
                <a:gd name="f296" fmla="val 89"/>
                <a:gd name="f297" fmla="val 342"/>
                <a:gd name="f298" fmla="val 343"/>
                <a:gd name="f299" fmla="val 361"/>
                <a:gd name="f300" fmla="val 353"/>
                <a:gd name="f301" fmla="val 127"/>
                <a:gd name="f302" fmla="val 384"/>
                <a:gd name="f303" fmla="val 400"/>
                <a:gd name="f304" fmla="val 150"/>
                <a:gd name="f305" fmla="val 407"/>
                <a:gd name="f306" fmla="val 406"/>
                <a:gd name="f307" fmla="val 144"/>
                <a:gd name="f308" fmla="val 403"/>
                <a:gd name="f309" fmla="val 139"/>
                <a:gd name="f310" fmla="val 421"/>
                <a:gd name="f311" fmla="val 429"/>
                <a:gd name="f312" fmla="val 436"/>
                <a:gd name="f313" fmla="val 442"/>
                <a:gd name="f314" fmla="val 447"/>
                <a:gd name="f315" fmla="val 450"/>
                <a:gd name="f316" fmla="val 451"/>
                <a:gd name="f317" fmla="val 457"/>
                <a:gd name="f318" fmla="val 461"/>
                <a:gd name="f319" fmla="val 466"/>
                <a:gd name="f320" fmla="val 472"/>
                <a:gd name="f321" fmla="val 480"/>
                <a:gd name="f322" fmla="val 490"/>
                <a:gd name="f323" fmla="val 509"/>
                <a:gd name="f324" fmla="val 158"/>
                <a:gd name="f325" fmla="val 511"/>
                <a:gd name="f326" fmla="val 508"/>
                <a:gd name="f327" fmla="val 496"/>
                <a:gd name="f328" fmla="val 505"/>
                <a:gd name="f329" fmla="val 196"/>
                <a:gd name="f330" fmla="val 204"/>
                <a:gd name="f331" fmla="val 207"/>
                <a:gd name="f332" fmla="val 497"/>
                <a:gd name="f333" fmla="val 212"/>
                <a:gd name="f334" fmla="val 499"/>
                <a:gd name="f335" fmla="val 219"/>
                <a:gd name="f336" fmla="val 223"/>
                <a:gd name="f337" fmla="val 234"/>
                <a:gd name="f338" fmla="val 239"/>
                <a:gd name="f339" fmla="val 248"/>
                <a:gd name="f340" fmla="val 503"/>
                <a:gd name="f341" fmla="val 249"/>
                <a:gd name="f342" fmla="val 245"/>
                <a:gd name="f343" fmla="val 487"/>
                <a:gd name="f344" fmla="val 242"/>
                <a:gd name="f345" fmla="val 238"/>
                <a:gd name="f346" fmla="val 474"/>
                <a:gd name="f347" fmla="val 465"/>
                <a:gd name="f348" fmla="val 229"/>
                <a:gd name="f349" fmla="val 460"/>
                <a:gd name="f350" fmla="val 456"/>
                <a:gd name="f351" fmla="val 226"/>
                <a:gd name="f352" fmla="val 220"/>
                <a:gd name="f353" fmla="val 432"/>
                <a:gd name="f354" fmla="val 425"/>
                <a:gd name="f355" fmla="val 224"/>
                <a:gd name="f356" fmla="val 230"/>
                <a:gd name="f357" fmla="val 423"/>
                <a:gd name="f358" fmla="val 428"/>
                <a:gd name="f359" fmla="val 243"/>
                <a:gd name="f360" fmla="val 251"/>
                <a:gd name="f361" fmla="val 254"/>
                <a:gd name="f362" fmla="val 443"/>
                <a:gd name="f363" fmla="val 265"/>
                <a:gd name="f364" fmla="val 471"/>
                <a:gd name="f365" fmla="val 272"/>
                <a:gd name="f366" fmla="val 476"/>
                <a:gd name="f367" fmla="val 275"/>
                <a:gd name="f368" fmla="val 286"/>
                <a:gd name="f369" fmla="val 512"/>
                <a:gd name="f370" fmla="val 520"/>
                <a:gd name="f371" fmla="val 528"/>
                <a:gd name="f372" fmla="val 294"/>
                <a:gd name="f373" fmla="val 534"/>
                <a:gd name="f374" fmla="val 536"/>
                <a:gd name="f375" fmla="val 332"/>
                <a:gd name="f376" fmla="val 543"/>
                <a:gd name="f377" fmla="val 544"/>
                <a:gd name="f378" fmla="val 548"/>
                <a:gd name="f379" fmla="val 552"/>
                <a:gd name="f380" fmla="val 555"/>
                <a:gd name="f381" fmla="val 549"/>
                <a:gd name="f382" fmla="val 535"/>
                <a:gd name="f383" fmla="val 525"/>
                <a:gd name="f384" fmla="val 513"/>
                <a:gd name="f385" fmla="val 348"/>
                <a:gd name="f386" fmla="val 493"/>
                <a:gd name="f387" fmla="val 483"/>
                <a:gd name="f388" fmla="val 455"/>
                <a:gd name="f389" fmla="val 463"/>
                <a:gd name="f390" fmla="val 347"/>
                <a:gd name="f391" fmla="val 485"/>
                <a:gd name="f392" fmla="val 517"/>
                <a:gd name="f393" fmla="val 367"/>
                <a:gd name="f394" fmla="val 374"/>
                <a:gd name="f395" fmla="+- 0 0 -90"/>
                <a:gd name="f396" fmla="*/ f4 1 556"/>
                <a:gd name="f397" fmla="*/ f5 1 395"/>
                <a:gd name="f398" fmla="val f6"/>
                <a:gd name="f399" fmla="val f7"/>
                <a:gd name="f400" fmla="val f8"/>
                <a:gd name="f401" fmla="*/ f395 f0 1"/>
                <a:gd name="f402" fmla="+- f400 0 f398"/>
                <a:gd name="f403" fmla="+- f399 0 f398"/>
                <a:gd name="f404" fmla="*/ f401 1 f3"/>
                <a:gd name="f405" fmla="*/ f403 1 556"/>
                <a:gd name="f406" fmla="*/ f402 1 395"/>
                <a:gd name="f407" fmla="*/ 2147483646 f403 1"/>
                <a:gd name="f408" fmla="*/ 2147483646 f402 1"/>
                <a:gd name="f409" fmla="*/ 0 f403 1"/>
                <a:gd name="f410" fmla="+- f404 0 f1"/>
                <a:gd name="f411" fmla="*/ f407 1 556"/>
                <a:gd name="f412" fmla="*/ f408 1 395"/>
                <a:gd name="f413" fmla="*/ f409 1 556"/>
                <a:gd name="f414" fmla="*/ 0 1 f405"/>
                <a:gd name="f415" fmla="*/ f399 1 f405"/>
                <a:gd name="f416" fmla="*/ 0 1 f406"/>
                <a:gd name="f417" fmla="*/ f400 1 f406"/>
                <a:gd name="f418" fmla="*/ f411 1 f405"/>
                <a:gd name="f419" fmla="*/ f412 1 f406"/>
                <a:gd name="f420" fmla="*/ f413 1 f405"/>
                <a:gd name="f421" fmla="*/ f414 f396 1"/>
                <a:gd name="f422" fmla="*/ f415 f396 1"/>
                <a:gd name="f423" fmla="*/ f417 f397 1"/>
                <a:gd name="f424" fmla="*/ f416 f397 1"/>
                <a:gd name="f425" fmla="*/ f418 f396 1"/>
                <a:gd name="f426" fmla="*/ f419 f397 1"/>
                <a:gd name="f427" fmla="*/ f420 f39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7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  <a:cxn ang="f410">
                  <a:pos x="f425" y="f426"/>
                </a:cxn>
              </a:cxnLst>
              <a:rect l="f421" t="f424" r="f422" b="f423"/>
              <a:pathLst>
                <a:path w="556" h="395">
                  <a:moveTo>
                    <a:pt x="f9" y="f10"/>
                  </a:move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18"/>
                  </a:lnTo>
                  <a:lnTo>
                    <a:pt x="f20" y="f16"/>
                  </a:lnTo>
                  <a:lnTo>
                    <a:pt x="f21" y="f16"/>
                  </a:lnTo>
                  <a:lnTo>
                    <a:pt x="f22" y="f18"/>
                  </a:lnTo>
                  <a:lnTo>
                    <a:pt x="f23" y="f18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8"/>
                  </a:lnTo>
                  <a:lnTo>
                    <a:pt x="f35" y="f8"/>
                  </a:lnTo>
                  <a:lnTo>
                    <a:pt x="f36" y="f8"/>
                  </a:lnTo>
                  <a:lnTo>
                    <a:pt x="f37" y="f33"/>
                  </a:lnTo>
                  <a:lnTo>
                    <a:pt x="f38" y="f33"/>
                  </a:lnTo>
                  <a:lnTo>
                    <a:pt x="f39" y="f31"/>
                  </a:lnTo>
                  <a:lnTo>
                    <a:pt x="f40" y="f31"/>
                  </a:lnTo>
                  <a:lnTo>
                    <a:pt x="f41" y="f31"/>
                  </a:lnTo>
                  <a:lnTo>
                    <a:pt x="f42" y="f33"/>
                  </a:lnTo>
                  <a:lnTo>
                    <a:pt x="f43" y="f8"/>
                  </a:lnTo>
                  <a:lnTo>
                    <a:pt x="f44" y="f8"/>
                  </a:lnTo>
                  <a:lnTo>
                    <a:pt x="f45" y="f8"/>
                  </a:lnTo>
                  <a:lnTo>
                    <a:pt x="f46" y="f33"/>
                  </a:lnTo>
                  <a:lnTo>
                    <a:pt x="f47" y="f29"/>
                  </a:lnTo>
                  <a:lnTo>
                    <a:pt x="f48" y="f49"/>
                  </a:lnTo>
                  <a:lnTo>
                    <a:pt x="f50" y="f12"/>
                  </a:lnTo>
                  <a:lnTo>
                    <a:pt x="f51" y="f52"/>
                  </a:lnTo>
                  <a:lnTo>
                    <a:pt x="f53" y="f54"/>
                  </a:lnTo>
                  <a:lnTo>
                    <a:pt x="f25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54" y="f60"/>
                  </a:lnTo>
                  <a:lnTo>
                    <a:pt x="f57" y="f61"/>
                  </a:lnTo>
                  <a:lnTo>
                    <a:pt x="f62" y="f63"/>
                  </a:lnTo>
                  <a:lnTo>
                    <a:pt x="f61" y="f64"/>
                  </a:lnTo>
                  <a:lnTo>
                    <a:pt x="f63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67"/>
                  </a:lnTo>
                  <a:lnTo>
                    <a:pt x="f71" y="f72"/>
                  </a:lnTo>
                  <a:lnTo>
                    <a:pt x="f73" y="f61"/>
                  </a:lnTo>
                  <a:lnTo>
                    <a:pt x="f74" y="f75"/>
                  </a:lnTo>
                  <a:lnTo>
                    <a:pt x="f76" y="f62"/>
                  </a:lnTo>
                  <a:lnTo>
                    <a:pt x="f77" y="f78"/>
                  </a:lnTo>
                  <a:lnTo>
                    <a:pt x="f79" y="f80"/>
                  </a:lnTo>
                  <a:lnTo>
                    <a:pt x="f81" y="f82"/>
                  </a:lnTo>
                  <a:lnTo>
                    <a:pt x="f83" y="f82"/>
                  </a:lnTo>
                  <a:lnTo>
                    <a:pt x="f84" y="f80"/>
                  </a:lnTo>
                  <a:lnTo>
                    <a:pt x="f85" y="f86"/>
                  </a:lnTo>
                  <a:lnTo>
                    <a:pt x="f87" y="f78"/>
                  </a:lnTo>
                  <a:lnTo>
                    <a:pt x="f88" y="f59"/>
                  </a:lnTo>
                  <a:lnTo>
                    <a:pt x="f89" y="f75"/>
                  </a:lnTo>
                  <a:lnTo>
                    <a:pt x="f90" y="f64"/>
                  </a:lnTo>
                  <a:lnTo>
                    <a:pt x="f90" y="f91"/>
                  </a:lnTo>
                  <a:lnTo>
                    <a:pt x="f92" y="f68"/>
                  </a:lnTo>
                  <a:lnTo>
                    <a:pt x="f93" y="f70"/>
                  </a:lnTo>
                  <a:lnTo>
                    <a:pt x="f94" y="f95"/>
                  </a:lnTo>
                  <a:lnTo>
                    <a:pt x="f83" y="f96"/>
                  </a:lnTo>
                  <a:lnTo>
                    <a:pt x="f97" y="f96"/>
                  </a:lnTo>
                  <a:lnTo>
                    <a:pt x="f98" y="f96"/>
                  </a:lnTo>
                  <a:lnTo>
                    <a:pt x="f99" y="f96"/>
                  </a:lnTo>
                  <a:lnTo>
                    <a:pt x="f100" y="f101"/>
                  </a:lnTo>
                  <a:lnTo>
                    <a:pt x="f102" y="f103"/>
                  </a:lnTo>
                  <a:lnTo>
                    <a:pt x="f104" y="f105"/>
                  </a:lnTo>
                  <a:lnTo>
                    <a:pt x="f74" y="f106"/>
                  </a:lnTo>
                  <a:lnTo>
                    <a:pt x="f107" y="f108"/>
                  </a:lnTo>
                  <a:lnTo>
                    <a:pt x="f109" y="f110"/>
                  </a:lnTo>
                  <a:lnTo>
                    <a:pt x="f111" y="f112"/>
                  </a:lnTo>
                  <a:lnTo>
                    <a:pt x="f113" y="f114"/>
                  </a:lnTo>
                  <a:lnTo>
                    <a:pt x="f115" y="f116"/>
                  </a:lnTo>
                  <a:lnTo>
                    <a:pt x="f104" y="f117"/>
                  </a:lnTo>
                  <a:lnTo>
                    <a:pt x="f76" y="f118"/>
                  </a:lnTo>
                  <a:lnTo>
                    <a:pt x="f106" y="f119"/>
                  </a:lnTo>
                  <a:lnTo>
                    <a:pt x="f120" y="f121"/>
                  </a:lnTo>
                  <a:lnTo>
                    <a:pt x="f111" y="f122"/>
                  </a:lnTo>
                  <a:lnTo>
                    <a:pt x="f123" y="f124"/>
                  </a:lnTo>
                  <a:lnTo>
                    <a:pt x="f125" y="f126"/>
                  </a:lnTo>
                  <a:lnTo>
                    <a:pt x="f79" y="f127"/>
                  </a:lnTo>
                  <a:lnTo>
                    <a:pt x="f128" y="f129"/>
                  </a:lnTo>
                  <a:lnTo>
                    <a:pt x="f130" y="f131"/>
                  </a:lnTo>
                  <a:lnTo>
                    <a:pt x="f132" y="f133"/>
                  </a:lnTo>
                  <a:lnTo>
                    <a:pt x="f87" y="f3"/>
                  </a:lnTo>
                  <a:lnTo>
                    <a:pt x="f92" y="f134"/>
                  </a:lnTo>
                  <a:lnTo>
                    <a:pt x="f135" y="f136"/>
                  </a:lnTo>
                  <a:lnTo>
                    <a:pt x="f137" y="f138"/>
                  </a:lnTo>
                  <a:lnTo>
                    <a:pt x="f139" y="f140"/>
                  </a:lnTo>
                  <a:lnTo>
                    <a:pt x="f141" y="f142"/>
                  </a:lnTo>
                  <a:lnTo>
                    <a:pt x="f143" y="f144"/>
                  </a:lnTo>
                  <a:lnTo>
                    <a:pt x="f145" y="f146"/>
                  </a:lnTo>
                  <a:lnTo>
                    <a:pt x="f126" y="f147"/>
                  </a:lnTo>
                  <a:lnTo>
                    <a:pt x="f148" y="f149"/>
                  </a:lnTo>
                  <a:lnTo>
                    <a:pt x="f150" y="f151"/>
                  </a:lnTo>
                  <a:lnTo>
                    <a:pt x="f152" y="f153"/>
                  </a:lnTo>
                  <a:lnTo>
                    <a:pt x="f133" y="f154"/>
                  </a:lnTo>
                  <a:lnTo>
                    <a:pt x="f155" y="f156"/>
                  </a:lnTo>
                  <a:lnTo>
                    <a:pt x="f157" y="f153"/>
                  </a:lnTo>
                  <a:lnTo>
                    <a:pt x="f158" y="f159"/>
                  </a:lnTo>
                  <a:lnTo>
                    <a:pt x="f160" y="f146"/>
                  </a:lnTo>
                  <a:lnTo>
                    <a:pt x="f133" y="f161"/>
                  </a:lnTo>
                  <a:lnTo>
                    <a:pt x="f162" y="f161"/>
                  </a:lnTo>
                  <a:lnTo>
                    <a:pt x="f163" y="f161"/>
                  </a:lnTo>
                  <a:lnTo>
                    <a:pt x="f164" y="f161"/>
                  </a:lnTo>
                  <a:lnTo>
                    <a:pt x="f165" y="f144"/>
                  </a:lnTo>
                  <a:lnTo>
                    <a:pt x="f166" y="f164"/>
                  </a:lnTo>
                  <a:lnTo>
                    <a:pt x="f167" y="f142"/>
                  </a:lnTo>
                  <a:lnTo>
                    <a:pt x="f151" y="f168"/>
                  </a:lnTo>
                  <a:lnTo>
                    <a:pt x="f169" y="f163"/>
                  </a:lnTo>
                  <a:lnTo>
                    <a:pt x="f156" y="f170"/>
                  </a:lnTo>
                  <a:lnTo>
                    <a:pt x="f171" y="f140"/>
                  </a:lnTo>
                  <a:lnTo>
                    <a:pt x="f172" y="f173"/>
                  </a:lnTo>
                  <a:lnTo>
                    <a:pt x="f174" y="f175"/>
                  </a:lnTo>
                  <a:lnTo>
                    <a:pt x="f176" y="f138"/>
                  </a:lnTo>
                  <a:lnTo>
                    <a:pt x="f177" y="f178"/>
                  </a:lnTo>
                  <a:lnTo>
                    <a:pt x="f179" y="f178"/>
                  </a:lnTo>
                  <a:lnTo>
                    <a:pt x="f180" y="f178"/>
                  </a:lnTo>
                  <a:lnTo>
                    <a:pt x="f181" y="f138"/>
                  </a:lnTo>
                  <a:lnTo>
                    <a:pt x="f182" y="f140"/>
                  </a:lnTo>
                  <a:lnTo>
                    <a:pt x="f183" y="f168"/>
                  </a:lnTo>
                  <a:lnTo>
                    <a:pt x="f184" y="f185"/>
                  </a:lnTo>
                  <a:lnTo>
                    <a:pt x="f186" y="f142"/>
                  </a:lnTo>
                  <a:lnTo>
                    <a:pt x="f187" y="f140"/>
                  </a:lnTo>
                  <a:lnTo>
                    <a:pt x="f188" y="f175"/>
                  </a:lnTo>
                  <a:lnTo>
                    <a:pt x="f189" y="f175"/>
                  </a:lnTo>
                  <a:lnTo>
                    <a:pt x="f190" y="f163"/>
                  </a:lnTo>
                  <a:lnTo>
                    <a:pt x="f191" y="f185"/>
                  </a:lnTo>
                  <a:lnTo>
                    <a:pt x="f192" y="f144"/>
                  </a:lnTo>
                  <a:lnTo>
                    <a:pt x="f193" y="f194"/>
                  </a:lnTo>
                  <a:lnTo>
                    <a:pt x="f195" y="f166"/>
                  </a:lnTo>
                  <a:lnTo>
                    <a:pt x="f196" y="f147"/>
                  </a:lnTo>
                  <a:lnTo>
                    <a:pt x="f197" y="f149"/>
                  </a:lnTo>
                  <a:lnTo>
                    <a:pt x="f198" y="f199"/>
                  </a:lnTo>
                  <a:lnTo>
                    <a:pt x="f200" y="f201"/>
                  </a:lnTo>
                  <a:lnTo>
                    <a:pt x="f202" y="f169"/>
                  </a:lnTo>
                  <a:lnTo>
                    <a:pt x="f191" y="f153"/>
                  </a:lnTo>
                  <a:lnTo>
                    <a:pt x="f203" y="f204"/>
                  </a:lnTo>
                  <a:lnTo>
                    <a:pt x="f205" y="f206"/>
                  </a:lnTo>
                  <a:lnTo>
                    <a:pt x="f207" y="f208"/>
                  </a:lnTo>
                  <a:lnTo>
                    <a:pt x="f207" y="f154"/>
                  </a:lnTo>
                  <a:lnTo>
                    <a:pt x="f209" y="f210"/>
                  </a:lnTo>
                  <a:lnTo>
                    <a:pt x="f190" y="f211"/>
                  </a:lnTo>
                  <a:lnTo>
                    <a:pt x="f212" y="f213"/>
                  </a:lnTo>
                  <a:lnTo>
                    <a:pt x="f214" y="f215"/>
                  </a:lnTo>
                  <a:lnTo>
                    <a:pt x="f195" y="f216"/>
                  </a:lnTo>
                  <a:lnTo>
                    <a:pt x="f197" y="f217"/>
                  </a:lnTo>
                  <a:lnTo>
                    <a:pt x="f218" y="f172"/>
                  </a:lnTo>
                  <a:lnTo>
                    <a:pt x="f219" y="f220"/>
                  </a:lnTo>
                  <a:lnTo>
                    <a:pt x="f6" y="f221"/>
                  </a:lnTo>
                  <a:lnTo>
                    <a:pt x="f6" y="f222"/>
                  </a:lnTo>
                  <a:lnTo>
                    <a:pt x="f6" y="f223"/>
                  </a:lnTo>
                  <a:lnTo>
                    <a:pt x="f6" y="f224"/>
                  </a:lnTo>
                  <a:lnTo>
                    <a:pt x="f6" y="f225"/>
                  </a:lnTo>
                  <a:lnTo>
                    <a:pt x="f226" y="f186"/>
                  </a:lnTo>
                  <a:lnTo>
                    <a:pt x="f227" y="f228"/>
                  </a:lnTo>
                  <a:lnTo>
                    <a:pt x="f229" y="f230"/>
                  </a:lnTo>
                  <a:lnTo>
                    <a:pt x="f231" y="f197"/>
                  </a:lnTo>
                  <a:lnTo>
                    <a:pt x="f232" y="f233"/>
                  </a:lnTo>
                  <a:lnTo>
                    <a:pt x="f228" y="f233"/>
                  </a:lnTo>
                  <a:lnTo>
                    <a:pt x="f234" y="f235"/>
                  </a:lnTo>
                  <a:lnTo>
                    <a:pt x="f236" y="f196"/>
                  </a:lnTo>
                  <a:lnTo>
                    <a:pt x="f237" y="f214"/>
                  </a:lnTo>
                  <a:lnTo>
                    <a:pt x="f189" y="f238"/>
                  </a:lnTo>
                  <a:lnTo>
                    <a:pt x="f209" y="f239"/>
                  </a:lnTo>
                  <a:lnTo>
                    <a:pt x="f207" y="f183"/>
                  </a:lnTo>
                  <a:lnTo>
                    <a:pt x="f236" y="f240"/>
                  </a:lnTo>
                  <a:lnTo>
                    <a:pt x="f239" y="f241"/>
                  </a:lnTo>
                  <a:lnTo>
                    <a:pt x="f242" y="f243"/>
                  </a:lnTo>
                  <a:lnTo>
                    <a:pt x="f244" y="f245"/>
                  </a:lnTo>
                  <a:lnTo>
                    <a:pt x="f246" y="f247"/>
                  </a:lnTo>
                  <a:lnTo>
                    <a:pt x="f183" y="f248"/>
                  </a:lnTo>
                  <a:lnTo>
                    <a:pt x="f249" y="f181"/>
                  </a:lnTo>
                  <a:lnTo>
                    <a:pt x="f239" y="f242"/>
                  </a:lnTo>
                  <a:lnTo>
                    <a:pt x="f250" y="f205"/>
                  </a:lnTo>
                  <a:lnTo>
                    <a:pt x="f251" y="f252"/>
                  </a:lnTo>
                  <a:lnTo>
                    <a:pt x="f242" y="f229"/>
                  </a:lnTo>
                  <a:lnTo>
                    <a:pt x="f253" y="f233"/>
                  </a:lnTo>
                  <a:lnTo>
                    <a:pt x="f254" y="f6"/>
                  </a:lnTo>
                  <a:lnTo>
                    <a:pt x="f255" y="f219"/>
                  </a:lnTo>
                  <a:lnTo>
                    <a:pt x="f256" y="f257"/>
                  </a:lnTo>
                  <a:lnTo>
                    <a:pt x="f177" y="f258"/>
                  </a:lnTo>
                  <a:lnTo>
                    <a:pt x="f259" y="f230"/>
                  </a:lnTo>
                  <a:lnTo>
                    <a:pt x="f260" y="f252"/>
                  </a:lnTo>
                  <a:lnTo>
                    <a:pt x="f174" y="f261"/>
                  </a:lnTo>
                  <a:lnTo>
                    <a:pt x="f262" y="f228"/>
                  </a:lnTo>
                  <a:lnTo>
                    <a:pt x="f220" y="f188"/>
                  </a:lnTo>
                  <a:lnTo>
                    <a:pt x="f172" y="f263"/>
                  </a:lnTo>
                  <a:lnTo>
                    <a:pt x="f171" y="f264"/>
                  </a:lnTo>
                  <a:lnTo>
                    <a:pt x="f154" y="f265"/>
                  </a:lnTo>
                  <a:lnTo>
                    <a:pt x="f201" y="f188"/>
                  </a:lnTo>
                  <a:lnTo>
                    <a:pt x="f159" y="f205"/>
                  </a:lnTo>
                  <a:lnTo>
                    <a:pt x="f167" y="f203"/>
                  </a:lnTo>
                  <a:lnTo>
                    <a:pt x="f266" y="f232"/>
                  </a:lnTo>
                  <a:lnTo>
                    <a:pt x="f144" y="f212"/>
                  </a:lnTo>
                  <a:lnTo>
                    <a:pt x="f267" y="f202"/>
                  </a:lnTo>
                  <a:lnTo>
                    <a:pt x="f138" y="f214"/>
                  </a:lnTo>
                  <a:lnTo>
                    <a:pt x="f268" y="f214"/>
                  </a:lnTo>
                  <a:lnTo>
                    <a:pt x="f158" y="f192"/>
                  </a:lnTo>
                  <a:lnTo>
                    <a:pt x="f269" y="f261"/>
                  </a:lnTo>
                  <a:lnTo>
                    <a:pt x="f148" y="f270"/>
                  </a:lnTo>
                  <a:lnTo>
                    <a:pt x="f271" y="f272"/>
                  </a:lnTo>
                  <a:lnTo>
                    <a:pt x="f273" y="f237"/>
                  </a:lnTo>
                  <a:lnTo>
                    <a:pt x="f145" y="f250"/>
                  </a:lnTo>
                  <a:lnTo>
                    <a:pt x="f143" y="f186"/>
                  </a:lnTo>
                  <a:lnTo>
                    <a:pt x="f274" y="f275"/>
                  </a:lnTo>
                  <a:lnTo>
                    <a:pt x="f276" y="f239"/>
                  </a:lnTo>
                  <a:lnTo>
                    <a:pt x="f277" y="f237"/>
                  </a:lnTo>
                  <a:lnTo>
                    <a:pt x="f121" y="f234"/>
                  </a:lnTo>
                  <a:lnTo>
                    <a:pt x="f90" y="f234"/>
                  </a:lnTo>
                  <a:lnTo>
                    <a:pt x="f278" y="f237"/>
                  </a:lnTo>
                  <a:lnTo>
                    <a:pt x="f279" y="f264"/>
                  </a:lnTo>
                  <a:lnTo>
                    <a:pt x="f93" y="f239"/>
                  </a:lnTo>
                  <a:lnTo>
                    <a:pt x="f85" y="f280"/>
                  </a:lnTo>
                  <a:lnTo>
                    <a:pt x="f281" y="f275"/>
                  </a:lnTo>
                  <a:lnTo>
                    <a:pt x="f97" y="f242"/>
                  </a:lnTo>
                  <a:lnTo>
                    <a:pt x="f100" y="f242"/>
                  </a:lnTo>
                  <a:lnTo>
                    <a:pt x="f77" y="f249"/>
                  </a:lnTo>
                  <a:lnTo>
                    <a:pt x="f282" y="f249"/>
                  </a:lnTo>
                  <a:lnTo>
                    <a:pt x="f113" y="f249"/>
                  </a:lnTo>
                  <a:lnTo>
                    <a:pt x="f283" y="f284"/>
                  </a:lnTo>
                  <a:lnTo>
                    <a:pt x="f285" y="f286"/>
                  </a:lnTo>
                  <a:lnTo>
                    <a:pt x="f283" y="f253"/>
                  </a:lnTo>
                  <a:lnTo>
                    <a:pt x="f287" y="f288"/>
                  </a:lnTo>
                  <a:lnTo>
                    <a:pt x="f289" y="f288"/>
                  </a:lnTo>
                  <a:lnTo>
                    <a:pt x="f105" y="f288"/>
                  </a:lnTo>
                  <a:lnTo>
                    <a:pt x="f71" y="f182"/>
                  </a:lnTo>
                  <a:lnTo>
                    <a:pt x="f290" y="f291"/>
                  </a:lnTo>
                  <a:lnTo>
                    <a:pt x="f292" y="f293"/>
                  </a:lnTo>
                  <a:lnTo>
                    <a:pt x="f294" y="f295"/>
                  </a:lnTo>
                  <a:lnTo>
                    <a:pt x="f69" y="f181"/>
                  </a:lnTo>
                  <a:lnTo>
                    <a:pt x="f68" y="f181"/>
                  </a:lnTo>
                  <a:lnTo>
                    <a:pt x="f292" y="f296"/>
                  </a:lnTo>
                  <a:lnTo>
                    <a:pt x="f297" y="f255"/>
                  </a:lnTo>
                  <a:lnTo>
                    <a:pt x="f290" y="f223"/>
                  </a:lnTo>
                  <a:lnTo>
                    <a:pt x="f298" y="f243"/>
                  </a:lnTo>
                  <a:lnTo>
                    <a:pt x="f67" y="f256"/>
                  </a:lnTo>
                  <a:lnTo>
                    <a:pt x="f299" y="f245"/>
                  </a:lnTo>
                  <a:lnTo>
                    <a:pt x="f299" y="f222"/>
                  </a:lnTo>
                  <a:lnTo>
                    <a:pt x="f72" y="f248"/>
                  </a:lnTo>
                  <a:lnTo>
                    <a:pt x="f300" y="f247"/>
                  </a:lnTo>
                  <a:lnTo>
                    <a:pt x="f69" y="f176"/>
                  </a:lnTo>
                  <a:lnTo>
                    <a:pt x="f69" y="f262"/>
                  </a:lnTo>
                  <a:lnTo>
                    <a:pt x="f68" y="f172"/>
                  </a:lnTo>
                  <a:lnTo>
                    <a:pt x="f294" y="f215"/>
                  </a:lnTo>
                  <a:lnTo>
                    <a:pt x="f294" y="f301"/>
                  </a:lnTo>
                  <a:lnTo>
                    <a:pt x="f300" y="f154"/>
                  </a:lnTo>
                  <a:lnTo>
                    <a:pt x="f299" y="f206"/>
                  </a:lnTo>
                  <a:lnTo>
                    <a:pt x="f55" y="f208"/>
                  </a:lnTo>
                  <a:lnTo>
                    <a:pt x="f80" y="f208"/>
                  </a:lnTo>
                  <a:lnTo>
                    <a:pt x="f302" y="f204"/>
                  </a:lnTo>
                  <a:lnTo>
                    <a:pt x="f29" y="f199"/>
                  </a:lnTo>
                  <a:lnTo>
                    <a:pt x="f303" y="f304"/>
                  </a:lnTo>
                  <a:lnTo>
                    <a:pt x="f305" y="f146"/>
                  </a:lnTo>
                  <a:lnTo>
                    <a:pt x="f51" y="f304"/>
                  </a:lnTo>
                  <a:lnTo>
                    <a:pt x="f306" y="f307"/>
                  </a:lnTo>
                  <a:lnTo>
                    <a:pt x="f308" y="f309"/>
                  </a:lnTo>
                  <a:lnTo>
                    <a:pt x="f308" y="f153"/>
                  </a:lnTo>
                  <a:lnTo>
                    <a:pt x="f51" y="f309"/>
                  </a:lnTo>
                  <a:lnTo>
                    <a:pt x="f48" y="f201"/>
                  </a:lnTo>
                  <a:lnTo>
                    <a:pt x="f310" y="f151"/>
                  </a:lnTo>
                  <a:lnTo>
                    <a:pt x="f311" y="f199"/>
                  </a:lnTo>
                  <a:lnTo>
                    <a:pt x="f312" y="f199"/>
                  </a:lnTo>
                  <a:lnTo>
                    <a:pt x="f313" y="f307"/>
                  </a:lnTo>
                  <a:lnTo>
                    <a:pt x="f314" y="f149"/>
                  </a:lnTo>
                  <a:lnTo>
                    <a:pt x="f315" y="f159"/>
                  </a:lnTo>
                  <a:lnTo>
                    <a:pt x="f316" y="f147"/>
                  </a:lnTo>
                  <a:lnTo>
                    <a:pt x="f315" y="f146"/>
                  </a:lnTo>
                  <a:lnTo>
                    <a:pt x="f316" y="f165"/>
                  </a:lnTo>
                  <a:lnTo>
                    <a:pt x="f39" y="f161"/>
                  </a:lnTo>
                  <a:lnTo>
                    <a:pt x="f317" y="f161"/>
                  </a:lnTo>
                  <a:lnTo>
                    <a:pt x="f318" y="f161"/>
                  </a:lnTo>
                  <a:lnTo>
                    <a:pt x="f319" y="f194"/>
                  </a:lnTo>
                  <a:lnTo>
                    <a:pt x="f320" y="f146"/>
                  </a:lnTo>
                  <a:lnTo>
                    <a:pt x="f321" y="f146"/>
                  </a:lnTo>
                  <a:lnTo>
                    <a:pt x="f322" y="f194"/>
                  </a:lnTo>
                  <a:lnTo>
                    <a:pt x="f26" y="f165"/>
                  </a:lnTo>
                  <a:lnTo>
                    <a:pt x="f323" y="f324"/>
                  </a:lnTo>
                  <a:lnTo>
                    <a:pt x="f325" y="f163"/>
                  </a:lnTo>
                  <a:lnTo>
                    <a:pt x="f326" y="f138"/>
                  </a:lnTo>
                  <a:lnTo>
                    <a:pt x="f26" y="f136"/>
                  </a:lnTo>
                  <a:lnTo>
                    <a:pt x="f327" y="f134"/>
                  </a:lnTo>
                  <a:lnTo>
                    <a:pt x="f327" y="f3"/>
                  </a:lnTo>
                  <a:lnTo>
                    <a:pt x="f26" y="f133"/>
                  </a:lnTo>
                  <a:lnTo>
                    <a:pt x="f328" y="f160"/>
                  </a:lnTo>
                  <a:lnTo>
                    <a:pt x="f23" y="f152"/>
                  </a:lnTo>
                  <a:lnTo>
                    <a:pt x="f325" y="f329"/>
                  </a:lnTo>
                  <a:lnTo>
                    <a:pt x="f325" y="f127"/>
                  </a:lnTo>
                  <a:lnTo>
                    <a:pt x="f323" y="f330"/>
                  </a:lnTo>
                  <a:lnTo>
                    <a:pt x="f328" y="f331"/>
                  </a:lnTo>
                  <a:lnTo>
                    <a:pt x="f26" y="f273"/>
                  </a:lnTo>
                  <a:lnTo>
                    <a:pt x="f332" y="f333"/>
                  </a:lnTo>
                  <a:lnTo>
                    <a:pt x="f332" y="f145"/>
                  </a:lnTo>
                  <a:lnTo>
                    <a:pt x="f334" y="f335"/>
                  </a:lnTo>
                  <a:lnTo>
                    <a:pt x="f328" y="f336"/>
                  </a:lnTo>
                  <a:lnTo>
                    <a:pt x="f325" y="f141"/>
                  </a:lnTo>
                  <a:lnTo>
                    <a:pt x="f22" y="f337"/>
                  </a:lnTo>
                  <a:lnTo>
                    <a:pt x="f22" y="f338"/>
                  </a:lnTo>
                  <a:lnTo>
                    <a:pt x="f325" y="f137"/>
                  </a:lnTo>
                  <a:lnTo>
                    <a:pt x="f24" y="f339"/>
                  </a:lnTo>
                  <a:lnTo>
                    <a:pt x="f340" y="f341"/>
                  </a:lnTo>
                  <a:lnTo>
                    <a:pt x="f26" y="f341"/>
                  </a:lnTo>
                  <a:lnTo>
                    <a:pt x="f28" y="f342"/>
                  </a:lnTo>
                  <a:lnTo>
                    <a:pt x="f343" y="f344"/>
                  </a:lnTo>
                  <a:lnTo>
                    <a:pt x="f321" y="f345"/>
                  </a:lnTo>
                  <a:lnTo>
                    <a:pt x="f346" y="f122"/>
                  </a:lnTo>
                  <a:lnTo>
                    <a:pt x="f36" y="f276"/>
                  </a:lnTo>
                  <a:lnTo>
                    <a:pt x="f347" y="f348"/>
                  </a:lnTo>
                  <a:lnTo>
                    <a:pt x="f349" y="f141"/>
                  </a:lnTo>
                  <a:lnTo>
                    <a:pt x="f350" y="f351"/>
                  </a:lnTo>
                  <a:lnTo>
                    <a:pt x="f40" y="f336"/>
                  </a:lnTo>
                  <a:lnTo>
                    <a:pt x="f42" y="f352"/>
                  </a:lnTo>
                  <a:lnTo>
                    <a:pt x="f353" y="f335"/>
                  </a:lnTo>
                  <a:lnTo>
                    <a:pt x="f354" y="f352"/>
                  </a:lnTo>
                  <a:lnTo>
                    <a:pt x="f310" y="f355"/>
                  </a:lnTo>
                  <a:lnTo>
                    <a:pt x="f310" y="f356"/>
                  </a:lnTo>
                  <a:lnTo>
                    <a:pt x="f357" y="f139"/>
                  </a:lnTo>
                  <a:lnTo>
                    <a:pt x="f358" y="f359"/>
                  </a:lnTo>
                  <a:lnTo>
                    <a:pt x="f43" y="f360"/>
                  </a:lnTo>
                  <a:lnTo>
                    <a:pt x="f42" y="f361"/>
                  </a:lnTo>
                  <a:lnTo>
                    <a:pt x="f362" y="f89"/>
                  </a:lnTo>
                  <a:lnTo>
                    <a:pt x="f40" y="f88"/>
                  </a:lnTo>
                  <a:lnTo>
                    <a:pt x="f39" y="f363"/>
                  </a:lnTo>
                  <a:lnTo>
                    <a:pt x="f38" y="f93"/>
                  </a:lnTo>
                  <a:lnTo>
                    <a:pt x="f347" y="f85"/>
                  </a:lnTo>
                  <a:lnTo>
                    <a:pt x="f364" y="f365"/>
                  </a:lnTo>
                  <a:lnTo>
                    <a:pt x="f366" y="f118"/>
                  </a:lnTo>
                  <a:lnTo>
                    <a:pt x="f343" y="f367"/>
                  </a:lnTo>
                  <a:lnTo>
                    <a:pt x="f28" y="f94"/>
                  </a:lnTo>
                  <a:lnTo>
                    <a:pt x="f26" y="f281"/>
                  </a:lnTo>
                  <a:lnTo>
                    <a:pt x="f328" y="f368"/>
                  </a:lnTo>
                  <a:lnTo>
                    <a:pt x="f369" y="f128"/>
                  </a:lnTo>
                  <a:lnTo>
                    <a:pt x="f370" y="f98"/>
                  </a:lnTo>
                  <a:lnTo>
                    <a:pt x="f371" y="f372"/>
                  </a:lnTo>
                  <a:lnTo>
                    <a:pt x="f17" y="f112"/>
                  </a:lnTo>
                  <a:lnTo>
                    <a:pt x="f373" y="f110"/>
                  </a:lnTo>
                  <a:lnTo>
                    <a:pt x="f17" y="f282"/>
                  </a:lnTo>
                  <a:lnTo>
                    <a:pt x="f17" y="f123"/>
                  </a:lnTo>
                  <a:lnTo>
                    <a:pt x="f374" y="f73"/>
                  </a:lnTo>
                  <a:lnTo>
                    <a:pt x="f15" y="f375"/>
                  </a:lnTo>
                  <a:lnTo>
                    <a:pt x="f376" y="f96"/>
                  </a:lnTo>
                  <a:lnTo>
                    <a:pt x="f377" y="f297"/>
                  </a:lnTo>
                  <a:lnTo>
                    <a:pt x="f378" y="f292"/>
                  </a:lnTo>
                  <a:lnTo>
                    <a:pt x="f379" y="f68"/>
                  </a:lnTo>
                  <a:lnTo>
                    <a:pt x="f7" y="f66"/>
                  </a:lnTo>
                  <a:lnTo>
                    <a:pt x="f380" y="f72"/>
                  </a:lnTo>
                  <a:lnTo>
                    <a:pt x="f381" y="f65"/>
                  </a:lnTo>
                  <a:lnTo>
                    <a:pt x="f377" y="f67"/>
                  </a:lnTo>
                  <a:lnTo>
                    <a:pt x="f15" y="f294"/>
                  </a:lnTo>
                  <a:lnTo>
                    <a:pt x="f382" y="f292"/>
                  </a:lnTo>
                  <a:lnTo>
                    <a:pt x="f383" y="f292"/>
                  </a:lnTo>
                  <a:lnTo>
                    <a:pt x="f384" y="f385"/>
                  </a:lnTo>
                  <a:lnTo>
                    <a:pt x="f328" y="f294"/>
                  </a:lnTo>
                  <a:lnTo>
                    <a:pt x="f334" y="f294"/>
                  </a:lnTo>
                  <a:lnTo>
                    <a:pt x="f386" y="f292"/>
                  </a:lnTo>
                  <a:lnTo>
                    <a:pt x="f30" y="f298"/>
                  </a:lnTo>
                  <a:lnTo>
                    <a:pt x="f387" y="f297"/>
                  </a:lnTo>
                  <a:lnTo>
                    <a:pt x="f34" y="f95"/>
                  </a:lnTo>
                  <a:lnTo>
                    <a:pt x="f320" y="f290"/>
                  </a:lnTo>
                  <a:lnTo>
                    <a:pt x="f319" y="f96"/>
                  </a:lnTo>
                  <a:lnTo>
                    <a:pt x="f318" y="f96"/>
                  </a:lnTo>
                  <a:lnTo>
                    <a:pt x="f317" y="f96"/>
                  </a:lnTo>
                  <a:lnTo>
                    <a:pt x="f39" y="f96"/>
                  </a:lnTo>
                  <a:lnTo>
                    <a:pt x="f316" y="f95"/>
                  </a:lnTo>
                  <a:lnTo>
                    <a:pt x="f388" y="f298"/>
                  </a:lnTo>
                  <a:lnTo>
                    <a:pt x="f389" y="f390"/>
                  </a:lnTo>
                  <a:lnTo>
                    <a:pt x="f366" y="f67"/>
                  </a:lnTo>
                  <a:lnTo>
                    <a:pt x="f391" y="f91"/>
                  </a:lnTo>
                  <a:lnTo>
                    <a:pt x="f322" y="f72"/>
                  </a:lnTo>
                  <a:lnTo>
                    <a:pt x="f327" y="f64"/>
                  </a:lnTo>
                  <a:lnTo>
                    <a:pt x="f334" y="f64"/>
                  </a:lnTo>
                  <a:lnTo>
                    <a:pt x="f340" y="f63"/>
                  </a:lnTo>
                  <a:lnTo>
                    <a:pt x="f24" y="f2"/>
                  </a:lnTo>
                  <a:lnTo>
                    <a:pt x="f323" y="f61"/>
                  </a:lnTo>
                  <a:lnTo>
                    <a:pt x="f325" y="f60"/>
                  </a:lnTo>
                  <a:lnTo>
                    <a:pt x="f392" y="f393"/>
                  </a:lnTo>
                  <a:lnTo>
                    <a:pt x="f383" y="f55"/>
                  </a:lnTo>
                  <a:lnTo>
                    <a:pt x="f17" y="f394"/>
                  </a:lnTo>
                  <a:lnTo>
                    <a:pt x="f9" y="f10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9" name="Freeform 432">
              <a:extLst>
                <a:ext uri="{FF2B5EF4-FFF2-40B4-BE49-F238E27FC236}">
                  <a16:creationId xmlns:a16="http://schemas.microsoft.com/office/drawing/2014/main" id="{3EAB3C78-639F-AABF-EBFB-B8F6A78621E1}"/>
                </a:ext>
              </a:extLst>
            </p:cNvPr>
            <p:cNvSpPr/>
            <p:nvPr/>
          </p:nvSpPr>
          <p:spPr>
            <a:xfrm>
              <a:off x="2758706" y="1770698"/>
              <a:ext cx="163366" cy="1432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8"/>
                <a:gd name="f7" fmla="val 146"/>
                <a:gd name="f8" fmla="val 71"/>
                <a:gd name="f9" fmla="val 67"/>
                <a:gd name="f10" fmla="val 145"/>
                <a:gd name="f11" fmla="val 56"/>
                <a:gd name="f12" fmla="val 141"/>
                <a:gd name="f13" fmla="val 44"/>
                <a:gd name="f14" fmla="val 135"/>
                <a:gd name="f15" fmla="val 36"/>
                <a:gd name="f16" fmla="val 129"/>
                <a:gd name="f17" fmla="val 33"/>
                <a:gd name="f18" fmla="val 125"/>
                <a:gd name="f19" fmla="val 120"/>
                <a:gd name="f20" fmla="val 35"/>
                <a:gd name="f21" fmla="val 115"/>
                <a:gd name="f22" fmla="val 32"/>
                <a:gd name="f23" fmla="val 111"/>
                <a:gd name="f24" fmla="val 26"/>
                <a:gd name="f25" fmla="val 108"/>
                <a:gd name="f26" fmla="val 20"/>
                <a:gd name="f27" fmla="val 104"/>
                <a:gd name="f28" fmla="val 14"/>
                <a:gd name="f29" fmla="val 95"/>
                <a:gd name="f30" fmla="val 12"/>
                <a:gd name="f31" fmla="val 88"/>
                <a:gd name="f32" fmla="val 10"/>
                <a:gd name="f33" fmla="val 82"/>
                <a:gd name="f34" fmla="val 9"/>
                <a:gd name="f35" fmla="val 77"/>
                <a:gd name="f36" fmla="val 7"/>
                <a:gd name="f37" fmla="val 73"/>
                <a:gd name="f38" fmla="val 3"/>
                <a:gd name="f39" fmla="val 68"/>
                <a:gd name="f40" fmla="val 1"/>
                <a:gd name="f41" fmla="val 65"/>
                <a:gd name="f42" fmla="val 62"/>
                <a:gd name="f43" fmla="val 60"/>
                <a:gd name="f44" fmla="val 2"/>
                <a:gd name="f45" fmla="val 58"/>
                <a:gd name="f46" fmla="val 8"/>
                <a:gd name="f47" fmla="val 15"/>
                <a:gd name="f48" fmla="val 57"/>
                <a:gd name="f49" fmla="val 55"/>
                <a:gd name="f50" fmla="val 24"/>
                <a:gd name="f51" fmla="val 50"/>
                <a:gd name="f52" fmla="val 31"/>
                <a:gd name="f53" fmla="val 42"/>
                <a:gd name="f54" fmla="val 40"/>
                <a:gd name="f55" fmla="val 27"/>
                <a:gd name="f56" fmla="val 11"/>
                <a:gd name="f57" fmla="val 90"/>
                <a:gd name="f58" fmla="val 91"/>
                <a:gd name="f59" fmla="val 4"/>
                <a:gd name="f60" fmla="val 6"/>
                <a:gd name="f61" fmla="val 94"/>
                <a:gd name="f62" fmla="val 107"/>
                <a:gd name="f63" fmla="val 123"/>
                <a:gd name="f64" fmla="val 136"/>
                <a:gd name="f65" fmla="val 144"/>
                <a:gd name="f66" fmla="val 143"/>
                <a:gd name="f67" fmla="val 139"/>
                <a:gd name="f68" fmla="val 137"/>
                <a:gd name="f69" fmla="val 39"/>
                <a:gd name="f70" fmla="val 138"/>
                <a:gd name="f71" fmla="val 66"/>
                <a:gd name="f72" fmla="val 124"/>
                <a:gd name="f73" fmla="val 75"/>
                <a:gd name="f74" fmla="val 119"/>
                <a:gd name="f75" fmla="val 83"/>
                <a:gd name="f76" fmla="val 116"/>
                <a:gd name="f77" fmla="val 87"/>
                <a:gd name="f78" fmla="val 99"/>
                <a:gd name="f79" fmla="val 96"/>
                <a:gd name="f80" fmla="val 92"/>
                <a:gd name="f81" fmla="val 112"/>
                <a:gd name="f82" fmla="val 89"/>
                <a:gd name="f83" fmla="val 128"/>
                <a:gd name="f84" fmla="val 86"/>
                <a:gd name="f85" fmla="val 84"/>
                <a:gd name="f86" fmla="val 140"/>
                <a:gd name="f87" fmla="val 78"/>
                <a:gd name="f88" fmla="+- 0 0 -90"/>
                <a:gd name="f89" fmla="*/ f3 1 148"/>
                <a:gd name="f90" fmla="*/ f4 1 146"/>
                <a:gd name="f91" fmla="val f5"/>
                <a:gd name="f92" fmla="val f6"/>
                <a:gd name="f93" fmla="val f7"/>
                <a:gd name="f94" fmla="*/ f88 f0 1"/>
                <a:gd name="f95" fmla="+- f93 0 f91"/>
                <a:gd name="f96" fmla="+- f92 0 f91"/>
                <a:gd name="f97" fmla="*/ f94 1 f2"/>
                <a:gd name="f98" fmla="*/ f96 1 148"/>
                <a:gd name="f99" fmla="*/ f95 1 146"/>
                <a:gd name="f100" fmla="*/ 2147483646 f96 1"/>
                <a:gd name="f101" fmla="*/ 2147483646 f95 1"/>
                <a:gd name="f102" fmla="*/ 0 f95 1"/>
                <a:gd name="f103" fmla="+- f97 0 f1"/>
                <a:gd name="f104" fmla="*/ f100 1 148"/>
                <a:gd name="f105" fmla="*/ f101 1 146"/>
                <a:gd name="f106" fmla="*/ f102 1 146"/>
                <a:gd name="f107" fmla="*/ 0 1 f98"/>
                <a:gd name="f108" fmla="*/ f92 1 f98"/>
                <a:gd name="f109" fmla="*/ 0 1 f99"/>
                <a:gd name="f110" fmla="*/ f93 1 f99"/>
                <a:gd name="f111" fmla="*/ f104 1 f98"/>
                <a:gd name="f112" fmla="*/ f105 1 f99"/>
                <a:gd name="f113" fmla="*/ f106 1 f99"/>
                <a:gd name="f114" fmla="*/ f107 f89 1"/>
                <a:gd name="f115" fmla="*/ f108 f89 1"/>
                <a:gd name="f116" fmla="*/ f110 f90 1"/>
                <a:gd name="f117" fmla="*/ f109 f90 1"/>
                <a:gd name="f118" fmla="*/ f111 f89 1"/>
                <a:gd name="f119" fmla="*/ f112 f90 1"/>
                <a:gd name="f120" fmla="*/ f113 f9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20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  <a:cxn ang="f103">
                  <a:pos x="f118" y="f119"/>
                </a:cxn>
              </a:cxnLst>
              <a:rect l="f114" t="f117" r="f115" b="f116"/>
              <a:pathLst>
                <a:path w="148" h="146">
                  <a:moveTo>
                    <a:pt x="f6" y="f8"/>
                  </a:moveTo>
                  <a:lnTo>
                    <a:pt x="f7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7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8"/>
                  </a:lnTo>
                  <a:lnTo>
                    <a:pt x="f39" y="f40"/>
                  </a:lnTo>
                  <a:lnTo>
                    <a:pt x="f41" y="f5"/>
                  </a:lnTo>
                  <a:lnTo>
                    <a:pt x="f42" y="f5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5" y="f47"/>
                  </a:lnTo>
                  <a:lnTo>
                    <a:pt x="f48" y="f26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53" y="f54"/>
                  </a:lnTo>
                  <a:lnTo>
                    <a:pt x="f22" y="f51"/>
                  </a:lnTo>
                  <a:lnTo>
                    <a:pt x="f55" y="f49"/>
                  </a:lnTo>
                  <a:lnTo>
                    <a:pt x="f26" y="f42"/>
                  </a:lnTo>
                  <a:lnTo>
                    <a:pt x="f56" y="f8"/>
                  </a:lnTo>
                  <a:lnTo>
                    <a:pt x="f38" y="f33"/>
                  </a:lnTo>
                  <a:lnTo>
                    <a:pt x="f5" y="f57"/>
                  </a:lnTo>
                  <a:lnTo>
                    <a:pt x="f38" y="f58"/>
                  </a:lnTo>
                  <a:lnTo>
                    <a:pt x="f59" y="f58"/>
                  </a:lnTo>
                  <a:lnTo>
                    <a:pt x="f60" y="f61"/>
                  </a:lnTo>
                  <a:lnTo>
                    <a:pt x="f56" y="f62"/>
                  </a:lnTo>
                  <a:lnTo>
                    <a:pt x="f28" y="f63"/>
                  </a:lnTo>
                  <a:lnTo>
                    <a:pt x="f28" y="f64"/>
                  </a:lnTo>
                  <a:lnTo>
                    <a:pt x="f47" y="f65"/>
                  </a:lnTo>
                  <a:lnTo>
                    <a:pt x="f26" y="f7"/>
                  </a:lnTo>
                  <a:lnTo>
                    <a:pt x="f55" y="f66"/>
                  </a:lnTo>
                  <a:lnTo>
                    <a:pt x="f22" y="f67"/>
                  </a:lnTo>
                  <a:lnTo>
                    <a:pt x="f15" y="f68"/>
                  </a:lnTo>
                  <a:lnTo>
                    <a:pt x="f69" y="f70"/>
                  </a:lnTo>
                  <a:lnTo>
                    <a:pt x="f13" y="f66"/>
                  </a:lnTo>
                  <a:lnTo>
                    <a:pt x="f51" y="f7"/>
                  </a:lnTo>
                  <a:lnTo>
                    <a:pt x="f49" y="f10"/>
                  </a:lnTo>
                  <a:lnTo>
                    <a:pt x="f43" y="f14"/>
                  </a:lnTo>
                  <a:lnTo>
                    <a:pt x="f71" y="f72"/>
                  </a:lnTo>
                  <a:lnTo>
                    <a:pt x="f73" y="f74"/>
                  </a:lnTo>
                  <a:lnTo>
                    <a:pt x="f75" y="f76"/>
                  </a:lnTo>
                  <a:lnTo>
                    <a:pt x="f77" y="f23"/>
                  </a:lnTo>
                  <a:lnTo>
                    <a:pt x="f77" y="f27"/>
                  </a:lnTo>
                  <a:lnTo>
                    <a:pt x="f77" y="f78"/>
                  </a:lnTo>
                  <a:lnTo>
                    <a:pt x="f58" y="f79"/>
                  </a:lnTo>
                  <a:lnTo>
                    <a:pt x="f27" y="f80"/>
                  </a:lnTo>
                  <a:lnTo>
                    <a:pt x="f81" y="f57"/>
                  </a:lnTo>
                  <a:lnTo>
                    <a:pt x="f19" y="f82"/>
                  </a:lnTo>
                  <a:lnTo>
                    <a:pt x="f83" y="f84"/>
                  </a:lnTo>
                  <a:lnTo>
                    <a:pt x="f14" y="f85"/>
                  </a:lnTo>
                  <a:lnTo>
                    <a:pt x="f86" y="f33"/>
                  </a:lnTo>
                  <a:lnTo>
                    <a:pt x="f65" y="f87"/>
                  </a:lnTo>
                  <a:lnTo>
                    <a:pt x="f7" y="f73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0" name="Freeform 433">
              <a:extLst>
                <a:ext uri="{FF2B5EF4-FFF2-40B4-BE49-F238E27FC236}">
                  <a16:creationId xmlns:a16="http://schemas.microsoft.com/office/drawing/2014/main" id="{988ACED3-533E-C3AF-42E3-613CF95E19EE}"/>
                </a:ext>
              </a:extLst>
            </p:cNvPr>
            <p:cNvSpPr/>
            <p:nvPr/>
          </p:nvSpPr>
          <p:spPr>
            <a:xfrm>
              <a:off x="2931875" y="1717763"/>
              <a:ext cx="148672" cy="918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3"/>
                <a:gd name="f7" fmla="val 91"/>
                <a:gd name="f8" fmla="val 104"/>
                <a:gd name="f9" fmla="val 4"/>
                <a:gd name="f10" fmla="val 103"/>
                <a:gd name="f11" fmla="val 13"/>
                <a:gd name="f12" fmla="val 23"/>
                <a:gd name="f13" fmla="val 102"/>
                <a:gd name="f14" fmla="val 30"/>
                <a:gd name="f15" fmla="val 101"/>
                <a:gd name="f16" fmla="val 35"/>
                <a:gd name="f17" fmla="val 39"/>
                <a:gd name="f18" fmla="val 44"/>
                <a:gd name="f19" fmla="val 107"/>
                <a:gd name="f20" fmla="val 46"/>
                <a:gd name="f21" fmla="val 111"/>
                <a:gd name="f22" fmla="val 43"/>
                <a:gd name="f23" fmla="val 113"/>
                <a:gd name="f24" fmla="val 37"/>
                <a:gd name="f25" fmla="val 115"/>
                <a:gd name="f26" fmla="val 34"/>
                <a:gd name="f27" fmla="val 121"/>
                <a:gd name="f28" fmla="val 36"/>
                <a:gd name="f29" fmla="val 128"/>
                <a:gd name="f30" fmla="val 42"/>
                <a:gd name="f31" fmla="val 132"/>
                <a:gd name="f32" fmla="val 45"/>
                <a:gd name="f33" fmla="val 49"/>
                <a:gd name="f34" fmla="val 54"/>
                <a:gd name="f35" fmla="val 60"/>
                <a:gd name="f36" fmla="val 62"/>
                <a:gd name="f37" fmla="val 131"/>
                <a:gd name="f38" fmla="val 66"/>
                <a:gd name="f39" fmla="val 72"/>
                <a:gd name="f40" fmla="val 123"/>
                <a:gd name="f41" fmla="val 78"/>
                <a:gd name="f42" fmla="val 82"/>
                <a:gd name="f43" fmla="val 116"/>
                <a:gd name="f44" fmla="val 84"/>
                <a:gd name="f45" fmla="val 83"/>
                <a:gd name="f46" fmla="val 96"/>
                <a:gd name="f47" fmla="val 81"/>
                <a:gd name="f48" fmla="val 88"/>
                <a:gd name="f49" fmla="val 77"/>
                <a:gd name="f50" fmla="val 79"/>
                <a:gd name="f51" fmla="val 80"/>
                <a:gd name="f52" fmla="val 76"/>
                <a:gd name="f53" fmla="val 85"/>
                <a:gd name="f54" fmla="val 68"/>
                <a:gd name="f55" fmla="val 61"/>
                <a:gd name="f56" fmla="val 90"/>
                <a:gd name="f57" fmla="val 32"/>
                <a:gd name="f58" fmla="val 89"/>
                <a:gd name="f59" fmla="val 24"/>
                <a:gd name="f60" fmla="val 18"/>
                <a:gd name="f61" fmla="val 19"/>
                <a:gd name="f62" fmla="val 25"/>
                <a:gd name="f63" fmla="val 38"/>
                <a:gd name="f64" fmla="val 75"/>
                <a:gd name="f65" fmla="val 48"/>
                <a:gd name="f66" fmla="val 70"/>
                <a:gd name="f67" fmla="val 64"/>
                <a:gd name="f68" fmla="val 65"/>
                <a:gd name="f69" fmla="val 67"/>
                <a:gd name="f70" fmla="val 27"/>
                <a:gd name="f71" fmla="val 20"/>
                <a:gd name="f72" fmla="val 14"/>
                <a:gd name="f73" fmla="val 57"/>
                <a:gd name="f74" fmla="val 8"/>
                <a:gd name="f75" fmla="val 53"/>
                <a:gd name="f76" fmla="val 51"/>
                <a:gd name="f77" fmla="val 2"/>
                <a:gd name="f78" fmla="val 12"/>
                <a:gd name="f79" fmla="val 22"/>
                <a:gd name="f80" fmla="val 15"/>
                <a:gd name="f81" fmla="val 7"/>
                <a:gd name="f82" fmla="val 28"/>
                <a:gd name="f83" fmla="val 1"/>
                <a:gd name="f84" fmla="val 41"/>
                <a:gd name="f85" fmla="val 5"/>
                <a:gd name="f86" fmla="val 50"/>
                <a:gd name="f87" fmla="val 55"/>
                <a:gd name="f88" fmla="val 56"/>
                <a:gd name="f89" fmla="val 31"/>
                <a:gd name="f90" fmla="val 47"/>
                <a:gd name="f91" fmla="val 52"/>
                <a:gd name="f92" fmla="val 86"/>
                <a:gd name="f93" fmla="val 59"/>
                <a:gd name="f94" fmla="val 29"/>
                <a:gd name="f95" fmla="val 11"/>
                <a:gd name="f96" fmla="val 94"/>
                <a:gd name="f97" fmla="val 6"/>
                <a:gd name="f98" fmla="val 99"/>
                <a:gd name="f99" fmla="+- 0 0 -90"/>
                <a:gd name="f100" fmla="*/ f3 1 133"/>
                <a:gd name="f101" fmla="*/ f4 1 91"/>
                <a:gd name="f102" fmla="val f5"/>
                <a:gd name="f103" fmla="val f6"/>
                <a:gd name="f104" fmla="val f7"/>
                <a:gd name="f105" fmla="*/ f99 f0 1"/>
                <a:gd name="f106" fmla="+- f104 0 f102"/>
                <a:gd name="f107" fmla="+- f103 0 f102"/>
                <a:gd name="f108" fmla="*/ f105 1 f2"/>
                <a:gd name="f109" fmla="*/ f107 1 133"/>
                <a:gd name="f110" fmla="*/ f106 1 91"/>
                <a:gd name="f111" fmla="*/ 2147483646 f107 1"/>
                <a:gd name="f112" fmla="*/ 2147483646 f106 1"/>
                <a:gd name="f113" fmla="*/ 0 f107 1"/>
                <a:gd name="f114" fmla="*/ 0 f106 1"/>
                <a:gd name="f115" fmla="+- f108 0 f1"/>
                <a:gd name="f116" fmla="*/ f111 1 133"/>
                <a:gd name="f117" fmla="*/ f112 1 91"/>
                <a:gd name="f118" fmla="*/ f113 1 133"/>
                <a:gd name="f119" fmla="*/ f114 1 91"/>
                <a:gd name="f120" fmla="*/ 0 1 f109"/>
                <a:gd name="f121" fmla="*/ f103 1 f109"/>
                <a:gd name="f122" fmla="*/ 0 1 f110"/>
                <a:gd name="f123" fmla="*/ f104 1 f110"/>
                <a:gd name="f124" fmla="*/ f116 1 f109"/>
                <a:gd name="f125" fmla="*/ f117 1 f110"/>
                <a:gd name="f126" fmla="*/ f118 1 f109"/>
                <a:gd name="f127" fmla="*/ f119 1 f110"/>
                <a:gd name="f128" fmla="*/ f120 f100 1"/>
                <a:gd name="f129" fmla="*/ f121 f100 1"/>
                <a:gd name="f130" fmla="*/ f123 f101 1"/>
                <a:gd name="f131" fmla="*/ f122 f101 1"/>
                <a:gd name="f132" fmla="*/ f124 f100 1"/>
                <a:gd name="f133" fmla="*/ f125 f101 1"/>
                <a:gd name="f134" fmla="*/ f126 f100 1"/>
                <a:gd name="f135" fmla="*/ f127 f10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4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5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  <a:cxn ang="f115">
                  <a:pos x="f132" y="f133"/>
                </a:cxn>
              </a:cxnLst>
              <a:rect l="f128" t="f131" r="f129" b="f130"/>
              <a:pathLst>
                <a:path w="133" h="91">
                  <a:moveTo>
                    <a:pt x="f8" y="f5"/>
                  </a:moveTo>
                  <a:lnTo>
                    <a:pt x="f8" y="f9"/>
                  </a:ln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5" y="f17"/>
                  </a:lnTo>
                  <a:lnTo>
                    <a:pt x="f13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6" y="f33"/>
                  </a:lnTo>
                  <a:lnTo>
                    <a:pt x="f31" y="f34"/>
                  </a:lnTo>
                  <a:lnTo>
                    <a:pt x="f31" y="f35"/>
                  </a:lnTo>
                  <a:lnTo>
                    <a:pt x="f31" y="f36"/>
                  </a:lnTo>
                  <a:lnTo>
                    <a:pt x="f37" y="f38"/>
                  </a:lnTo>
                  <a:lnTo>
                    <a:pt x="f29" y="f39"/>
                  </a:lnTo>
                  <a:lnTo>
                    <a:pt x="f40" y="f41"/>
                  </a:lnTo>
                  <a:lnTo>
                    <a:pt x="f27" y="f42"/>
                  </a:lnTo>
                  <a:lnTo>
                    <a:pt x="f43" y="f44"/>
                  </a:lnTo>
                  <a:lnTo>
                    <a:pt x="f19" y="f45"/>
                  </a:lnTo>
                  <a:lnTo>
                    <a:pt x="f46" y="f47"/>
                  </a:lnTo>
                  <a:lnTo>
                    <a:pt x="f48" y="f41"/>
                  </a:lnTo>
                  <a:lnTo>
                    <a:pt x="f45" y="f49"/>
                  </a:lnTo>
                  <a:lnTo>
                    <a:pt x="f50" y="f51"/>
                  </a:lnTo>
                  <a:lnTo>
                    <a:pt x="f52" y="f45"/>
                  </a:lnTo>
                  <a:lnTo>
                    <a:pt x="f39" y="f53"/>
                  </a:lnTo>
                  <a:lnTo>
                    <a:pt x="f54" y="f48"/>
                  </a:lnTo>
                  <a:lnTo>
                    <a:pt x="f55" y="f56"/>
                  </a:lnTo>
                  <a:lnTo>
                    <a:pt x="f34" y="f7"/>
                  </a:lnTo>
                  <a:lnTo>
                    <a:pt x="f33" y="f7"/>
                  </a:lnTo>
                  <a:lnTo>
                    <a:pt x="f32" y="f7"/>
                  </a:lnTo>
                  <a:lnTo>
                    <a:pt x="f17" y="f7"/>
                  </a:lnTo>
                  <a:lnTo>
                    <a:pt x="f57" y="f58"/>
                  </a:lnTo>
                  <a:lnTo>
                    <a:pt x="f59" y="f53"/>
                  </a:lnTo>
                  <a:lnTo>
                    <a:pt x="f60" y="f42"/>
                  </a:lnTo>
                  <a:lnTo>
                    <a:pt x="f61" y="f41"/>
                  </a:lnTo>
                  <a:lnTo>
                    <a:pt x="f62" y="f49"/>
                  </a:lnTo>
                  <a:lnTo>
                    <a:pt x="f57" y="f49"/>
                  </a:lnTo>
                  <a:lnTo>
                    <a:pt x="f63" y="f49"/>
                  </a:lnTo>
                  <a:lnTo>
                    <a:pt x="f22" y="f64"/>
                  </a:lnTo>
                  <a:lnTo>
                    <a:pt x="f65" y="f66"/>
                  </a:lnTo>
                  <a:lnTo>
                    <a:pt x="f33" y="f67"/>
                  </a:lnTo>
                  <a:lnTo>
                    <a:pt x="f65" y="f35"/>
                  </a:lnTo>
                  <a:lnTo>
                    <a:pt x="f30" y="f35"/>
                  </a:lnTo>
                  <a:lnTo>
                    <a:pt x="f16" y="f68"/>
                  </a:lnTo>
                  <a:lnTo>
                    <a:pt x="f57" y="f69"/>
                  </a:lnTo>
                  <a:lnTo>
                    <a:pt x="f70" y="f69"/>
                  </a:lnTo>
                  <a:lnTo>
                    <a:pt x="f71" y="f36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9" y="f76"/>
                  </a:lnTo>
                  <a:lnTo>
                    <a:pt x="f77" y="f20"/>
                  </a:lnTo>
                  <a:lnTo>
                    <a:pt x="f5" y="f30"/>
                  </a:lnTo>
                  <a:lnTo>
                    <a:pt x="f5" y="f63"/>
                  </a:lnTo>
                  <a:lnTo>
                    <a:pt x="f77" y="f16"/>
                  </a:lnTo>
                  <a:lnTo>
                    <a:pt x="f74" y="f14"/>
                  </a:lnTo>
                  <a:lnTo>
                    <a:pt x="f78" y="f62"/>
                  </a:lnTo>
                  <a:lnTo>
                    <a:pt x="f72" y="f79"/>
                  </a:lnTo>
                  <a:lnTo>
                    <a:pt x="f80" y="f71"/>
                  </a:lnTo>
                  <a:lnTo>
                    <a:pt x="f60" y="f72"/>
                  </a:lnTo>
                  <a:lnTo>
                    <a:pt x="f12" y="f81"/>
                  </a:lnTo>
                  <a:lnTo>
                    <a:pt x="f62" y="f9"/>
                  </a:lnTo>
                  <a:lnTo>
                    <a:pt x="f82" y="f83"/>
                  </a:lnTo>
                  <a:lnTo>
                    <a:pt x="f26" y="f5"/>
                  </a:lnTo>
                  <a:lnTo>
                    <a:pt x="f84" y="f5"/>
                  </a:lnTo>
                  <a:lnTo>
                    <a:pt x="f32" y="f77"/>
                  </a:lnTo>
                  <a:lnTo>
                    <a:pt x="f20" y="f85"/>
                  </a:lnTo>
                  <a:lnTo>
                    <a:pt x="f32" y="f74"/>
                  </a:lnTo>
                  <a:lnTo>
                    <a:pt x="f20" y="f11"/>
                  </a:lnTo>
                  <a:lnTo>
                    <a:pt x="f86" y="f80"/>
                  </a:lnTo>
                  <a:lnTo>
                    <a:pt x="f87" y="f61"/>
                  </a:lnTo>
                  <a:lnTo>
                    <a:pt x="f88" y="f12"/>
                  </a:lnTo>
                  <a:lnTo>
                    <a:pt x="f88" y="f82"/>
                  </a:lnTo>
                  <a:lnTo>
                    <a:pt x="f55" y="f89"/>
                  </a:lnTo>
                  <a:lnTo>
                    <a:pt x="f68" y="f16"/>
                  </a:lnTo>
                  <a:lnTo>
                    <a:pt x="f54" y="f17"/>
                  </a:lnTo>
                  <a:lnTo>
                    <a:pt x="f54" y="f18"/>
                  </a:lnTo>
                  <a:lnTo>
                    <a:pt x="f54" y="f90"/>
                  </a:lnTo>
                  <a:lnTo>
                    <a:pt x="f66" y="f86"/>
                  </a:lnTo>
                  <a:lnTo>
                    <a:pt x="f64" y="f91"/>
                  </a:lnTo>
                  <a:lnTo>
                    <a:pt x="f51" y="f87"/>
                  </a:lnTo>
                  <a:lnTo>
                    <a:pt x="f92" y="f93"/>
                  </a:lnTo>
                  <a:lnTo>
                    <a:pt x="f56" y="f93"/>
                  </a:lnTo>
                  <a:lnTo>
                    <a:pt x="f7" y="f34"/>
                  </a:lnTo>
                  <a:lnTo>
                    <a:pt x="f7" y="f90"/>
                  </a:lnTo>
                  <a:lnTo>
                    <a:pt x="f7" y="f30"/>
                  </a:lnTo>
                  <a:lnTo>
                    <a:pt x="f7" y="f24"/>
                  </a:lnTo>
                  <a:lnTo>
                    <a:pt x="f7" y="f57"/>
                  </a:lnTo>
                  <a:lnTo>
                    <a:pt x="f48" y="f14"/>
                  </a:lnTo>
                  <a:lnTo>
                    <a:pt x="f92" y="f14"/>
                  </a:lnTo>
                  <a:lnTo>
                    <a:pt x="f53" y="f94"/>
                  </a:lnTo>
                  <a:lnTo>
                    <a:pt x="f44" y="f59"/>
                  </a:lnTo>
                  <a:lnTo>
                    <a:pt x="f44" y="f61"/>
                  </a:lnTo>
                  <a:lnTo>
                    <a:pt x="f44" y="f72"/>
                  </a:lnTo>
                  <a:lnTo>
                    <a:pt x="f53" y="f95"/>
                  </a:lnTo>
                  <a:lnTo>
                    <a:pt x="f48" y="f74"/>
                  </a:lnTo>
                  <a:lnTo>
                    <a:pt x="f96" y="f97"/>
                  </a:lnTo>
                  <a:lnTo>
                    <a:pt x="f98" y="f9"/>
                  </a:lnTo>
                  <a:lnTo>
                    <a:pt x="f10" y="f83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1" name="Freeform 435">
              <a:extLst>
                <a:ext uri="{FF2B5EF4-FFF2-40B4-BE49-F238E27FC236}">
                  <a16:creationId xmlns:a16="http://schemas.microsoft.com/office/drawing/2014/main" id="{99296B9A-AA1B-9C20-17AB-AA2F1EF58937}"/>
                </a:ext>
              </a:extLst>
            </p:cNvPr>
            <p:cNvSpPr/>
            <p:nvPr/>
          </p:nvSpPr>
          <p:spPr>
            <a:xfrm>
              <a:off x="3091986" y="1730217"/>
              <a:ext cx="94750" cy="793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6"/>
                <a:gd name="f7" fmla="val 80"/>
                <a:gd name="f8" fmla="val 20"/>
                <a:gd name="f9" fmla="val 16"/>
                <a:gd name="f10" fmla="val 17"/>
                <a:gd name="f11" fmla="val 12"/>
                <a:gd name="f12" fmla="val 10"/>
                <a:gd name="f13" fmla="val 5"/>
                <a:gd name="f14" fmla="val 3"/>
                <a:gd name="f15" fmla="val 2"/>
                <a:gd name="f16" fmla="val 1"/>
                <a:gd name="f17" fmla="val 9"/>
                <a:gd name="f18" fmla="val 15"/>
                <a:gd name="f19" fmla="val 22"/>
                <a:gd name="f20" fmla="val 4"/>
                <a:gd name="f21" fmla="val 27"/>
                <a:gd name="f22" fmla="val 33"/>
                <a:gd name="f23" fmla="val 8"/>
                <a:gd name="f24" fmla="val 38"/>
                <a:gd name="f25" fmla="val 11"/>
                <a:gd name="f26" fmla="val 41"/>
                <a:gd name="f27" fmla="val 42"/>
                <a:gd name="f28" fmla="val 18"/>
                <a:gd name="f29" fmla="val 24"/>
                <a:gd name="f30" fmla="val 43"/>
                <a:gd name="f31" fmla="val 23"/>
                <a:gd name="f32" fmla="val 47"/>
                <a:gd name="f33" fmla="val 52"/>
                <a:gd name="f34" fmla="val 54"/>
                <a:gd name="f35" fmla="val 31"/>
                <a:gd name="f36" fmla="val 53"/>
                <a:gd name="f37" fmla="val 58"/>
                <a:gd name="f38" fmla="val 40"/>
                <a:gd name="f39" fmla="val 65"/>
                <a:gd name="f40" fmla="val 73"/>
                <a:gd name="f41" fmla="val 79"/>
                <a:gd name="f42" fmla="val 77"/>
                <a:gd name="f43" fmla="val 64"/>
                <a:gd name="f44" fmla="val 72"/>
                <a:gd name="f45" fmla="val 66"/>
                <a:gd name="f46" fmla="val 76"/>
                <a:gd name="f47" fmla="val 75"/>
                <a:gd name="f48" fmla="val 62"/>
                <a:gd name="f49" fmla="val 57"/>
                <a:gd name="f50" fmla="val 56"/>
                <a:gd name="f51" fmla="val 84"/>
                <a:gd name="f52" fmla="val 83"/>
                <a:gd name="f53" fmla="val 50"/>
                <a:gd name="f54" fmla="val 39"/>
                <a:gd name="f55" fmla="val 71"/>
                <a:gd name="f56" fmla="val 37"/>
                <a:gd name="f57" fmla="val 7"/>
                <a:gd name="f58" fmla="val 63"/>
                <a:gd name="f59" fmla="val 60"/>
                <a:gd name="f60" fmla="val 55"/>
                <a:gd name="f61" fmla="val 45"/>
                <a:gd name="f62" fmla="val 48"/>
                <a:gd name="f63" fmla="val 13"/>
                <a:gd name="f64" fmla="val 35"/>
                <a:gd name="f65" fmla="val 32"/>
                <a:gd name="f66" fmla="val 28"/>
                <a:gd name="f67" fmla="val 25"/>
                <a:gd name="f68" fmla="+- 0 0 -90"/>
                <a:gd name="f69" fmla="*/ f3 1 86"/>
                <a:gd name="f70" fmla="*/ f4 1 80"/>
                <a:gd name="f71" fmla="val f5"/>
                <a:gd name="f72" fmla="val f6"/>
                <a:gd name="f73" fmla="val f7"/>
                <a:gd name="f74" fmla="*/ f68 f0 1"/>
                <a:gd name="f75" fmla="+- f73 0 f71"/>
                <a:gd name="f76" fmla="+- f72 0 f71"/>
                <a:gd name="f77" fmla="*/ f74 1 f2"/>
                <a:gd name="f78" fmla="*/ f76 1 86"/>
                <a:gd name="f79" fmla="*/ f75 1 80"/>
                <a:gd name="f80" fmla="*/ 2147483646 f76 1"/>
                <a:gd name="f81" fmla="*/ 2147483646 f75 1"/>
                <a:gd name="f82" fmla="*/ 0 f75 1"/>
                <a:gd name="f83" fmla="+- f77 0 f1"/>
                <a:gd name="f84" fmla="*/ f80 1 86"/>
                <a:gd name="f85" fmla="*/ f81 1 80"/>
                <a:gd name="f86" fmla="*/ f82 1 80"/>
                <a:gd name="f87" fmla="*/ 0 1 f78"/>
                <a:gd name="f88" fmla="*/ f72 1 f78"/>
                <a:gd name="f89" fmla="*/ 0 1 f79"/>
                <a:gd name="f90" fmla="*/ f73 1 f79"/>
                <a:gd name="f91" fmla="*/ f84 1 f78"/>
                <a:gd name="f92" fmla="*/ f85 1 f79"/>
                <a:gd name="f93" fmla="*/ f86 1 f79"/>
                <a:gd name="f94" fmla="*/ f87 f69 1"/>
                <a:gd name="f95" fmla="*/ f88 f69 1"/>
                <a:gd name="f96" fmla="*/ f90 f70 1"/>
                <a:gd name="f97" fmla="*/ f89 f70 1"/>
                <a:gd name="f98" fmla="*/ f91 f69 1"/>
                <a:gd name="f99" fmla="*/ f92 f70 1"/>
                <a:gd name="f100" fmla="*/ f93 f7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3">
                  <a:pos x="f98" y="f99"/>
                </a:cxn>
                <a:cxn ang="f83">
                  <a:pos x="f98" y="f100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  <a:cxn ang="f83">
                  <a:pos x="f98" y="f99"/>
                </a:cxn>
              </a:cxnLst>
              <a:rect l="f94" t="f97" r="f95" b="f96"/>
              <a:pathLst>
                <a:path w="86" h="80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5"/>
                  </a:lnTo>
                  <a:lnTo>
                    <a:pt x="f5" y="f15"/>
                  </a:lnTo>
                  <a:lnTo>
                    <a:pt x="f16" y="f17"/>
                  </a:lnTo>
                  <a:lnTo>
                    <a:pt x="f15" y="f18"/>
                  </a:lnTo>
                  <a:lnTo>
                    <a:pt x="f14" y="f19"/>
                  </a:lnTo>
                  <a:lnTo>
                    <a:pt x="f20" y="f21"/>
                  </a:lnTo>
                  <a:lnTo>
                    <a:pt x="f13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18" y="f27"/>
                  </a:lnTo>
                  <a:lnTo>
                    <a:pt x="f28" y="f27"/>
                  </a:lnTo>
                  <a:lnTo>
                    <a:pt x="f19" y="f27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8" y="f33"/>
                  </a:lnTo>
                  <a:lnTo>
                    <a:pt x="f19" y="f34"/>
                  </a:lnTo>
                  <a:lnTo>
                    <a:pt x="f29" y="f34"/>
                  </a:lnTo>
                  <a:lnTo>
                    <a:pt x="f35" y="f34"/>
                  </a:lnTo>
                  <a:lnTo>
                    <a:pt x="f24" y="f36"/>
                  </a:lnTo>
                  <a:lnTo>
                    <a:pt x="f26" y="f36"/>
                  </a:lnTo>
                  <a:lnTo>
                    <a:pt x="f27" y="f34"/>
                  </a:lnTo>
                  <a:lnTo>
                    <a:pt x="f27" y="f37"/>
                  </a:lnTo>
                  <a:lnTo>
                    <a:pt x="f38" y="f39"/>
                  </a:lnTo>
                  <a:lnTo>
                    <a:pt x="f24" y="f40"/>
                  </a:lnTo>
                  <a:lnTo>
                    <a:pt x="f24" y="f41"/>
                  </a:lnTo>
                  <a:lnTo>
                    <a:pt x="f30" y="f7"/>
                  </a:lnTo>
                  <a:lnTo>
                    <a:pt x="f34" y="f42"/>
                  </a:lnTo>
                  <a:lnTo>
                    <a:pt x="f43" y="f44"/>
                  </a:lnTo>
                  <a:lnTo>
                    <a:pt x="f44" y="f45"/>
                  </a:lnTo>
                  <a:lnTo>
                    <a:pt x="f46" y="f43"/>
                  </a:lnTo>
                  <a:lnTo>
                    <a:pt x="f47" y="f48"/>
                  </a:lnTo>
                  <a:lnTo>
                    <a:pt x="f44" y="f49"/>
                  </a:lnTo>
                  <a:lnTo>
                    <a:pt x="f44" y="f34"/>
                  </a:lnTo>
                  <a:lnTo>
                    <a:pt x="f47" y="f34"/>
                  </a:lnTo>
                  <a:lnTo>
                    <a:pt x="f41" y="f50"/>
                  </a:lnTo>
                  <a:lnTo>
                    <a:pt x="f51" y="f37"/>
                  </a:lnTo>
                  <a:lnTo>
                    <a:pt x="f6" y="f49"/>
                  </a:lnTo>
                  <a:lnTo>
                    <a:pt x="f52" y="f53"/>
                  </a:lnTo>
                  <a:lnTo>
                    <a:pt x="f42" y="f27"/>
                  </a:lnTo>
                  <a:lnTo>
                    <a:pt x="f44" y="f54"/>
                  </a:lnTo>
                  <a:lnTo>
                    <a:pt x="f55" y="f56"/>
                  </a:lnTo>
                  <a:lnTo>
                    <a:pt x="f44" y="f35"/>
                  </a:lnTo>
                  <a:lnTo>
                    <a:pt x="f46" y="f19"/>
                  </a:lnTo>
                  <a:lnTo>
                    <a:pt x="f42" y="f18"/>
                  </a:lnTo>
                  <a:lnTo>
                    <a:pt x="f46" y="f17"/>
                  </a:lnTo>
                  <a:lnTo>
                    <a:pt x="f55" y="f57"/>
                  </a:lnTo>
                  <a:lnTo>
                    <a:pt x="f39" y="f23"/>
                  </a:lnTo>
                  <a:lnTo>
                    <a:pt x="f43" y="f12"/>
                  </a:lnTo>
                  <a:lnTo>
                    <a:pt x="f58" y="f11"/>
                  </a:lnTo>
                  <a:lnTo>
                    <a:pt x="f59" y="f25"/>
                  </a:lnTo>
                  <a:lnTo>
                    <a:pt x="f60" y="f23"/>
                  </a:lnTo>
                  <a:lnTo>
                    <a:pt x="f53" y="f14"/>
                  </a:lnTo>
                  <a:lnTo>
                    <a:pt x="f32" y="f15"/>
                  </a:lnTo>
                  <a:lnTo>
                    <a:pt x="f61" y="f14"/>
                  </a:lnTo>
                  <a:lnTo>
                    <a:pt x="f61" y="f57"/>
                  </a:lnTo>
                  <a:lnTo>
                    <a:pt x="f32" y="f25"/>
                  </a:lnTo>
                  <a:lnTo>
                    <a:pt x="f62" y="f63"/>
                  </a:lnTo>
                  <a:lnTo>
                    <a:pt x="f32" y="f9"/>
                  </a:lnTo>
                  <a:lnTo>
                    <a:pt x="f30" y="f18"/>
                  </a:lnTo>
                  <a:lnTo>
                    <a:pt x="f54" y="f25"/>
                  </a:lnTo>
                  <a:lnTo>
                    <a:pt x="f64" y="f17"/>
                  </a:lnTo>
                  <a:lnTo>
                    <a:pt x="f65" y="f25"/>
                  </a:lnTo>
                  <a:lnTo>
                    <a:pt x="f66" y="f18"/>
                  </a:lnTo>
                  <a:lnTo>
                    <a:pt x="f67" y="f9"/>
                  </a:lnTo>
                  <a:lnTo>
                    <a:pt x="f19" y="f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2" name="Freeform 436">
              <a:extLst>
                <a:ext uri="{FF2B5EF4-FFF2-40B4-BE49-F238E27FC236}">
                  <a16:creationId xmlns:a16="http://schemas.microsoft.com/office/drawing/2014/main" id="{158BBD92-F786-E898-6DEE-04A70BD41814}"/>
                </a:ext>
              </a:extLst>
            </p:cNvPr>
            <p:cNvSpPr/>
            <p:nvPr/>
          </p:nvSpPr>
          <p:spPr>
            <a:xfrm>
              <a:off x="3188364" y="1778479"/>
              <a:ext cx="37572" cy="451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46"/>
                <a:gd name="f8" fmla="val 14"/>
                <a:gd name="f9" fmla="val 4"/>
                <a:gd name="f10" fmla="val 5"/>
                <a:gd name="f11" fmla="val 13"/>
                <a:gd name="f12" fmla="val 7"/>
                <a:gd name="f13" fmla="val 11"/>
                <a:gd name="f14" fmla="val 12"/>
                <a:gd name="f15" fmla="val 15"/>
                <a:gd name="f16" fmla="val 18"/>
                <a:gd name="f17" fmla="val 1"/>
                <a:gd name="f18" fmla="val 23"/>
                <a:gd name="f19" fmla="val 28"/>
                <a:gd name="f20" fmla="val 3"/>
                <a:gd name="f21" fmla="val 31"/>
                <a:gd name="f22" fmla="val 35"/>
                <a:gd name="f23" fmla="val 37"/>
                <a:gd name="f24" fmla="val 16"/>
                <a:gd name="f25" fmla="val 40"/>
                <a:gd name="f26" fmla="val 19"/>
                <a:gd name="f27" fmla="val 44"/>
                <a:gd name="f28" fmla="val 22"/>
                <a:gd name="f29" fmla="val 27"/>
                <a:gd name="f30" fmla="val 29"/>
                <a:gd name="f31" fmla="val 33"/>
                <a:gd name="f32" fmla="val 24"/>
                <a:gd name="f33" fmla="val 30"/>
                <a:gd name="f34" fmla="val 20"/>
                <a:gd name="f35" fmla="val 9"/>
                <a:gd name="f36" fmla="val 21"/>
                <a:gd name="f37" fmla="+- 0 0 -90"/>
                <a:gd name="f38" fmla="*/ f3 1 34"/>
                <a:gd name="f39" fmla="*/ f4 1 46"/>
                <a:gd name="f40" fmla="val f5"/>
                <a:gd name="f41" fmla="val f6"/>
                <a:gd name="f42" fmla="val f7"/>
                <a:gd name="f43" fmla="*/ f37 f0 1"/>
                <a:gd name="f44" fmla="+- f42 0 f40"/>
                <a:gd name="f45" fmla="+- f41 0 f40"/>
                <a:gd name="f46" fmla="*/ f43 1 f2"/>
                <a:gd name="f47" fmla="*/ f45 1 34"/>
                <a:gd name="f48" fmla="*/ f44 1 46"/>
                <a:gd name="f49" fmla="*/ 2147483646 f45 1"/>
                <a:gd name="f50" fmla="*/ 2147483646 f44 1"/>
                <a:gd name="f51" fmla="*/ 0 f45 1"/>
                <a:gd name="f52" fmla="*/ 0 f44 1"/>
                <a:gd name="f53" fmla="+- f46 0 f1"/>
                <a:gd name="f54" fmla="*/ f49 1 34"/>
                <a:gd name="f55" fmla="*/ f50 1 46"/>
                <a:gd name="f56" fmla="*/ f51 1 34"/>
                <a:gd name="f57" fmla="*/ f52 1 46"/>
                <a:gd name="f58" fmla="*/ 0 1 f47"/>
                <a:gd name="f59" fmla="*/ f41 1 f47"/>
                <a:gd name="f60" fmla="*/ 0 1 f48"/>
                <a:gd name="f61" fmla="*/ f42 1 f48"/>
                <a:gd name="f62" fmla="*/ f54 1 f47"/>
                <a:gd name="f63" fmla="*/ f55 1 f48"/>
                <a:gd name="f64" fmla="*/ f56 1 f47"/>
                <a:gd name="f65" fmla="*/ f57 1 f48"/>
                <a:gd name="f66" fmla="*/ f58 f38 1"/>
                <a:gd name="f67" fmla="*/ f59 f38 1"/>
                <a:gd name="f68" fmla="*/ f61 f39 1"/>
                <a:gd name="f69" fmla="*/ f60 f39 1"/>
                <a:gd name="f70" fmla="*/ f62 f38 1"/>
                <a:gd name="f71" fmla="*/ f63 f39 1"/>
                <a:gd name="f72" fmla="*/ f64 f38 1"/>
                <a:gd name="f73" fmla="*/ f65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2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3"/>
                </a:cxn>
                <a:cxn ang="f53">
                  <a:pos x="f70" y="f73"/>
                </a:cxn>
                <a:cxn ang="f53">
                  <a:pos x="f70" y="f73"/>
                </a:cxn>
                <a:cxn ang="f53">
                  <a:pos x="f70" y="f71"/>
                </a:cxn>
                <a:cxn ang="f53">
                  <a:pos x="f70" y="f71"/>
                </a:cxn>
              </a:cxnLst>
              <a:rect l="f66" t="f69" r="f67" b="f68"/>
              <a:pathLst>
                <a:path w="34" h="46">
                  <a:moveTo>
                    <a:pt x="f8" y="f9"/>
                  </a:moveTo>
                  <a:lnTo>
                    <a:pt x="f8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2" y="f15"/>
                  </a:lnTo>
                  <a:lnTo>
                    <a:pt x="f9" y="f16"/>
                  </a:lnTo>
                  <a:lnTo>
                    <a:pt x="f17" y="f18"/>
                  </a:lnTo>
                  <a:lnTo>
                    <a:pt x="f5" y="f19"/>
                  </a:lnTo>
                  <a:lnTo>
                    <a:pt x="f20" y="f21"/>
                  </a:lnTo>
                  <a:lnTo>
                    <a:pt x="f12" y="f22"/>
                  </a:lnTo>
                  <a:lnTo>
                    <a:pt x="f14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7"/>
                  </a:lnTo>
                  <a:lnTo>
                    <a:pt x="f29" y="f27"/>
                  </a:lnTo>
                  <a:lnTo>
                    <a:pt x="f21" y="f25"/>
                  </a:lnTo>
                  <a:lnTo>
                    <a:pt x="f6" y="f22"/>
                  </a:lnTo>
                  <a:lnTo>
                    <a:pt x="f6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3" y="f15"/>
                  </a:lnTo>
                  <a:lnTo>
                    <a:pt x="f30" y="f35"/>
                  </a:lnTo>
                  <a:lnTo>
                    <a:pt x="f29" y="f10"/>
                  </a:lnTo>
                  <a:lnTo>
                    <a:pt x="f18" y="f17"/>
                  </a:lnTo>
                  <a:lnTo>
                    <a:pt x="f28" y="f5"/>
                  </a:lnTo>
                  <a:lnTo>
                    <a:pt x="f36" y="f5"/>
                  </a:lnTo>
                  <a:lnTo>
                    <a:pt x="f26" y="f5"/>
                  </a:lnTo>
                  <a:lnTo>
                    <a:pt x="f24" y="f1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3" name="Freeform 437">
              <a:extLst>
                <a:ext uri="{FF2B5EF4-FFF2-40B4-BE49-F238E27FC236}">
                  <a16:creationId xmlns:a16="http://schemas.microsoft.com/office/drawing/2014/main" id="{3DCDD988-8110-4201-FF35-060BFA7524C5}"/>
                </a:ext>
              </a:extLst>
            </p:cNvPr>
            <p:cNvSpPr/>
            <p:nvPr/>
          </p:nvSpPr>
          <p:spPr>
            <a:xfrm>
              <a:off x="3178571" y="1716209"/>
              <a:ext cx="222180" cy="10119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02"/>
                <a:gd name="f7" fmla="val 100"/>
                <a:gd name="f8" fmla="val 166"/>
                <a:gd name="f9" fmla="val 28"/>
                <a:gd name="f10" fmla="val 169"/>
                <a:gd name="f11" fmla="val 29"/>
                <a:gd name="f12" fmla="val 176"/>
                <a:gd name="f13" fmla="val 30"/>
                <a:gd name="f14" fmla="val 184"/>
                <a:gd name="f15" fmla="val 33"/>
                <a:gd name="f16" fmla="val 191"/>
                <a:gd name="f17" fmla="val 37"/>
                <a:gd name="f18" fmla="val 196"/>
                <a:gd name="f19" fmla="val 41"/>
                <a:gd name="f20" fmla="val 198"/>
                <a:gd name="f21" fmla="val 46"/>
                <a:gd name="f22" fmla="val 201"/>
                <a:gd name="f23" fmla="val 52"/>
                <a:gd name="f24" fmla="val 60"/>
                <a:gd name="f25" fmla="val 67"/>
                <a:gd name="f26" fmla="val 69"/>
                <a:gd name="f27" fmla="val 73"/>
                <a:gd name="f28" fmla="val 76"/>
                <a:gd name="f29" fmla="val 190"/>
                <a:gd name="f30" fmla="val 81"/>
                <a:gd name="f31" fmla="val 186"/>
                <a:gd name="f32" fmla="val 84"/>
                <a:gd name="f33" fmla="val 85"/>
                <a:gd name="f34" fmla="val 172"/>
                <a:gd name="f35" fmla="val 163"/>
                <a:gd name="f36" fmla="val 83"/>
                <a:gd name="f37" fmla="val 160"/>
                <a:gd name="f38" fmla="val 156"/>
                <a:gd name="f39" fmla="val 88"/>
                <a:gd name="f40" fmla="val 152"/>
                <a:gd name="f41" fmla="val 90"/>
                <a:gd name="f42" fmla="val 148"/>
                <a:gd name="f43" fmla="val 91"/>
                <a:gd name="f44" fmla="val 142"/>
                <a:gd name="f45" fmla="val 92"/>
                <a:gd name="f46" fmla="val 136"/>
                <a:gd name="f47" fmla="val 130"/>
                <a:gd name="f48" fmla="val 93"/>
                <a:gd name="f49" fmla="val 125"/>
                <a:gd name="f50" fmla="val 120"/>
                <a:gd name="f51" fmla="val 94"/>
                <a:gd name="f52" fmla="val 116"/>
                <a:gd name="f53" fmla="val 96"/>
                <a:gd name="f54" fmla="val 111"/>
                <a:gd name="f55" fmla="val 98"/>
                <a:gd name="f56" fmla="val 106"/>
                <a:gd name="f57" fmla="val 99"/>
                <a:gd name="f58" fmla="val 77"/>
                <a:gd name="f59" fmla="val 97"/>
                <a:gd name="f60" fmla="val 68"/>
                <a:gd name="f61" fmla="val 63"/>
                <a:gd name="f62" fmla="val 58"/>
                <a:gd name="f63" fmla="val 53"/>
                <a:gd name="f64" fmla="val 79"/>
                <a:gd name="f65" fmla="val 71"/>
                <a:gd name="f66" fmla="val 61"/>
                <a:gd name="f67" fmla="val 54"/>
                <a:gd name="f68" fmla="val 48"/>
                <a:gd name="f69" fmla="val 51"/>
                <a:gd name="f70" fmla="val 44"/>
                <a:gd name="f71" fmla="val 49"/>
                <a:gd name="f72" fmla="val 39"/>
                <a:gd name="f73" fmla="val 35"/>
                <a:gd name="f74" fmla="val 42"/>
                <a:gd name="f75" fmla="val 32"/>
                <a:gd name="f76" fmla="val 36"/>
                <a:gd name="f77" fmla="val 24"/>
                <a:gd name="f78" fmla="val 20"/>
                <a:gd name="f79" fmla="val 31"/>
                <a:gd name="f80" fmla="val 12"/>
                <a:gd name="f81" fmla="val 25"/>
                <a:gd name="f82" fmla="val 5"/>
                <a:gd name="f83" fmla="val 22"/>
                <a:gd name="f84" fmla="val 16"/>
                <a:gd name="f85" fmla="val 1"/>
                <a:gd name="f86" fmla="val 9"/>
                <a:gd name="f87" fmla="val 7"/>
                <a:gd name="f88" fmla="val 3"/>
                <a:gd name="f89" fmla="val 13"/>
                <a:gd name="f90" fmla="val 19"/>
                <a:gd name="f91" fmla="val 6"/>
                <a:gd name="f92" fmla="val 34"/>
                <a:gd name="f93" fmla="val 17"/>
                <a:gd name="f94" fmla="val 43"/>
                <a:gd name="f95" fmla="val 21"/>
                <a:gd name="f96" fmla="val 59"/>
                <a:gd name="f97" fmla="val 70"/>
                <a:gd name="f98" fmla="val 80"/>
                <a:gd name="f99" fmla="val 50"/>
                <a:gd name="f100" fmla="val 119"/>
                <a:gd name="f101" fmla="val 123"/>
                <a:gd name="f102" fmla="val 128"/>
                <a:gd name="f103" fmla="val 133"/>
                <a:gd name="f104" fmla="val 138"/>
                <a:gd name="f105" fmla="val 143"/>
                <a:gd name="f106" fmla="val 149"/>
                <a:gd name="f107" fmla="val 154"/>
                <a:gd name="f108" fmla="+- 0 0 -90"/>
                <a:gd name="f109" fmla="*/ f3 1 202"/>
                <a:gd name="f110" fmla="*/ f4 1 100"/>
                <a:gd name="f111" fmla="val f5"/>
                <a:gd name="f112" fmla="val f6"/>
                <a:gd name="f113" fmla="val f7"/>
                <a:gd name="f114" fmla="*/ f108 f0 1"/>
                <a:gd name="f115" fmla="+- f113 0 f111"/>
                <a:gd name="f116" fmla="+- f112 0 f111"/>
                <a:gd name="f117" fmla="*/ f114 1 f2"/>
                <a:gd name="f118" fmla="*/ f116 1 202"/>
                <a:gd name="f119" fmla="*/ f115 1 100"/>
                <a:gd name="f120" fmla="*/ 2147483646 f116 1"/>
                <a:gd name="f121" fmla="*/ 2147483646 f115 1"/>
                <a:gd name="f122" fmla="*/ 0 f116 1"/>
                <a:gd name="f123" fmla="*/ 0 f115 1"/>
                <a:gd name="f124" fmla="+- f117 0 f1"/>
                <a:gd name="f125" fmla="*/ f120 1 202"/>
                <a:gd name="f126" fmla="*/ f121 1 100"/>
                <a:gd name="f127" fmla="*/ f122 1 202"/>
                <a:gd name="f128" fmla="*/ f123 1 100"/>
                <a:gd name="f129" fmla="*/ 0 1 f118"/>
                <a:gd name="f130" fmla="*/ f112 1 f118"/>
                <a:gd name="f131" fmla="*/ 0 1 f119"/>
                <a:gd name="f132" fmla="*/ f113 1 f119"/>
                <a:gd name="f133" fmla="*/ f125 1 f118"/>
                <a:gd name="f134" fmla="*/ f126 1 f119"/>
                <a:gd name="f135" fmla="*/ f127 1 f118"/>
                <a:gd name="f136" fmla="*/ f128 1 f119"/>
                <a:gd name="f137" fmla="*/ f129 f109 1"/>
                <a:gd name="f138" fmla="*/ f130 f109 1"/>
                <a:gd name="f139" fmla="*/ f132 f110 1"/>
                <a:gd name="f140" fmla="*/ f131 f110 1"/>
                <a:gd name="f141" fmla="*/ f133 f109 1"/>
                <a:gd name="f142" fmla="*/ f134 f110 1"/>
                <a:gd name="f143" fmla="*/ f135 f109 1"/>
                <a:gd name="f144" fmla="*/ f136 f1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3" y="f142"/>
                </a:cxn>
                <a:cxn ang="f124">
                  <a:pos x="f141" y="f142"/>
                </a:cxn>
                <a:cxn ang="f124">
                  <a:pos x="f141" y="f144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  <a:cxn ang="f124">
                  <a:pos x="f141" y="f142"/>
                </a:cxn>
              </a:cxnLst>
              <a:rect l="f137" t="f140" r="f138" b="f139"/>
              <a:pathLst>
                <a:path w="202" h="100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2" y="f24"/>
                  </a:lnTo>
                  <a:lnTo>
                    <a:pt x="f22" y="f25"/>
                  </a:lnTo>
                  <a:lnTo>
                    <a:pt x="f6" y="f26"/>
                  </a:lnTo>
                  <a:lnTo>
                    <a:pt x="f22" y="f27"/>
                  </a:lnTo>
                  <a:lnTo>
                    <a:pt x="f18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2" y="f33"/>
                  </a:lnTo>
                  <a:lnTo>
                    <a:pt x="f34" y="f33"/>
                  </a:lnTo>
                  <a:lnTo>
                    <a:pt x="f8" y="f32"/>
                  </a:lnTo>
                  <a:lnTo>
                    <a:pt x="f35" y="f36"/>
                  </a:lnTo>
                  <a:lnTo>
                    <a:pt x="f37" y="f32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5"/>
                  </a:lnTo>
                  <a:lnTo>
                    <a:pt x="f47" y="f48"/>
                  </a:lnTo>
                  <a:lnTo>
                    <a:pt x="f49" y="f48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7" y="f7"/>
                  </a:lnTo>
                  <a:lnTo>
                    <a:pt x="f45" y="f7"/>
                  </a:lnTo>
                  <a:lnTo>
                    <a:pt x="f32" y="f57"/>
                  </a:lnTo>
                  <a:lnTo>
                    <a:pt x="f58" y="f57"/>
                  </a:lnTo>
                  <a:lnTo>
                    <a:pt x="f27" y="f59"/>
                  </a:lnTo>
                  <a:lnTo>
                    <a:pt x="f60" y="f48"/>
                  </a:lnTo>
                  <a:lnTo>
                    <a:pt x="f61" y="f41"/>
                  </a:lnTo>
                  <a:lnTo>
                    <a:pt x="f62" y="f33"/>
                  </a:lnTo>
                  <a:lnTo>
                    <a:pt x="f63" y="f64"/>
                  </a:lnTo>
                  <a:lnTo>
                    <a:pt x="f23" y="f65"/>
                  </a:lnTo>
                  <a:lnTo>
                    <a:pt x="f63" y="f66"/>
                  </a:lnTo>
                  <a:lnTo>
                    <a:pt x="f63" y="f67"/>
                  </a:lnTo>
                  <a:lnTo>
                    <a:pt x="f63" y="f68"/>
                  </a:lnTo>
                  <a:lnTo>
                    <a:pt x="f69" y="f70"/>
                  </a:lnTo>
                  <a:lnTo>
                    <a:pt x="f71" y="f72"/>
                  </a:lnTo>
                  <a:lnTo>
                    <a:pt x="f21" y="f73"/>
                  </a:lnTo>
                  <a:lnTo>
                    <a:pt x="f74" y="f75"/>
                  </a:lnTo>
                  <a:lnTo>
                    <a:pt x="f76" y="f75"/>
                  </a:lnTo>
                  <a:lnTo>
                    <a:pt x="f13" y="f15"/>
                  </a:lnTo>
                  <a:lnTo>
                    <a:pt x="f9" y="f73"/>
                  </a:lnTo>
                  <a:lnTo>
                    <a:pt x="f77" y="f73"/>
                  </a:lnTo>
                  <a:lnTo>
                    <a:pt x="f78" y="f79"/>
                  </a:lnTo>
                  <a:lnTo>
                    <a:pt x="f80" y="f81"/>
                  </a:lnTo>
                  <a:lnTo>
                    <a:pt x="f82" y="f83"/>
                  </a:lnTo>
                  <a:lnTo>
                    <a:pt x="f5" y="f84"/>
                  </a:lnTo>
                  <a:lnTo>
                    <a:pt x="f85" y="f86"/>
                  </a:lnTo>
                  <a:lnTo>
                    <a:pt x="f87" y="f88"/>
                  </a:lnTo>
                  <a:lnTo>
                    <a:pt x="f89" y="f5"/>
                  </a:lnTo>
                  <a:lnTo>
                    <a:pt x="f90" y="f5"/>
                  </a:lnTo>
                  <a:lnTo>
                    <a:pt x="f77" y="f85"/>
                  </a:lnTo>
                  <a:lnTo>
                    <a:pt x="f13" y="f91"/>
                  </a:lnTo>
                  <a:lnTo>
                    <a:pt x="f92" y="f80"/>
                  </a:lnTo>
                  <a:lnTo>
                    <a:pt x="f17" y="f93"/>
                  </a:lnTo>
                  <a:lnTo>
                    <a:pt x="f94" y="f95"/>
                  </a:lnTo>
                  <a:lnTo>
                    <a:pt x="f71" y="f78"/>
                  </a:lnTo>
                  <a:lnTo>
                    <a:pt x="f23" y="f84"/>
                  </a:lnTo>
                  <a:lnTo>
                    <a:pt x="f67" y="f89"/>
                  </a:lnTo>
                  <a:lnTo>
                    <a:pt x="f96" y="f80"/>
                  </a:lnTo>
                  <a:lnTo>
                    <a:pt x="f61" y="f89"/>
                  </a:lnTo>
                  <a:lnTo>
                    <a:pt x="f25" y="f89"/>
                  </a:lnTo>
                  <a:lnTo>
                    <a:pt x="f26" y="f84"/>
                  </a:lnTo>
                  <a:lnTo>
                    <a:pt x="f97" y="f95"/>
                  </a:lnTo>
                  <a:lnTo>
                    <a:pt x="f27" y="f11"/>
                  </a:lnTo>
                  <a:lnTo>
                    <a:pt x="f98" y="f76"/>
                  </a:lnTo>
                  <a:lnTo>
                    <a:pt x="f33" y="f94"/>
                  </a:lnTo>
                  <a:lnTo>
                    <a:pt x="f39" y="f99"/>
                  </a:lnTo>
                  <a:lnTo>
                    <a:pt x="f43" y="f63"/>
                  </a:lnTo>
                  <a:lnTo>
                    <a:pt x="f7" y="f23"/>
                  </a:lnTo>
                  <a:lnTo>
                    <a:pt x="f54" y="f69"/>
                  </a:lnTo>
                  <a:lnTo>
                    <a:pt x="f100" y="f23"/>
                  </a:lnTo>
                  <a:lnTo>
                    <a:pt x="f101" y="f63"/>
                  </a:lnTo>
                  <a:lnTo>
                    <a:pt x="f102" y="f69"/>
                  </a:lnTo>
                  <a:lnTo>
                    <a:pt x="f103" y="f21"/>
                  </a:lnTo>
                  <a:lnTo>
                    <a:pt x="f104" y="f19"/>
                  </a:lnTo>
                  <a:lnTo>
                    <a:pt x="f105" y="f17"/>
                  </a:lnTo>
                  <a:lnTo>
                    <a:pt x="f106" y="f75"/>
                  </a:lnTo>
                  <a:lnTo>
                    <a:pt x="f107" y="f1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4" name="Freeform 443">
              <a:extLst>
                <a:ext uri="{FF2B5EF4-FFF2-40B4-BE49-F238E27FC236}">
                  <a16:creationId xmlns:a16="http://schemas.microsoft.com/office/drawing/2014/main" id="{B8EA6A1F-BB7C-44DF-036B-4D9970F4D45A}"/>
                </a:ext>
              </a:extLst>
            </p:cNvPr>
            <p:cNvSpPr/>
            <p:nvPr/>
          </p:nvSpPr>
          <p:spPr>
            <a:xfrm>
              <a:off x="2845290" y="1854768"/>
              <a:ext cx="277730" cy="23041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9"/>
                <a:gd name="f7" fmla="val 231"/>
                <a:gd name="f8" fmla="val 239"/>
                <a:gd name="f9" fmla="val 162"/>
                <a:gd name="f10" fmla="val 241"/>
                <a:gd name="f11" fmla="val 164"/>
                <a:gd name="f12" fmla="val 246"/>
                <a:gd name="f13" fmla="val 168"/>
                <a:gd name="f14" fmla="val 175"/>
                <a:gd name="f15" fmla="val 248"/>
                <a:gd name="f16" fmla="val 182"/>
                <a:gd name="f17" fmla="val 244"/>
                <a:gd name="f18" fmla="val 187"/>
                <a:gd name="f19" fmla="val 188"/>
                <a:gd name="f20" fmla="val 236"/>
                <a:gd name="f21" fmla="val 232"/>
                <a:gd name="f22" fmla="val 229"/>
                <a:gd name="f23" fmla="val 226"/>
                <a:gd name="f24" fmla="val 189"/>
                <a:gd name="f25" fmla="val 228"/>
                <a:gd name="f26" fmla="val 195"/>
                <a:gd name="f27" fmla="val 230"/>
                <a:gd name="f28" fmla="val 204"/>
                <a:gd name="f29" fmla="val 213"/>
                <a:gd name="f30" fmla="val 220"/>
                <a:gd name="f31" fmla="val 224"/>
                <a:gd name="f32" fmla="val 225"/>
                <a:gd name="f33" fmla="val 216"/>
                <a:gd name="f34" fmla="val 227"/>
                <a:gd name="f35" fmla="val 211"/>
                <a:gd name="f36" fmla="val 205"/>
                <a:gd name="f37" fmla="val 190"/>
                <a:gd name="f38" fmla="val 184"/>
                <a:gd name="f39" fmla="val 215"/>
                <a:gd name="f40" fmla="val 178"/>
                <a:gd name="f41" fmla="val 210"/>
                <a:gd name="f42" fmla="val 173"/>
                <a:gd name="f43" fmla="val 170"/>
                <a:gd name="f44" fmla="val 202"/>
                <a:gd name="f45" fmla="val 165"/>
                <a:gd name="f46" fmla="val 198"/>
                <a:gd name="f47" fmla="val 163"/>
                <a:gd name="f48" fmla="val 196"/>
                <a:gd name="f49" fmla="val 161"/>
                <a:gd name="f50" fmla="val 158"/>
                <a:gd name="f51" fmla="val 194"/>
                <a:gd name="f52" fmla="val 157"/>
                <a:gd name="f53" fmla="val 154"/>
                <a:gd name="f54" fmla="val 146"/>
                <a:gd name="f55" fmla="val 140"/>
                <a:gd name="f56" fmla="val 206"/>
                <a:gd name="f57" fmla="val 132"/>
                <a:gd name="f58" fmla="val 123"/>
                <a:gd name="f59" fmla="val 114"/>
                <a:gd name="f60" fmla="val 104"/>
                <a:gd name="f61" fmla="val 219"/>
                <a:gd name="f62" fmla="val 95"/>
                <a:gd name="f63" fmla="val 89"/>
                <a:gd name="f64" fmla="val 221"/>
                <a:gd name="f65" fmla="val 85"/>
                <a:gd name="f66" fmla="val 223"/>
                <a:gd name="f67" fmla="val 81"/>
                <a:gd name="f68" fmla="val 78"/>
                <a:gd name="f69" fmla="val 73"/>
                <a:gd name="f70" fmla="val 67"/>
                <a:gd name="f71" fmla="val 62"/>
                <a:gd name="f72" fmla="val 218"/>
                <a:gd name="f73" fmla="val 57"/>
                <a:gd name="f74" fmla="val 52"/>
                <a:gd name="f75" fmla="val 49"/>
                <a:gd name="f76" fmla="val 46"/>
                <a:gd name="f77" fmla="val 44"/>
                <a:gd name="f78" fmla="val 43"/>
                <a:gd name="f79" fmla="val 197"/>
                <a:gd name="f80" fmla="val 40"/>
                <a:gd name="f81" fmla="val 33"/>
                <a:gd name="f82" fmla="val 25"/>
                <a:gd name="f83" fmla="val 16"/>
                <a:gd name="f84" fmla="val 167"/>
                <a:gd name="f85" fmla="val 9"/>
                <a:gd name="f86" fmla="val 3"/>
                <a:gd name="f87" fmla="val 1"/>
                <a:gd name="f88" fmla="val 151"/>
                <a:gd name="f89" fmla="val 143"/>
                <a:gd name="f90" fmla="val 136"/>
                <a:gd name="f91" fmla="val 130"/>
                <a:gd name="f92" fmla="val 5"/>
                <a:gd name="f93" fmla="val 129"/>
                <a:gd name="f94" fmla="val 12"/>
                <a:gd name="f95" fmla="val 20"/>
                <a:gd name="f96" fmla="val 128"/>
                <a:gd name="f97" fmla="val 27"/>
                <a:gd name="f98" fmla="val 36"/>
                <a:gd name="f99" fmla="val 42"/>
                <a:gd name="f100" fmla="val 135"/>
                <a:gd name="f101" fmla="val 138"/>
                <a:gd name="f102" fmla="val 142"/>
                <a:gd name="f103" fmla="val 65"/>
                <a:gd name="f104" fmla="val 147"/>
                <a:gd name="f105" fmla="val 72"/>
                <a:gd name="f106" fmla="val 149"/>
                <a:gd name="f107" fmla="val 79"/>
                <a:gd name="f108" fmla="val 82"/>
                <a:gd name="f109" fmla="val 86"/>
                <a:gd name="f110" fmla="val 141"/>
                <a:gd name="f111" fmla="val 133"/>
                <a:gd name="f112" fmla="val 126"/>
                <a:gd name="f113" fmla="val 69"/>
                <a:gd name="f114" fmla="val 121"/>
                <a:gd name="f115" fmla="val 56"/>
                <a:gd name="f116" fmla="val 118"/>
                <a:gd name="f117" fmla="val 50"/>
                <a:gd name="f118" fmla="val 117"/>
                <a:gd name="f119" fmla="val 35"/>
                <a:gd name="f120" fmla="val 115"/>
                <a:gd name="f121" fmla="val 24"/>
                <a:gd name="f122" fmla="val 17"/>
                <a:gd name="f123" fmla="val 8"/>
                <a:gd name="f124" fmla="val 111"/>
                <a:gd name="f125" fmla="val 2"/>
                <a:gd name="f126" fmla="val 96"/>
                <a:gd name="f127" fmla="val 90"/>
                <a:gd name="f128" fmla="val 4"/>
                <a:gd name="f129" fmla="val 11"/>
                <a:gd name="f130" fmla="val 84"/>
                <a:gd name="f131" fmla="val 28"/>
                <a:gd name="f132" fmla="val 29"/>
                <a:gd name="f133" fmla="val 26"/>
                <a:gd name="f134" fmla="val 23"/>
                <a:gd name="f135" fmla="val 71"/>
                <a:gd name="f136" fmla="val 19"/>
                <a:gd name="f137" fmla="val 68"/>
                <a:gd name="f138" fmla="val 13"/>
                <a:gd name="f139" fmla="val 54"/>
                <a:gd name="f140" fmla="val 39"/>
                <a:gd name="f141" fmla="val 14"/>
                <a:gd name="f142" fmla="val 37"/>
                <a:gd name="f143" fmla="val 21"/>
                <a:gd name="f144" fmla="val 18"/>
                <a:gd name="f145" fmla="val 15"/>
                <a:gd name="f146" fmla="val 51"/>
                <a:gd name="f147" fmla="val 7"/>
                <a:gd name="f148" fmla="val 61"/>
                <a:gd name="f149" fmla="val 88"/>
                <a:gd name="f150" fmla="val 100"/>
                <a:gd name="f151" fmla="val 102"/>
                <a:gd name="f152" fmla="val 34"/>
                <a:gd name="f153" fmla="val 110"/>
                <a:gd name="f154" fmla="val 41"/>
                <a:gd name="f155" fmla="val 124"/>
                <a:gd name="f156" fmla="val 47"/>
                <a:gd name="f157" fmla="val 127"/>
                <a:gd name="f158" fmla="val 45"/>
                <a:gd name="f159" fmla="val 38"/>
                <a:gd name="f160" fmla="val 31"/>
                <a:gd name="f161" fmla="val 125"/>
                <a:gd name="f162" fmla="val 134"/>
                <a:gd name="f163" fmla="val 145"/>
                <a:gd name="f164" fmla="val 58"/>
                <a:gd name="f165" fmla="val 148"/>
                <a:gd name="f166" fmla="val 80"/>
                <a:gd name="f167" fmla="val 152"/>
                <a:gd name="f168" fmla="val 83"/>
                <a:gd name="f169" fmla="val 155"/>
                <a:gd name="f170" fmla="val 75"/>
                <a:gd name="f171" fmla="val 64"/>
                <a:gd name="f172" fmla="val 160"/>
                <a:gd name="f173" fmla="val 156"/>
                <a:gd name="f174" fmla="val 22"/>
                <a:gd name="f175" fmla="val 169"/>
                <a:gd name="f176" fmla="val 179"/>
                <a:gd name="f177" fmla="val 181"/>
                <a:gd name="f178" fmla="val 183"/>
                <a:gd name="f179" fmla="val 172"/>
                <a:gd name="f180" fmla="val 185"/>
                <a:gd name="f181" fmla="val 192"/>
                <a:gd name="f182" fmla="val 203"/>
                <a:gd name="f183" fmla="val 6"/>
                <a:gd name="f184" fmla="val 208"/>
                <a:gd name="f185" fmla="val 207"/>
                <a:gd name="f186" fmla="val 199"/>
                <a:gd name="f187" fmla="val 193"/>
                <a:gd name="f188" fmla="val 60"/>
                <a:gd name="f189" fmla="val 201"/>
                <a:gd name="f190" fmla="val 98"/>
                <a:gd name="f191" fmla="val 105"/>
                <a:gd name="f192" fmla="val 200"/>
                <a:gd name="f193" fmla="val 112"/>
                <a:gd name="f194" fmla="val 122"/>
                <a:gd name="f195" fmla="val 209"/>
                <a:gd name="f196" fmla="val 153"/>
                <a:gd name="f197" fmla="val 237"/>
                <a:gd name="f198" fmla="+- 0 0 -90"/>
                <a:gd name="f199" fmla="*/ f3 1 249"/>
                <a:gd name="f200" fmla="*/ f4 1 231"/>
                <a:gd name="f201" fmla="val f5"/>
                <a:gd name="f202" fmla="val f6"/>
                <a:gd name="f203" fmla="val f7"/>
                <a:gd name="f204" fmla="*/ f198 f0 1"/>
                <a:gd name="f205" fmla="+- f203 0 f201"/>
                <a:gd name="f206" fmla="+- f202 0 f201"/>
                <a:gd name="f207" fmla="*/ f204 1 f2"/>
                <a:gd name="f208" fmla="*/ f206 1 249"/>
                <a:gd name="f209" fmla="*/ f205 1 231"/>
                <a:gd name="f210" fmla="*/ 2147483646 f206 1"/>
                <a:gd name="f211" fmla="*/ 2147483646 f205 1"/>
                <a:gd name="f212" fmla="+- f207 0 f1"/>
                <a:gd name="f213" fmla="*/ f210 1 249"/>
                <a:gd name="f214" fmla="*/ f211 1 231"/>
                <a:gd name="f215" fmla="*/ 0 1 f208"/>
                <a:gd name="f216" fmla="*/ f202 1 f208"/>
                <a:gd name="f217" fmla="*/ 0 1 f209"/>
                <a:gd name="f218" fmla="*/ f203 1 f209"/>
                <a:gd name="f219" fmla="*/ f213 1 f208"/>
                <a:gd name="f220" fmla="*/ f214 1 f209"/>
                <a:gd name="f221" fmla="*/ f215 f199 1"/>
                <a:gd name="f222" fmla="*/ f216 f199 1"/>
                <a:gd name="f223" fmla="*/ f218 f200 1"/>
                <a:gd name="f224" fmla="*/ f217 f200 1"/>
                <a:gd name="f225" fmla="*/ f219 f199 1"/>
                <a:gd name="f226" fmla="*/ f220 f20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  <a:cxn ang="f212">
                  <a:pos x="f225" y="f226"/>
                </a:cxn>
              </a:cxnLst>
              <a:rect l="f221" t="f224" r="f222" b="f223"/>
              <a:pathLst>
                <a:path w="249" h="231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6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8" y="f19"/>
                  </a:lnTo>
                  <a:lnTo>
                    <a:pt x="f20" y="f18"/>
                  </a:lnTo>
                  <a:lnTo>
                    <a:pt x="f21" y="f18"/>
                  </a:lnTo>
                  <a:lnTo>
                    <a:pt x="f22" y="f18"/>
                  </a:lnTo>
                  <a:lnTo>
                    <a:pt x="f23" y="f18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1" y="f29"/>
                  </a:lnTo>
                  <a:lnTo>
                    <a:pt x="f7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27"/>
                  </a:lnTo>
                  <a:lnTo>
                    <a:pt x="f36" y="f7"/>
                  </a:lnTo>
                  <a:lnTo>
                    <a:pt x="f26" y="f32"/>
                  </a:lnTo>
                  <a:lnTo>
                    <a:pt x="f37" y="f30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36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26"/>
                  </a:lnTo>
                  <a:lnTo>
                    <a:pt x="f50" y="f51"/>
                  </a:lnTo>
                  <a:lnTo>
                    <a:pt x="f52" y="f51"/>
                  </a:lnTo>
                  <a:lnTo>
                    <a:pt x="f53" y="f48"/>
                  </a:lnTo>
                  <a:lnTo>
                    <a:pt x="f54" y="f44"/>
                  </a:lnTo>
                  <a:lnTo>
                    <a:pt x="f55" y="f56"/>
                  </a:lnTo>
                  <a:lnTo>
                    <a:pt x="f57" y="f41"/>
                  </a:lnTo>
                  <a:lnTo>
                    <a:pt x="f58" y="f29"/>
                  </a:lnTo>
                  <a:lnTo>
                    <a:pt x="f59" y="f33"/>
                  </a:lnTo>
                  <a:lnTo>
                    <a:pt x="f60" y="f61"/>
                  </a:lnTo>
                  <a:lnTo>
                    <a:pt x="f62" y="f30"/>
                  </a:lnTo>
                  <a:lnTo>
                    <a:pt x="f63" y="f64"/>
                  </a:lnTo>
                  <a:lnTo>
                    <a:pt x="f65" y="f66"/>
                  </a:lnTo>
                  <a:lnTo>
                    <a:pt x="f67" y="f66"/>
                  </a:lnTo>
                  <a:lnTo>
                    <a:pt x="f68" y="f66"/>
                  </a:lnTo>
                  <a:lnTo>
                    <a:pt x="f69" y="f64"/>
                  </a:lnTo>
                  <a:lnTo>
                    <a:pt x="f70" y="f61"/>
                  </a:lnTo>
                  <a:lnTo>
                    <a:pt x="f71" y="f72"/>
                  </a:lnTo>
                  <a:lnTo>
                    <a:pt x="f73" y="f33"/>
                  </a:lnTo>
                  <a:lnTo>
                    <a:pt x="f74" y="f39"/>
                  </a:lnTo>
                  <a:lnTo>
                    <a:pt x="f75" y="f39"/>
                  </a:lnTo>
                  <a:lnTo>
                    <a:pt x="f76" y="f29"/>
                  </a:lnTo>
                  <a:lnTo>
                    <a:pt x="f77" y="f41"/>
                  </a:lnTo>
                  <a:lnTo>
                    <a:pt x="f77" y="f28"/>
                  </a:lnTo>
                  <a:lnTo>
                    <a:pt x="f78" y="f79"/>
                  </a:lnTo>
                  <a:lnTo>
                    <a:pt x="f80" y="f19"/>
                  </a:lnTo>
                  <a:lnTo>
                    <a:pt x="f81" y="f2"/>
                  </a:lnTo>
                  <a:lnTo>
                    <a:pt x="f82" y="f42"/>
                  </a:lnTo>
                  <a:lnTo>
                    <a:pt x="f83" y="f84"/>
                  </a:lnTo>
                  <a:lnTo>
                    <a:pt x="f85" y="f11"/>
                  </a:lnTo>
                  <a:lnTo>
                    <a:pt x="f86" y="f9"/>
                  </a:lnTo>
                  <a:lnTo>
                    <a:pt x="f87" y="f52"/>
                  </a:lnTo>
                  <a:lnTo>
                    <a:pt x="f5" y="f88"/>
                  </a:lnTo>
                  <a:lnTo>
                    <a:pt x="f5" y="f89"/>
                  </a:lnTo>
                  <a:lnTo>
                    <a:pt x="f5" y="f90"/>
                  </a:lnTo>
                  <a:lnTo>
                    <a:pt x="f87" y="f91"/>
                  </a:lnTo>
                  <a:lnTo>
                    <a:pt x="f92" y="f93"/>
                  </a:lnTo>
                  <a:lnTo>
                    <a:pt x="f94" y="f93"/>
                  </a:lnTo>
                  <a:lnTo>
                    <a:pt x="f95" y="f96"/>
                  </a:lnTo>
                  <a:lnTo>
                    <a:pt x="f97" y="f93"/>
                  </a:lnTo>
                  <a:lnTo>
                    <a:pt x="f98" y="f57"/>
                  </a:lnTo>
                  <a:lnTo>
                    <a:pt x="f99" y="f100"/>
                  </a:lnTo>
                  <a:lnTo>
                    <a:pt x="f75" y="f101"/>
                  </a:lnTo>
                  <a:lnTo>
                    <a:pt x="f73" y="f102"/>
                  </a:lnTo>
                  <a:lnTo>
                    <a:pt x="f103" y="f104"/>
                  </a:lnTo>
                  <a:lnTo>
                    <a:pt x="f105" y="f106"/>
                  </a:lnTo>
                  <a:lnTo>
                    <a:pt x="f107" y="f88"/>
                  </a:lnTo>
                  <a:lnTo>
                    <a:pt x="f108" y="f88"/>
                  </a:lnTo>
                  <a:lnTo>
                    <a:pt x="f65" y="f106"/>
                  </a:lnTo>
                  <a:lnTo>
                    <a:pt x="f109" y="f110"/>
                  </a:lnTo>
                  <a:lnTo>
                    <a:pt x="f109" y="f111"/>
                  </a:lnTo>
                  <a:lnTo>
                    <a:pt x="f67" y="f112"/>
                  </a:lnTo>
                  <a:lnTo>
                    <a:pt x="f113" y="f114"/>
                  </a:lnTo>
                  <a:lnTo>
                    <a:pt x="f115" y="f116"/>
                  </a:lnTo>
                  <a:lnTo>
                    <a:pt x="f117" y="f118"/>
                  </a:lnTo>
                  <a:lnTo>
                    <a:pt x="f77" y="f118"/>
                  </a:lnTo>
                  <a:lnTo>
                    <a:pt x="f119" y="f120"/>
                  </a:lnTo>
                  <a:lnTo>
                    <a:pt x="f121" y="f120"/>
                  </a:lnTo>
                  <a:lnTo>
                    <a:pt x="f122" y="f120"/>
                  </a:lnTo>
                  <a:lnTo>
                    <a:pt x="f94" y="f59"/>
                  </a:lnTo>
                  <a:lnTo>
                    <a:pt x="f123" y="f124"/>
                  </a:lnTo>
                  <a:lnTo>
                    <a:pt x="f86" y="f60"/>
                  </a:lnTo>
                  <a:lnTo>
                    <a:pt x="f125" y="f126"/>
                  </a:lnTo>
                  <a:lnTo>
                    <a:pt x="f125" y="f127"/>
                  </a:lnTo>
                  <a:lnTo>
                    <a:pt x="f128" y="f109"/>
                  </a:lnTo>
                  <a:lnTo>
                    <a:pt x="f129" y="f130"/>
                  </a:lnTo>
                  <a:lnTo>
                    <a:pt x="f95" y="f109"/>
                  </a:lnTo>
                  <a:lnTo>
                    <a:pt x="f131" y="f130"/>
                  </a:lnTo>
                  <a:lnTo>
                    <a:pt x="f132" y="f107"/>
                  </a:lnTo>
                  <a:lnTo>
                    <a:pt x="f133" y="f69"/>
                  </a:lnTo>
                  <a:lnTo>
                    <a:pt x="f134" y="f135"/>
                  </a:lnTo>
                  <a:lnTo>
                    <a:pt x="f136" y="f137"/>
                  </a:lnTo>
                  <a:lnTo>
                    <a:pt x="f138" y="f71"/>
                  </a:lnTo>
                  <a:lnTo>
                    <a:pt x="f123" y="f139"/>
                  </a:lnTo>
                  <a:lnTo>
                    <a:pt x="f86" y="f75"/>
                  </a:lnTo>
                  <a:lnTo>
                    <a:pt x="f86" y="f77"/>
                  </a:lnTo>
                  <a:lnTo>
                    <a:pt x="f123" y="f140"/>
                  </a:lnTo>
                  <a:lnTo>
                    <a:pt x="f141" y="f142"/>
                  </a:lnTo>
                  <a:lnTo>
                    <a:pt x="f136" y="f119"/>
                  </a:lnTo>
                  <a:lnTo>
                    <a:pt x="f143" y="f81"/>
                  </a:lnTo>
                  <a:lnTo>
                    <a:pt x="f121" y="f97"/>
                  </a:lnTo>
                  <a:lnTo>
                    <a:pt x="f82" y="f143"/>
                  </a:lnTo>
                  <a:lnTo>
                    <a:pt x="f82" y="f144"/>
                  </a:lnTo>
                  <a:lnTo>
                    <a:pt x="f131" y="f145"/>
                  </a:lnTo>
                  <a:lnTo>
                    <a:pt x="f81" y="f141"/>
                  </a:lnTo>
                  <a:lnTo>
                    <a:pt x="f80" y="f138"/>
                  </a:lnTo>
                  <a:lnTo>
                    <a:pt x="f76" y="f85"/>
                  </a:lnTo>
                  <a:lnTo>
                    <a:pt x="f146" y="f147"/>
                  </a:lnTo>
                  <a:lnTo>
                    <a:pt x="f148" y="f92"/>
                  </a:lnTo>
                  <a:lnTo>
                    <a:pt x="f105" y="f86"/>
                  </a:lnTo>
                  <a:lnTo>
                    <a:pt x="f67" y="f5"/>
                  </a:lnTo>
                  <a:lnTo>
                    <a:pt x="f149" y="f86"/>
                  </a:lnTo>
                  <a:lnTo>
                    <a:pt x="f149" y="f85"/>
                  </a:lnTo>
                  <a:lnTo>
                    <a:pt x="f65" y="f144"/>
                  </a:lnTo>
                  <a:lnTo>
                    <a:pt x="f67" y="f134"/>
                  </a:lnTo>
                  <a:lnTo>
                    <a:pt x="f108" y="f97"/>
                  </a:lnTo>
                  <a:lnTo>
                    <a:pt x="f149" y="f133"/>
                  </a:lnTo>
                  <a:lnTo>
                    <a:pt x="f62" y="f134"/>
                  </a:lnTo>
                  <a:lnTo>
                    <a:pt x="f150" y="f121"/>
                  </a:lnTo>
                  <a:lnTo>
                    <a:pt x="f151" y="f97"/>
                  </a:lnTo>
                  <a:lnTo>
                    <a:pt x="f60" y="f152"/>
                  </a:lnTo>
                  <a:lnTo>
                    <a:pt x="f153" y="f154"/>
                  </a:lnTo>
                  <a:lnTo>
                    <a:pt x="f118" y="f76"/>
                  </a:lnTo>
                  <a:lnTo>
                    <a:pt x="f155" y="f156"/>
                  </a:lnTo>
                  <a:lnTo>
                    <a:pt x="f157" y="f158"/>
                  </a:lnTo>
                  <a:lnTo>
                    <a:pt x="f157" y="f159"/>
                  </a:lnTo>
                  <a:lnTo>
                    <a:pt x="f112" y="f160"/>
                  </a:lnTo>
                  <a:lnTo>
                    <a:pt x="f161" y="f97"/>
                  </a:lnTo>
                  <a:lnTo>
                    <a:pt x="f93" y="f97"/>
                  </a:lnTo>
                  <a:lnTo>
                    <a:pt x="f162" y="f81"/>
                  </a:lnTo>
                  <a:lnTo>
                    <a:pt x="f55" y="f140"/>
                  </a:lnTo>
                  <a:lnTo>
                    <a:pt x="f163" y="f156"/>
                  </a:lnTo>
                  <a:lnTo>
                    <a:pt x="f54" y="f164"/>
                  </a:lnTo>
                  <a:lnTo>
                    <a:pt x="f104" y="f113"/>
                  </a:lnTo>
                  <a:lnTo>
                    <a:pt x="f165" y="f166"/>
                  </a:lnTo>
                  <a:lnTo>
                    <a:pt x="f167" y="f168"/>
                  </a:lnTo>
                  <a:lnTo>
                    <a:pt x="f169" y="f170"/>
                  </a:lnTo>
                  <a:lnTo>
                    <a:pt x="f50" y="f171"/>
                  </a:lnTo>
                  <a:lnTo>
                    <a:pt x="f49" y="f73"/>
                  </a:lnTo>
                  <a:lnTo>
                    <a:pt x="f9" y="f146"/>
                  </a:lnTo>
                  <a:lnTo>
                    <a:pt x="f172" y="f76"/>
                  </a:lnTo>
                  <a:lnTo>
                    <a:pt x="f52" y="f140"/>
                  </a:lnTo>
                  <a:lnTo>
                    <a:pt x="f173" y="f81"/>
                  </a:lnTo>
                  <a:lnTo>
                    <a:pt x="f52" y="f97"/>
                  </a:lnTo>
                  <a:lnTo>
                    <a:pt x="f172" y="f174"/>
                  </a:lnTo>
                  <a:lnTo>
                    <a:pt x="f11" y="f95"/>
                  </a:lnTo>
                  <a:lnTo>
                    <a:pt x="f175" y="f143"/>
                  </a:lnTo>
                  <a:lnTo>
                    <a:pt x="f42" y="f134"/>
                  </a:lnTo>
                  <a:lnTo>
                    <a:pt x="f176" y="f133"/>
                  </a:lnTo>
                  <a:lnTo>
                    <a:pt x="f177" y="f121"/>
                  </a:lnTo>
                  <a:lnTo>
                    <a:pt x="f178" y="f174"/>
                  </a:lnTo>
                  <a:lnTo>
                    <a:pt x="f177" y="f136"/>
                  </a:lnTo>
                  <a:lnTo>
                    <a:pt x="f177" y="f144"/>
                  </a:lnTo>
                  <a:lnTo>
                    <a:pt x="f176" y="f145"/>
                  </a:lnTo>
                  <a:lnTo>
                    <a:pt x="f14" y="f129"/>
                  </a:lnTo>
                  <a:lnTo>
                    <a:pt x="f179" y="f147"/>
                  </a:lnTo>
                  <a:lnTo>
                    <a:pt x="f176" y="f92"/>
                  </a:lnTo>
                  <a:lnTo>
                    <a:pt x="f180" y="f92"/>
                  </a:lnTo>
                  <a:lnTo>
                    <a:pt x="f181" y="f92"/>
                  </a:lnTo>
                  <a:lnTo>
                    <a:pt x="f46" y="f92"/>
                  </a:lnTo>
                  <a:lnTo>
                    <a:pt x="f182" y="f183"/>
                  </a:lnTo>
                  <a:lnTo>
                    <a:pt x="f184" y="f123"/>
                  </a:lnTo>
                  <a:lnTo>
                    <a:pt x="f35" y="f129"/>
                  </a:lnTo>
                  <a:lnTo>
                    <a:pt x="f29" y="f145"/>
                  </a:lnTo>
                  <a:lnTo>
                    <a:pt x="f35" y="f143"/>
                  </a:lnTo>
                  <a:lnTo>
                    <a:pt x="f185" y="f160"/>
                  </a:lnTo>
                  <a:lnTo>
                    <a:pt x="f182" y="f142"/>
                  </a:lnTo>
                  <a:lnTo>
                    <a:pt x="f186" y="f140"/>
                  </a:lnTo>
                  <a:lnTo>
                    <a:pt x="f26" y="f99"/>
                  </a:lnTo>
                  <a:lnTo>
                    <a:pt x="f181" y="f158"/>
                  </a:lnTo>
                  <a:lnTo>
                    <a:pt x="f187" y="f74"/>
                  </a:lnTo>
                  <a:lnTo>
                    <a:pt x="f26" y="f188"/>
                  </a:lnTo>
                  <a:lnTo>
                    <a:pt x="f48" y="f113"/>
                  </a:lnTo>
                  <a:lnTo>
                    <a:pt x="f46" y="f107"/>
                  </a:lnTo>
                  <a:lnTo>
                    <a:pt x="f186" y="f63"/>
                  </a:lnTo>
                  <a:lnTo>
                    <a:pt x="f189" y="f190"/>
                  </a:lnTo>
                  <a:lnTo>
                    <a:pt x="f189" y="f191"/>
                  </a:lnTo>
                  <a:lnTo>
                    <a:pt x="f192" y="f153"/>
                  </a:lnTo>
                  <a:lnTo>
                    <a:pt x="f186" y="f193"/>
                  </a:lnTo>
                  <a:lnTo>
                    <a:pt x="f46" y="f120"/>
                  </a:lnTo>
                  <a:lnTo>
                    <a:pt x="f46" y="f194"/>
                  </a:lnTo>
                  <a:lnTo>
                    <a:pt x="f189" y="f91"/>
                  </a:lnTo>
                  <a:lnTo>
                    <a:pt x="f36" y="f90"/>
                  </a:lnTo>
                  <a:lnTo>
                    <a:pt x="f195" y="f110"/>
                  </a:lnTo>
                  <a:lnTo>
                    <a:pt x="f33" y="f104"/>
                  </a:lnTo>
                  <a:lnTo>
                    <a:pt x="f31" y="f196"/>
                  </a:lnTo>
                  <a:lnTo>
                    <a:pt x="f7" y="f50"/>
                  </a:lnTo>
                  <a:lnTo>
                    <a:pt x="f197" y="f172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5" name="Freeform 445">
              <a:extLst>
                <a:ext uri="{FF2B5EF4-FFF2-40B4-BE49-F238E27FC236}">
                  <a16:creationId xmlns:a16="http://schemas.microsoft.com/office/drawing/2014/main" id="{4C28498B-3E03-8DA9-2F3C-1378CB0C5106}"/>
                </a:ext>
              </a:extLst>
            </p:cNvPr>
            <p:cNvSpPr/>
            <p:nvPr/>
          </p:nvSpPr>
          <p:spPr>
            <a:xfrm>
              <a:off x="3903928" y="3948771"/>
              <a:ext cx="37572" cy="1868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3"/>
                <a:gd name="f7" fmla="val 18"/>
                <a:gd name="f8" fmla="val 2"/>
                <a:gd name="f9" fmla="val 1"/>
                <a:gd name="f10" fmla="val 21"/>
                <a:gd name="f11" fmla="val 13"/>
                <a:gd name="f12" fmla="+- 0 0 -90"/>
                <a:gd name="f13" fmla="*/ f3 1 23"/>
                <a:gd name="f14" fmla="*/ f4 1 18"/>
                <a:gd name="f15" fmla="val f5"/>
                <a:gd name="f16" fmla="val f6"/>
                <a:gd name="f17" fmla="val f7"/>
                <a:gd name="f18" fmla="*/ f12 f0 1"/>
                <a:gd name="f19" fmla="+- f17 0 f15"/>
                <a:gd name="f20" fmla="+- f16 0 f15"/>
                <a:gd name="f21" fmla="*/ f18 1 f2"/>
                <a:gd name="f22" fmla="*/ f20 1 23"/>
                <a:gd name="f23" fmla="*/ f19 1 18"/>
                <a:gd name="f24" fmla="*/ 2147483646 f20 1"/>
                <a:gd name="f25" fmla="*/ 0 f19 1"/>
                <a:gd name="f26" fmla="*/ 2147483646 f19 1"/>
                <a:gd name="f27" fmla="*/ 0 f20 1"/>
                <a:gd name="f28" fmla="+- f21 0 f1"/>
                <a:gd name="f29" fmla="*/ f24 1 23"/>
                <a:gd name="f30" fmla="*/ f25 1 18"/>
                <a:gd name="f31" fmla="*/ f26 1 18"/>
                <a:gd name="f32" fmla="*/ f27 1 23"/>
                <a:gd name="f33" fmla="*/ 0 1 f22"/>
                <a:gd name="f34" fmla="*/ f16 1 f22"/>
                <a:gd name="f35" fmla="*/ 0 1 f23"/>
                <a:gd name="f36" fmla="*/ f17 1 f23"/>
                <a:gd name="f37" fmla="*/ f29 1 f22"/>
                <a:gd name="f38" fmla="*/ f30 1 f23"/>
                <a:gd name="f39" fmla="*/ f31 1 f23"/>
                <a:gd name="f40" fmla="*/ f32 1 f22"/>
                <a:gd name="f41" fmla="*/ f33 f13 1"/>
                <a:gd name="f42" fmla="*/ f34 f13 1"/>
                <a:gd name="f43" fmla="*/ f36 f14 1"/>
                <a:gd name="f44" fmla="*/ f35 f14 1"/>
                <a:gd name="f45" fmla="*/ f37 f13 1"/>
                <a:gd name="f46" fmla="*/ f38 f14 1"/>
                <a:gd name="f47" fmla="*/ f39 f14 1"/>
                <a:gd name="f48" fmla="*/ f40 f1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45" y="f46"/>
                </a:cxn>
                <a:cxn ang="f28">
                  <a:pos x="f45" y="f47"/>
                </a:cxn>
                <a:cxn ang="f28">
                  <a:pos x="f45" y="f47"/>
                </a:cxn>
                <a:cxn ang="f28">
                  <a:pos x="f48" y="f47"/>
                </a:cxn>
                <a:cxn ang="f28">
                  <a:pos x="f45" y="f46"/>
                </a:cxn>
              </a:cxnLst>
              <a:rect l="f41" t="f44" r="f42" b="f43"/>
              <a:pathLst>
                <a:path w="23" h="18">
                  <a:moveTo>
                    <a:pt x="f8" y="f5"/>
                  </a:moveTo>
                  <a:lnTo>
                    <a:pt x="f6" y="f9"/>
                  </a:lnTo>
                  <a:lnTo>
                    <a:pt x="f10" y="f7"/>
                  </a:lnTo>
                  <a:lnTo>
                    <a:pt x="f5" y="f11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6345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6" name="Freeform 450">
              <a:extLst>
                <a:ext uri="{FF2B5EF4-FFF2-40B4-BE49-F238E27FC236}">
                  <a16:creationId xmlns:a16="http://schemas.microsoft.com/office/drawing/2014/main" id="{27653DA3-B92A-F287-FF4E-AE0BA0E01916}"/>
                </a:ext>
              </a:extLst>
            </p:cNvPr>
            <p:cNvSpPr/>
            <p:nvPr/>
          </p:nvSpPr>
          <p:spPr>
            <a:xfrm>
              <a:off x="4977269" y="2209738"/>
              <a:ext cx="135596" cy="4981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14"/>
                <a:gd name="f7" fmla="val 54"/>
                <a:gd name="f8" fmla="val 14"/>
                <a:gd name="f9" fmla="val 26"/>
                <a:gd name="f10" fmla="val 4"/>
                <a:gd name="f11" fmla="val 88"/>
                <a:gd name="f12" fmla="val 18"/>
                <a:gd name="f13" fmla="val 96"/>
                <a:gd name="f14" fmla="val 38"/>
                <a:gd name="f15" fmla="val 68"/>
                <a:gd name="f16" fmla="val 30"/>
                <a:gd name="f17" fmla="val 42"/>
                <a:gd name="f18" fmla="val 10"/>
                <a:gd name="f19" fmla="val 44"/>
                <a:gd name="f20" fmla="val 36"/>
                <a:gd name="f21" fmla="val 16"/>
                <a:gd name="f22" fmla="val 22"/>
                <a:gd name="f23" fmla="+- 0 0 -90"/>
                <a:gd name="f24" fmla="*/ f3 1 114"/>
                <a:gd name="f25" fmla="*/ f4 1 54"/>
                <a:gd name="f26" fmla="val f5"/>
                <a:gd name="f27" fmla="val f6"/>
                <a:gd name="f28" fmla="val f7"/>
                <a:gd name="f29" fmla="*/ f23 f0 1"/>
                <a:gd name="f30" fmla="+- f28 0 f26"/>
                <a:gd name="f31" fmla="+- f27 0 f26"/>
                <a:gd name="f32" fmla="*/ f29 1 f2"/>
                <a:gd name="f33" fmla="*/ f31 1 114"/>
                <a:gd name="f34" fmla="*/ f30 1 54"/>
                <a:gd name="f35" fmla="*/ 2147483646 f31 1"/>
                <a:gd name="f36" fmla="*/ 0 f30 1"/>
                <a:gd name="f37" fmla="*/ 2147483646 f30 1"/>
                <a:gd name="f38" fmla="*/ 0 f31 1"/>
                <a:gd name="f39" fmla="+- f32 0 f1"/>
                <a:gd name="f40" fmla="*/ f35 1 114"/>
                <a:gd name="f41" fmla="*/ f36 1 54"/>
                <a:gd name="f42" fmla="*/ f37 1 54"/>
                <a:gd name="f43" fmla="*/ f38 1 114"/>
                <a:gd name="f44" fmla="*/ 0 1 f33"/>
                <a:gd name="f45" fmla="*/ f27 1 f33"/>
                <a:gd name="f46" fmla="*/ 0 1 f34"/>
                <a:gd name="f47" fmla="*/ f28 1 f34"/>
                <a:gd name="f48" fmla="*/ f40 1 f33"/>
                <a:gd name="f49" fmla="*/ f41 1 f34"/>
                <a:gd name="f50" fmla="*/ f42 1 f34"/>
                <a:gd name="f51" fmla="*/ f43 1 f33"/>
                <a:gd name="f52" fmla="*/ f44 f24 1"/>
                <a:gd name="f53" fmla="*/ f45 f24 1"/>
                <a:gd name="f54" fmla="*/ f47 f25 1"/>
                <a:gd name="f55" fmla="*/ f46 f25 1"/>
                <a:gd name="f56" fmla="*/ f48 f24 1"/>
                <a:gd name="f57" fmla="*/ f49 f25 1"/>
                <a:gd name="f58" fmla="*/ f50 f25 1"/>
                <a:gd name="f59" fmla="*/ f51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9">
                  <a:pos x="f56" y="f57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7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6" y="f58"/>
                </a:cxn>
                <a:cxn ang="f39">
                  <a:pos x="f59" y="f58"/>
                </a:cxn>
                <a:cxn ang="f39">
                  <a:pos x="f56" y="f57"/>
                </a:cxn>
              </a:cxnLst>
              <a:rect l="f52" t="f55" r="f53" b="f54"/>
              <a:pathLst>
                <a:path w="114" h="54">
                  <a:moveTo>
                    <a:pt x="f8" y="f5"/>
                  </a:moveTo>
                  <a:lnTo>
                    <a:pt x="f9" y="f8"/>
                  </a:lnTo>
                  <a:lnTo>
                    <a:pt x="f7" y="f10"/>
                  </a:lnTo>
                  <a:lnTo>
                    <a:pt x="f11" y="f5"/>
                  </a:lnTo>
                  <a:lnTo>
                    <a:pt x="f6" y="f12"/>
                  </a:lnTo>
                  <a:lnTo>
                    <a:pt x="f13" y="f14"/>
                  </a:lnTo>
                  <a:lnTo>
                    <a:pt x="f15" y="f7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9" y="f20"/>
                  </a:lnTo>
                  <a:lnTo>
                    <a:pt x="f21" y="f22"/>
                  </a:lnTo>
                  <a:lnTo>
                    <a:pt x="f5" y="f21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7" name="Freeform 451">
              <a:extLst>
                <a:ext uri="{FF2B5EF4-FFF2-40B4-BE49-F238E27FC236}">
                  <a16:creationId xmlns:a16="http://schemas.microsoft.com/office/drawing/2014/main" id="{8F834CAB-67FC-9DE4-D78C-0C22A55E1AD3}"/>
                </a:ext>
              </a:extLst>
            </p:cNvPr>
            <p:cNvSpPr/>
            <p:nvPr/>
          </p:nvSpPr>
          <p:spPr>
            <a:xfrm>
              <a:off x="9089289" y="4302178"/>
              <a:ext cx="222180" cy="18215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75"/>
                <a:gd name="f7" fmla="val 488"/>
                <a:gd name="f8" fmla="val 410"/>
                <a:gd name="f9" fmla="val 71"/>
                <a:gd name="f10" fmla="val 321"/>
                <a:gd name="f11" fmla="val 142"/>
                <a:gd name="f12" fmla="val 233"/>
                <a:gd name="f13" fmla="val 178"/>
                <a:gd name="f14" fmla="val 107"/>
                <a:gd name="f15" fmla="val 36"/>
                <a:gd name="f16" fmla="val 19"/>
                <a:gd name="f17" fmla="val 90"/>
                <a:gd name="f18" fmla="val 72"/>
                <a:gd name="f19" fmla="val 124"/>
                <a:gd name="f20" fmla="val 89"/>
                <a:gd name="f21" fmla="val 159"/>
                <a:gd name="f22" fmla="val 213"/>
                <a:gd name="f23" fmla="val 160"/>
                <a:gd name="f24" fmla="val 197"/>
                <a:gd name="f25" fmla="val 230"/>
                <a:gd name="f26" fmla="val 283"/>
                <a:gd name="f27" fmla="val 446"/>
                <a:gd name="f28" fmla="val 353"/>
                <a:gd name="f29" fmla="val 465"/>
                <a:gd name="f30" fmla="val 389"/>
                <a:gd name="f31" fmla="val 393"/>
                <a:gd name="f32" fmla="val 424"/>
                <a:gd name="f33" fmla="val 442"/>
                <a:gd name="f34" fmla="val 518"/>
                <a:gd name="f35" fmla="val 459"/>
                <a:gd name="f36" fmla="val 122"/>
                <a:gd name="f37" fmla="+- 0 0 -90"/>
                <a:gd name="f38" fmla="*/ f3 1 575"/>
                <a:gd name="f39" fmla="*/ f4 1 488"/>
                <a:gd name="f40" fmla="val f5"/>
                <a:gd name="f41" fmla="val f6"/>
                <a:gd name="f42" fmla="val f7"/>
                <a:gd name="f43" fmla="*/ f37 f0 1"/>
                <a:gd name="f44" fmla="+- f42 0 f40"/>
                <a:gd name="f45" fmla="+- f41 0 f40"/>
                <a:gd name="f46" fmla="*/ f43 1 f2"/>
                <a:gd name="f47" fmla="*/ f45 1 575"/>
                <a:gd name="f48" fmla="*/ f44 1 488"/>
                <a:gd name="f49" fmla="*/ 2147483646 f45 1"/>
                <a:gd name="f50" fmla="*/ 2147483646 f44 1"/>
                <a:gd name="f51" fmla="*/ 0 f44 1"/>
                <a:gd name="f52" fmla="*/ 0 f45 1"/>
                <a:gd name="f53" fmla="+- f46 0 f1"/>
                <a:gd name="f54" fmla="*/ f49 1 575"/>
                <a:gd name="f55" fmla="*/ f50 1 488"/>
                <a:gd name="f56" fmla="*/ f51 1 488"/>
                <a:gd name="f57" fmla="*/ f52 1 575"/>
                <a:gd name="f58" fmla="*/ 0 1 f47"/>
                <a:gd name="f59" fmla="*/ f41 1 f47"/>
                <a:gd name="f60" fmla="*/ 0 1 f48"/>
                <a:gd name="f61" fmla="*/ f42 1 f48"/>
                <a:gd name="f62" fmla="*/ f54 1 f47"/>
                <a:gd name="f63" fmla="*/ f55 1 f48"/>
                <a:gd name="f64" fmla="*/ f56 1 f48"/>
                <a:gd name="f65" fmla="*/ f57 1 f47"/>
                <a:gd name="f66" fmla="*/ f58 f38 1"/>
                <a:gd name="f67" fmla="*/ f59 f38 1"/>
                <a:gd name="f68" fmla="*/ f61 f39 1"/>
                <a:gd name="f69" fmla="*/ f60 f39 1"/>
                <a:gd name="f70" fmla="*/ f62 f38 1"/>
                <a:gd name="f71" fmla="*/ f63 f39 1"/>
                <a:gd name="f72" fmla="*/ f64 f39 1"/>
                <a:gd name="f73" fmla="*/ f65 f3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2"/>
                </a:cxn>
                <a:cxn ang="f53">
                  <a:pos x="f70" y="f71"/>
                </a:cxn>
                <a:cxn ang="f53">
                  <a:pos x="f73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  <a:cxn ang="f53">
                  <a:pos x="f70" y="f71"/>
                </a:cxn>
              </a:cxnLst>
              <a:rect l="f66" t="f69" r="f67" b="f68"/>
              <a:pathLst>
                <a:path w="575" h="488">
                  <a:moveTo>
                    <a:pt x="f8" y="f9"/>
                  </a:moveTo>
                  <a:lnTo>
                    <a:pt x="f10" y="f11"/>
                  </a:lnTo>
                  <a:lnTo>
                    <a:pt x="f12" y="f11"/>
                  </a:lnTo>
                  <a:lnTo>
                    <a:pt x="f13" y="f9"/>
                  </a:lnTo>
                  <a:lnTo>
                    <a:pt x="f14" y="f5"/>
                  </a:lnTo>
                  <a:lnTo>
                    <a:pt x="f15" y="f16"/>
                  </a:lnTo>
                  <a:lnTo>
                    <a:pt x="f5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14" y="f22"/>
                  </a:lnTo>
                  <a:lnTo>
                    <a:pt x="f23" y="f22"/>
                  </a:lnTo>
                  <a:lnTo>
                    <a:pt x="f24" y="f25"/>
                  </a:lnTo>
                  <a:lnTo>
                    <a:pt x="f10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29" y="f33"/>
                  </a:lnTo>
                  <a:lnTo>
                    <a:pt x="f34" y="f35"/>
                  </a:lnTo>
                  <a:lnTo>
                    <a:pt x="f6" y="f7"/>
                  </a:lnTo>
                  <a:lnTo>
                    <a:pt x="f6" y="f3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8" name="Freeform 452">
              <a:extLst>
                <a:ext uri="{FF2B5EF4-FFF2-40B4-BE49-F238E27FC236}">
                  <a16:creationId xmlns:a16="http://schemas.microsoft.com/office/drawing/2014/main" id="{530530B5-D4EB-F8C5-AA49-D494FD64684F}"/>
                </a:ext>
              </a:extLst>
            </p:cNvPr>
            <p:cNvSpPr/>
            <p:nvPr/>
          </p:nvSpPr>
          <p:spPr>
            <a:xfrm>
              <a:off x="9311470" y="4345776"/>
              <a:ext cx="179707" cy="16658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0"/>
                <a:gd name="f7" fmla="val 443"/>
                <a:gd name="f8" fmla="val 353"/>
                <a:gd name="f9" fmla="val 302"/>
                <a:gd name="f10" fmla="val 336"/>
                <a:gd name="f11" fmla="val 249"/>
                <a:gd name="f12" fmla="val 372"/>
                <a:gd name="f13" fmla="val 214"/>
                <a:gd name="f14" fmla="val 283"/>
                <a:gd name="f15" fmla="val 161"/>
                <a:gd name="f16" fmla="val 247"/>
                <a:gd name="f17" fmla="val 108"/>
                <a:gd name="f18" fmla="val 122"/>
                <a:gd name="f19" fmla="val 37"/>
                <a:gd name="f20" fmla="val 366"/>
                <a:gd name="f21" fmla="val 14"/>
                <a:gd name="f22" fmla="val 373"/>
                <a:gd name="f23" fmla="val 67"/>
                <a:gd name="f24" fmla="val 320"/>
                <a:gd name="f25" fmla="val 211"/>
                <a:gd name="f26" fmla="val 284"/>
                <a:gd name="f27" fmla="val 264"/>
                <a:gd name="f28" fmla="val 389"/>
                <a:gd name="f29" fmla="val 408"/>
                <a:gd name="f30" fmla="val 337"/>
                <a:gd name="f31" fmla="+- 0 0 -90"/>
                <a:gd name="f32" fmla="*/ f3 1 460"/>
                <a:gd name="f33" fmla="*/ f4 1 443"/>
                <a:gd name="f34" fmla="val f5"/>
                <a:gd name="f35" fmla="val f6"/>
                <a:gd name="f36" fmla="val f7"/>
                <a:gd name="f37" fmla="*/ f31 f0 1"/>
                <a:gd name="f38" fmla="+- f36 0 f34"/>
                <a:gd name="f39" fmla="+- f35 0 f34"/>
                <a:gd name="f40" fmla="*/ f37 1 f2"/>
                <a:gd name="f41" fmla="*/ f39 1 460"/>
                <a:gd name="f42" fmla="*/ f38 1 443"/>
                <a:gd name="f43" fmla="*/ 2147483646 f39 1"/>
                <a:gd name="f44" fmla="*/ 2147483646 f38 1"/>
                <a:gd name="f45" fmla="*/ 0 f39 1"/>
                <a:gd name="f46" fmla="*/ 0 f38 1"/>
                <a:gd name="f47" fmla="+- f40 0 f1"/>
                <a:gd name="f48" fmla="*/ f43 1 460"/>
                <a:gd name="f49" fmla="*/ f44 1 443"/>
                <a:gd name="f50" fmla="*/ f45 1 460"/>
                <a:gd name="f51" fmla="*/ f46 1 443"/>
                <a:gd name="f52" fmla="*/ 0 1 f41"/>
                <a:gd name="f53" fmla="*/ f35 1 f41"/>
                <a:gd name="f54" fmla="*/ 0 1 f42"/>
                <a:gd name="f55" fmla="*/ f36 1 f42"/>
                <a:gd name="f56" fmla="*/ f48 1 f41"/>
                <a:gd name="f57" fmla="*/ f49 1 f42"/>
                <a:gd name="f58" fmla="*/ f50 1 f41"/>
                <a:gd name="f59" fmla="*/ f51 1 f42"/>
                <a:gd name="f60" fmla="*/ f52 f32 1"/>
                <a:gd name="f61" fmla="*/ f53 f32 1"/>
                <a:gd name="f62" fmla="*/ f55 f33 1"/>
                <a:gd name="f63" fmla="*/ f54 f33 1"/>
                <a:gd name="f64" fmla="*/ f56 f32 1"/>
                <a:gd name="f65" fmla="*/ f57 f33 1"/>
                <a:gd name="f66" fmla="*/ f58 f32 1"/>
                <a:gd name="f67" fmla="*/ f59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6" y="f67"/>
                </a:cxn>
                <a:cxn ang="f47">
                  <a:pos x="f66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  <a:cxn ang="f47">
                  <a:pos x="f64" y="f65"/>
                </a:cxn>
              </a:cxnLst>
              <a:rect l="f60" t="f63" r="f61" b="f62"/>
              <a:pathLst>
                <a:path w="460" h="443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5" y="f5"/>
                  </a:lnTo>
                  <a:lnTo>
                    <a:pt x="f5" y="f20"/>
                  </a:lnTo>
                  <a:lnTo>
                    <a:pt x="f21" y="f22"/>
                  </a:lnTo>
                  <a:lnTo>
                    <a:pt x="f23" y="f22"/>
                  </a:lnTo>
                  <a:lnTo>
                    <a:pt x="f18" y="f24"/>
                  </a:lnTo>
                  <a:lnTo>
                    <a:pt x="f25" y="f26"/>
                  </a:lnTo>
                  <a:lnTo>
                    <a:pt x="f27" y="f24"/>
                  </a:lnTo>
                  <a:lnTo>
                    <a:pt x="f28" y="f29"/>
                  </a:lnTo>
                  <a:lnTo>
                    <a:pt x="f6" y="f7"/>
                  </a:lnTo>
                  <a:lnTo>
                    <a:pt x="f6" y="f30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9" name="Freeform 458">
              <a:extLst>
                <a:ext uri="{FF2B5EF4-FFF2-40B4-BE49-F238E27FC236}">
                  <a16:creationId xmlns:a16="http://schemas.microsoft.com/office/drawing/2014/main" id="{B5B44E3B-A012-9BAC-C2DF-A6B2C528B6E4}"/>
                </a:ext>
              </a:extLst>
            </p:cNvPr>
            <p:cNvSpPr/>
            <p:nvPr/>
          </p:nvSpPr>
          <p:spPr>
            <a:xfrm>
              <a:off x="6475376" y="3424098"/>
              <a:ext cx="75154" cy="4358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"/>
                <a:gd name="f7" fmla="val 28"/>
                <a:gd name="f8" fmla="val 15"/>
                <a:gd name="f9" fmla="val 3"/>
                <a:gd name="f10" fmla="val 17"/>
                <a:gd name="f11" fmla="val 12"/>
                <a:gd name="f12" fmla="val 14"/>
                <a:gd name="f13" fmla="val 13"/>
                <a:gd name="f14" fmla="val 8"/>
                <a:gd name="f15" fmla="val 27"/>
                <a:gd name="f16" fmla="val 9"/>
                <a:gd name="f17" fmla="val 1"/>
                <a:gd name="f18" fmla="val 33"/>
                <a:gd name="f19" fmla="val 11"/>
                <a:gd name="f20" fmla="val 36"/>
                <a:gd name="f21" fmla="val 18"/>
                <a:gd name="f22" fmla="val 21"/>
                <a:gd name="f23" fmla="val 26"/>
                <a:gd name="f24" fmla="val 2"/>
                <a:gd name="f25" fmla="val 23"/>
                <a:gd name="f26" fmla="+- 0 0 -90"/>
                <a:gd name="f27" fmla="*/ f3 1 46"/>
                <a:gd name="f28" fmla="*/ f4 1 28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46"/>
                <a:gd name="f37" fmla="*/ f33 1 28"/>
                <a:gd name="f38" fmla="*/ 0 f34 1"/>
                <a:gd name="f39" fmla="*/ 2147483646 f33 1"/>
                <a:gd name="f40" fmla="*/ 2147483646 f34 1"/>
                <a:gd name="f41" fmla="*/ 0 f33 1"/>
                <a:gd name="f42" fmla="+- f35 0 f1"/>
                <a:gd name="f43" fmla="*/ f38 1 46"/>
                <a:gd name="f44" fmla="*/ f39 1 28"/>
                <a:gd name="f45" fmla="*/ f40 1 46"/>
                <a:gd name="f46" fmla="*/ f41 1 28"/>
                <a:gd name="f47" fmla="*/ 0 1 f36"/>
                <a:gd name="f48" fmla="*/ f30 1 f36"/>
                <a:gd name="f49" fmla="*/ 0 1 f37"/>
                <a:gd name="f50" fmla="*/ f31 1 f37"/>
                <a:gd name="f51" fmla="*/ f43 1 f36"/>
                <a:gd name="f52" fmla="*/ f44 1 f37"/>
                <a:gd name="f53" fmla="*/ f45 1 f36"/>
                <a:gd name="f54" fmla="*/ f46 1 f37"/>
                <a:gd name="f55" fmla="*/ f47 f27 1"/>
                <a:gd name="f56" fmla="*/ f48 f27 1"/>
                <a:gd name="f57" fmla="*/ f50 f28 1"/>
                <a:gd name="f58" fmla="*/ f49 f28 1"/>
                <a:gd name="f59" fmla="*/ f51 f27 1"/>
                <a:gd name="f60" fmla="*/ f52 f28 1"/>
                <a:gd name="f61" fmla="*/ f53 f27 1"/>
                <a:gd name="f62" fmla="*/ f54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9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2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61" y="f60"/>
                </a:cxn>
                <a:cxn ang="f42">
                  <a:pos x="f59" y="f60"/>
                </a:cxn>
              </a:cxnLst>
              <a:rect l="f55" t="f58" r="f56" b="f57"/>
              <a:pathLst>
                <a:path w="46" h="28">
                  <a:moveTo>
                    <a:pt x="f5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6" y="f5"/>
                  </a:lnTo>
                  <a:lnTo>
                    <a:pt x="f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15" y="f22"/>
                  </a:lnTo>
                  <a:lnTo>
                    <a:pt x="f8" y="f7"/>
                  </a:lnTo>
                  <a:lnTo>
                    <a:pt x="f13" y="f7"/>
                  </a:lnTo>
                  <a:lnTo>
                    <a:pt x="f14" y="f23"/>
                  </a:lnTo>
                  <a:lnTo>
                    <a:pt x="f24" y="f25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0" name="Freeform 261">
              <a:extLst>
                <a:ext uri="{FF2B5EF4-FFF2-40B4-BE49-F238E27FC236}">
                  <a16:creationId xmlns:a16="http://schemas.microsoft.com/office/drawing/2014/main" id="{72CB6EB5-181A-FD70-1485-DABA6016CDA0}"/>
                </a:ext>
              </a:extLst>
            </p:cNvPr>
            <p:cNvSpPr/>
            <p:nvPr/>
          </p:nvSpPr>
          <p:spPr>
            <a:xfrm>
              <a:off x="8461946" y="3849129"/>
              <a:ext cx="55540" cy="5293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2"/>
                <a:gd name="f7" fmla="val 30"/>
                <a:gd name="f8" fmla="val 12"/>
                <a:gd name="f9" fmla="+- 0 0 -90"/>
                <a:gd name="f10" fmla="*/ f3 1 42"/>
                <a:gd name="f11" fmla="*/ f4 1 42"/>
                <a:gd name="f12" fmla="val f5"/>
                <a:gd name="f13" fmla="val f6"/>
                <a:gd name="f14" fmla="*/ f9 f0 1"/>
                <a:gd name="f15" fmla="+- f13 0 f12"/>
                <a:gd name="f16" fmla="*/ f14 1 f2"/>
                <a:gd name="f17" fmla="*/ f15 1 42"/>
                <a:gd name="f18" fmla="*/ 0 f15 1"/>
                <a:gd name="f19" fmla="*/ 2147483646 f15 1"/>
                <a:gd name="f20" fmla="+- f16 0 f1"/>
                <a:gd name="f21" fmla="*/ f18 1 42"/>
                <a:gd name="f22" fmla="*/ f19 1 42"/>
                <a:gd name="f23" fmla="*/ 0 1 f17"/>
                <a:gd name="f24" fmla="*/ f13 1 f17"/>
                <a:gd name="f25" fmla="*/ f21 1 f17"/>
                <a:gd name="f26" fmla="*/ f22 1 f17"/>
                <a:gd name="f27" fmla="*/ f23 f10 1"/>
                <a:gd name="f28" fmla="*/ f24 f10 1"/>
                <a:gd name="f29" fmla="*/ f24 f11 1"/>
                <a:gd name="f30" fmla="*/ f23 f11 1"/>
                <a:gd name="f31" fmla="*/ f25 f10 1"/>
                <a:gd name="f32" fmla="*/ f26 f11 1"/>
                <a:gd name="f33" fmla="*/ f26 f10 1"/>
                <a:gd name="f34" fmla="*/ f25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0">
                  <a:pos x="f31" y="f32"/>
                </a:cxn>
                <a:cxn ang="f20">
                  <a:pos x="f33" y="f32"/>
                </a:cxn>
                <a:cxn ang="f20">
                  <a:pos x="f33" y="f34"/>
                </a:cxn>
                <a:cxn ang="f20">
                  <a:pos x="f33" y="f32"/>
                </a:cxn>
                <a:cxn ang="f20">
                  <a:pos x="f33" y="f32"/>
                </a:cxn>
                <a:cxn ang="f20">
                  <a:pos x="f33" y="f32"/>
                </a:cxn>
                <a:cxn ang="f20">
                  <a:pos x="f31" y="f32"/>
                </a:cxn>
              </a:cxnLst>
              <a:rect l="f27" t="f30" r="f28" b="f29"/>
              <a:pathLst>
                <a:path w="42" h="42">
                  <a:moveTo>
                    <a:pt x="f5" y="f7"/>
                  </a:moveTo>
                  <a:lnTo>
                    <a:pt x="f8" y="f8"/>
                  </a:lnTo>
                  <a:lnTo>
                    <a:pt x="f7" y="f5"/>
                  </a:lnTo>
                  <a:lnTo>
                    <a:pt x="f6" y="f8"/>
                  </a:lnTo>
                  <a:lnTo>
                    <a:pt x="f7" y="f7"/>
                  </a:lnTo>
                  <a:lnTo>
                    <a:pt x="f8" y="f6"/>
                  </a:lnTo>
                  <a:lnTo>
                    <a:pt x="f5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1" name="Freeform 263">
              <a:extLst>
                <a:ext uri="{FF2B5EF4-FFF2-40B4-BE49-F238E27FC236}">
                  <a16:creationId xmlns:a16="http://schemas.microsoft.com/office/drawing/2014/main" id="{FF5D9EF7-D069-D9AD-86E8-600F12AE66CF}"/>
                </a:ext>
              </a:extLst>
            </p:cNvPr>
            <p:cNvSpPr/>
            <p:nvPr/>
          </p:nvSpPr>
          <p:spPr>
            <a:xfrm>
              <a:off x="9002704" y="3480150"/>
              <a:ext cx="47375" cy="68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6"/>
                <a:gd name="f7" fmla="val 54"/>
                <a:gd name="f8" fmla="val 18"/>
                <a:gd name="f9" fmla="val 6"/>
                <a:gd name="f10" fmla="val 12"/>
                <a:gd name="f11" fmla="val 30"/>
                <a:gd name="f12" fmla="val 42"/>
                <a:gd name="f13" fmla="+- 0 0 -90"/>
                <a:gd name="f14" fmla="*/ f3 1 36"/>
                <a:gd name="f15" fmla="*/ f4 1 54"/>
                <a:gd name="f16" fmla="val f5"/>
                <a:gd name="f17" fmla="val f6"/>
                <a:gd name="f18" fmla="val f7"/>
                <a:gd name="f19" fmla="*/ f13 f0 1"/>
                <a:gd name="f20" fmla="+- f18 0 f16"/>
                <a:gd name="f21" fmla="+- f17 0 f16"/>
                <a:gd name="f22" fmla="*/ f19 1 f2"/>
                <a:gd name="f23" fmla="*/ f21 1 36"/>
                <a:gd name="f24" fmla="*/ f20 1 54"/>
                <a:gd name="f25" fmla="*/ 0 f21 1"/>
                <a:gd name="f26" fmla="*/ 2147483646 f20 1"/>
                <a:gd name="f27" fmla="*/ 2147483646 f21 1"/>
                <a:gd name="f28" fmla="*/ 0 f20 1"/>
                <a:gd name="f29" fmla="+- f22 0 f1"/>
                <a:gd name="f30" fmla="*/ f25 1 36"/>
                <a:gd name="f31" fmla="*/ f26 1 54"/>
                <a:gd name="f32" fmla="*/ f27 1 36"/>
                <a:gd name="f33" fmla="*/ f28 1 54"/>
                <a:gd name="f34" fmla="*/ 0 1 f23"/>
                <a:gd name="f35" fmla="*/ f17 1 f23"/>
                <a:gd name="f36" fmla="*/ 0 1 f24"/>
                <a:gd name="f37" fmla="*/ f18 1 f24"/>
                <a:gd name="f38" fmla="*/ f30 1 f23"/>
                <a:gd name="f39" fmla="*/ f31 1 f24"/>
                <a:gd name="f40" fmla="*/ f32 1 f23"/>
                <a:gd name="f41" fmla="*/ f33 1 f24"/>
                <a:gd name="f42" fmla="*/ f34 f14 1"/>
                <a:gd name="f43" fmla="*/ f35 f14 1"/>
                <a:gd name="f44" fmla="*/ f37 f15 1"/>
                <a:gd name="f45" fmla="*/ f36 f15 1"/>
                <a:gd name="f46" fmla="*/ f38 f14 1"/>
                <a:gd name="f47" fmla="*/ f39 f15 1"/>
                <a:gd name="f48" fmla="*/ f40 f14 1"/>
                <a:gd name="f49" fmla="*/ f41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46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7"/>
                </a:cxn>
                <a:cxn ang="f29">
                  <a:pos x="f48" y="f49"/>
                </a:cxn>
                <a:cxn ang="f29">
                  <a:pos x="f46" y="f47"/>
                </a:cxn>
              </a:cxnLst>
              <a:rect l="f42" t="f45" r="f43" b="f44"/>
              <a:pathLst>
                <a:path w="36" h="54">
                  <a:moveTo>
                    <a:pt x="f5" y="f8"/>
                  </a:moveTo>
                  <a:lnTo>
                    <a:pt x="f9" y="f6"/>
                  </a:lnTo>
                  <a:lnTo>
                    <a:pt x="f10" y="f7"/>
                  </a:lnTo>
                  <a:lnTo>
                    <a:pt x="f11" y="f12"/>
                  </a:lnTo>
                  <a:lnTo>
                    <a:pt x="f6" y="f8"/>
                  </a:lnTo>
                  <a:lnTo>
                    <a:pt x="f11" y="f5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2" name="Freeform 264">
              <a:extLst>
                <a:ext uri="{FF2B5EF4-FFF2-40B4-BE49-F238E27FC236}">
                  <a16:creationId xmlns:a16="http://schemas.microsoft.com/office/drawing/2014/main" id="{62AFF2B9-8DF5-A414-6C84-23D99F760E8B}"/>
                </a:ext>
              </a:extLst>
            </p:cNvPr>
            <p:cNvSpPr/>
            <p:nvPr/>
          </p:nvSpPr>
          <p:spPr>
            <a:xfrm>
              <a:off x="9059882" y="3128289"/>
              <a:ext cx="354512" cy="36742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4"/>
                <a:gd name="f7" fmla="val 289"/>
                <a:gd name="f8" fmla="val 6"/>
                <a:gd name="f9" fmla="val 247"/>
                <a:gd name="f10" fmla="val 42"/>
                <a:gd name="f11" fmla="val 235"/>
                <a:gd name="f12" fmla="val 66"/>
                <a:gd name="f13" fmla="val 108"/>
                <a:gd name="f14" fmla="val 199"/>
                <a:gd name="f15" fmla="val 138"/>
                <a:gd name="f16" fmla="val 187"/>
                <a:gd name="f17" fmla="val 144"/>
                <a:gd name="f18" fmla="val 157"/>
                <a:gd name="f19" fmla="val 156"/>
                <a:gd name="f20" fmla="val 109"/>
                <a:gd name="f21" fmla="val 72"/>
                <a:gd name="f22" fmla="val 174"/>
                <a:gd name="f23" fmla="val 48"/>
                <a:gd name="f24" fmla="val 18"/>
                <a:gd name="f25" fmla="val 186"/>
                <a:gd name="f26" fmla="val 210"/>
                <a:gd name="f27" fmla="val 246"/>
                <a:gd name="f28" fmla="val 30"/>
                <a:gd name="f29" fmla="val 240"/>
                <a:gd name="f30" fmla="val 54"/>
                <a:gd name="f31" fmla="val 222"/>
                <a:gd name="f32" fmla="val 85"/>
                <a:gd name="f33" fmla="val 60"/>
                <a:gd name="f34" fmla="val 162"/>
                <a:gd name="f35" fmla="val 97"/>
                <a:gd name="f36" fmla="val 139"/>
                <a:gd name="f37" fmla="val 168"/>
                <a:gd name="f38" fmla="val 169"/>
                <a:gd name="f39" fmla="val 193"/>
                <a:gd name="f40" fmla="val 150"/>
                <a:gd name="f41" fmla="val 241"/>
                <a:gd name="f42" fmla="val 126"/>
                <a:gd name="f43" fmla="val 102"/>
                <a:gd name="f44" fmla="val 90"/>
                <a:gd name="f45" fmla="val 271"/>
                <a:gd name="f46" fmla="val 259"/>
                <a:gd name="f47" fmla="val 265"/>
                <a:gd name="f48" fmla="val 36"/>
                <a:gd name="f49" fmla="val 12"/>
                <a:gd name="f50" fmla="+- 0 0 -90"/>
                <a:gd name="f51" fmla="*/ f3 1 264"/>
                <a:gd name="f52" fmla="*/ f4 1 289"/>
                <a:gd name="f53" fmla="val f5"/>
                <a:gd name="f54" fmla="val f6"/>
                <a:gd name="f55" fmla="val f7"/>
                <a:gd name="f56" fmla="*/ f50 f0 1"/>
                <a:gd name="f57" fmla="+- f55 0 f53"/>
                <a:gd name="f58" fmla="+- f54 0 f53"/>
                <a:gd name="f59" fmla="*/ f56 1 f2"/>
                <a:gd name="f60" fmla="*/ f58 1 264"/>
                <a:gd name="f61" fmla="*/ f57 1 289"/>
                <a:gd name="f62" fmla="*/ 2147483646 f58 1"/>
                <a:gd name="f63" fmla="*/ 2147483646 f57 1"/>
                <a:gd name="f64" fmla="*/ 0 f57 1"/>
                <a:gd name="f65" fmla="*/ 0 f58 1"/>
                <a:gd name="f66" fmla="+- f59 0 f1"/>
                <a:gd name="f67" fmla="*/ f62 1 264"/>
                <a:gd name="f68" fmla="*/ f63 1 289"/>
                <a:gd name="f69" fmla="*/ f64 1 289"/>
                <a:gd name="f70" fmla="*/ f65 1 264"/>
                <a:gd name="f71" fmla="*/ 0 1 f60"/>
                <a:gd name="f72" fmla="*/ f54 1 f60"/>
                <a:gd name="f73" fmla="*/ 0 1 f61"/>
                <a:gd name="f74" fmla="*/ f55 1 f61"/>
                <a:gd name="f75" fmla="*/ f67 1 f60"/>
                <a:gd name="f76" fmla="*/ f68 1 f61"/>
                <a:gd name="f77" fmla="*/ f69 1 f61"/>
                <a:gd name="f78" fmla="*/ f70 1 f60"/>
                <a:gd name="f79" fmla="*/ f71 f51 1"/>
                <a:gd name="f80" fmla="*/ f72 f51 1"/>
                <a:gd name="f81" fmla="*/ f74 f52 1"/>
                <a:gd name="f82" fmla="*/ f73 f52 1"/>
                <a:gd name="f83" fmla="*/ f75 f51 1"/>
                <a:gd name="f84" fmla="*/ f76 f52 1"/>
                <a:gd name="f85" fmla="*/ f77 f52 1"/>
                <a:gd name="f86" fmla="*/ f78 f5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5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3" y="f84"/>
                </a:cxn>
                <a:cxn ang="f66">
                  <a:pos x="f86" y="f84"/>
                </a:cxn>
                <a:cxn ang="f66">
                  <a:pos x="f83" y="f84"/>
                </a:cxn>
              </a:cxnLst>
              <a:rect l="f79" t="f82" r="f80" b="f81"/>
              <a:pathLst>
                <a:path w="264" h="289">
                  <a:moveTo>
                    <a:pt x="f8" y="f9"/>
                  </a:moveTo>
                  <a:lnTo>
                    <a:pt x="f10" y="f11"/>
                  </a:lnTo>
                  <a:lnTo>
                    <a:pt x="f12" y="f11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22" y="f23"/>
                  </a:lnTo>
                  <a:lnTo>
                    <a:pt x="f22" y="f24"/>
                  </a:lnTo>
                  <a:lnTo>
                    <a:pt x="f25" y="f5"/>
                  </a:lnTo>
                  <a:lnTo>
                    <a:pt x="f26" y="f24"/>
                  </a:lnTo>
                  <a:lnTo>
                    <a:pt x="f27" y="f28"/>
                  </a:lnTo>
                  <a:lnTo>
                    <a:pt x="f6" y="f28"/>
                  </a:lnTo>
                  <a:lnTo>
                    <a:pt x="f29" y="f30"/>
                  </a:lnTo>
                  <a:lnTo>
                    <a:pt x="f31" y="f12"/>
                  </a:lnTo>
                  <a:lnTo>
                    <a:pt x="f26" y="f32"/>
                  </a:lnTo>
                  <a:lnTo>
                    <a:pt x="f2" y="f33"/>
                  </a:lnTo>
                  <a:lnTo>
                    <a:pt x="f34" y="f35"/>
                  </a:lnTo>
                  <a:lnTo>
                    <a:pt x="f25" y="f36"/>
                  </a:lnTo>
                  <a:lnTo>
                    <a:pt x="f37" y="f38"/>
                  </a:lnTo>
                  <a:lnTo>
                    <a:pt x="f34" y="f39"/>
                  </a:lnTo>
                  <a:lnTo>
                    <a:pt x="f34" y="f11"/>
                  </a:lnTo>
                  <a:lnTo>
                    <a:pt x="f40" y="f9"/>
                  </a:lnTo>
                  <a:lnTo>
                    <a:pt x="f15" y="f41"/>
                  </a:lnTo>
                  <a:lnTo>
                    <a:pt x="f42" y="f9"/>
                  </a:lnTo>
                  <a:lnTo>
                    <a:pt x="f43" y="f9"/>
                  </a:lnTo>
                  <a:lnTo>
                    <a:pt x="f44" y="f9"/>
                  </a:lnTo>
                  <a:lnTo>
                    <a:pt x="f12" y="f45"/>
                  </a:lnTo>
                  <a:lnTo>
                    <a:pt x="f33" y="f46"/>
                  </a:lnTo>
                  <a:lnTo>
                    <a:pt x="f23" y="f47"/>
                  </a:lnTo>
                  <a:lnTo>
                    <a:pt x="f48" y="f45"/>
                  </a:lnTo>
                  <a:lnTo>
                    <a:pt x="f49" y="f7"/>
                  </a:lnTo>
                  <a:lnTo>
                    <a:pt x="f5" y="f4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3" name="Freeform 265">
              <a:extLst>
                <a:ext uri="{FF2B5EF4-FFF2-40B4-BE49-F238E27FC236}">
                  <a16:creationId xmlns:a16="http://schemas.microsoft.com/office/drawing/2014/main" id="{AC76096A-7D7F-405E-7E62-AE06DB50A58C}"/>
                </a:ext>
              </a:extLst>
            </p:cNvPr>
            <p:cNvSpPr/>
            <p:nvPr/>
          </p:nvSpPr>
          <p:spPr>
            <a:xfrm>
              <a:off x="9309842" y="2790455"/>
              <a:ext cx="63715" cy="30048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8"/>
                <a:gd name="f7" fmla="val 234"/>
                <a:gd name="f8" fmla="val 12"/>
                <a:gd name="f9" fmla="val 222"/>
                <a:gd name="f10" fmla="val 6"/>
                <a:gd name="f11" fmla="val 90"/>
                <a:gd name="f12" fmla="val 66"/>
                <a:gd name="f13" fmla="val 30"/>
                <a:gd name="f14" fmla="val 24"/>
                <a:gd name="f15" fmla="val 36"/>
                <a:gd name="f16" fmla="val 60"/>
                <a:gd name="f17" fmla="val 156"/>
                <a:gd name="f18" fmla="val 144"/>
                <a:gd name="f19" fmla="val 168"/>
                <a:gd name="f20" fmla="val 198"/>
                <a:gd name="f21" fmla="val 42"/>
                <a:gd name="f22" fmla="+- 0 0 -90"/>
                <a:gd name="f23" fmla="*/ f3 1 48"/>
                <a:gd name="f24" fmla="*/ f4 1 234"/>
                <a:gd name="f25" fmla="val f5"/>
                <a:gd name="f26" fmla="val f6"/>
                <a:gd name="f27" fmla="val f7"/>
                <a:gd name="f28" fmla="*/ f22 f0 1"/>
                <a:gd name="f29" fmla="+- f27 0 f25"/>
                <a:gd name="f30" fmla="+- f26 0 f25"/>
                <a:gd name="f31" fmla="*/ f28 1 f2"/>
                <a:gd name="f32" fmla="*/ f30 1 48"/>
                <a:gd name="f33" fmla="*/ f29 1 234"/>
                <a:gd name="f34" fmla="*/ 2147483646 f30 1"/>
                <a:gd name="f35" fmla="*/ 2147483646 f29 1"/>
                <a:gd name="f36" fmla="*/ 0 f30 1"/>
                <a:gd name="f37" fmla="*/ 0 f29 1"/>
                <a:gd name="f38" fmla="+- f31 0 f1"/>
                <a:gd name="f39" fmla="*/ f34 1 48"/>
                <a:gd name="f40" fmla="*/ f35 1 234"/>
                <a:gd name="f41" fmla="*/ f36 1 48"/>
                <a:gd name="f42" fmla="*/ f37 1 234"/>
                <a:gd name="f43" fmla="*/ 0 1 f32"/>
                <a:gd name="f44" fmla="*/ f26 1 f32"/>
                <a:gd name="f45" fmla="*/ 0 1 f33"/>
                <a:gd name="f46" fmla="*/ f27 1 f33"/>
                <a:gd name="f47" fmla="*/ f39 1 f32"/>
                <a:gd name="f48" fmla="*/ f40 1 f33"/>
                <a:gd name="f49" fmla="*/ f41 1 f32"/>
                <a:gd name="f50" fmla="*/ f42 1 f33"/>
                <a:gd name="f51" fmla="*/ f43 f23 1"/>
                <a:gd name="f52" fmla="*/ f44 f23 1"/>
                <a:gd name="f53" fmla="*/ f46 f24 1"/>
                <a:gd name="f54" fmla="*/ f45 f24 1"/>
                <a:gd name="f55" fmla="*/ f47 f23 1"/>
                <a:gd name="f56" fmla="*/ f48 f24 1"/>
                <a:gd name="f57" fmla="*/ f49 f23 1"/>
                <a:gd name="f58" fmla="*/ f50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7" y="f56"/>
                </a:cxn>
                <a:cxn ang="f38">
                  <a:pos x="f55" y="f56"/>
                </a:cxn>
                <a:cxn ang="f38">
                  <a:pos x="f55" y="f58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</a:cxnLst>
              <a:rect l="f51" t="f54" r="f52" b="f53"/>
              <a:pathLst>
                <a:path w="48" h="234">
                  <a:moveTo>
                    <a:pt x="f8" y="f9"/>
                  </a:moveTo>
                  <a:lnTo>
                    <a:pt x="f8" y="f2"/>
                  </a:lnTo>
                  <a:lnTo>
                    <a:pt x="f10" y="f11"/>
                  </a:lnTo>
                  <a:lnTo>
                    <a:pt x="f5" y="f12"/>
                  </a:lnTo>
                  <a:lnTo>
                    <a:pt x="f10" y="f13"/>
                  </a:lnTo>
                  <a:lnTo>
                    <a:pt x="f8" y="f5"/>
                  </a:lnTo>
                  <a:lnTo>
                    <a:pt x="f14" y="f15"/>
                  </a:lnTo>
                  <a:lnTo>
                    <a:pt x="f14" y="f16"/>
                  </a:lnTo>
                  <a:lnTo>
                    <a:pt x="f6" y="f17"/>
                  </a:lnTo>
                  <a:lnTo>
                    <a:pt x="f13" y="f18"/>
                  </a:lnTo>
                  <a:lnTo>
                    <a:pt x="f14" y="f19"/>
                  </a:lnTo>
                  <a:lnTo>
                    <a:pt x="f14" y="f20"/>
                  </a:lnTo>
                  <a:lnTo>
                    <a:pt x="f21" y="f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4" name="Freeform 333">
              <a:extLst>
                <a:ext uri="{FF2B5EF4-FFF2-40B4-BE49-F238E27FC236}">
                  <a16:creationId xmlns:a16="http://schemas.microsoft.com/office/drawing/2014/main" id="{B39CC248-C285-EDB2-15E9-91B2E1E4833B}"/>
                </a:ext>
              </a:extLst>
            </p:cNvPr>
            <p:cNvSpPr/>
            <p:nvPr/>
          </p:nvSpPr>
          <p:spPr>
            <a:xfrm>
              <a:off x="7934264" y="2868298"/>
              <a:ext cx="800511" cy="38298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95"/>
                <a:gd name="f7" fmla="val 301"/>
                <a:gd name="f8" fmla="val 42"/>
                <a:gd name="f9" fmla="val 126"/>
                <a:gd name="f10" fmla="val 48"/>
                <a:gd name="f11" fmla="val 186"/>
                <a:gd name="f12" fmla="val 127"/>
                <a:gd name="f13" fmla="val 210"/>
                <a:gd name="f14" fmla="val 181"/>
                <a:gd name="f15" fmla="val 264"/>
                <a:gd name="f16" fmla="val 253"/>
                <a:gd name="f17" fmla="val 270"/>
                <a:gd name="f18" fmla="val 313"/>
                <a:gd name="f19" fmla="val 379"/>
                <a:gd name="f20" fmla="val 258"/>
                <a:gd name="f21" fmla="val 445"/>
                <a:gd name="f22" fmla="val 252"/>
                <a:gd name="f23" fmla="val 457"/>
                <a:gd name="f24" fmla="val 499"/>
                <a:gd name="f25" fmla="val 192"/>
                <a:gd name="f26" fmla="val 541"/>
                <a:gd name="f27" fmla="val 174"/>
                <a:gd name="f28" fmla="val 156"/>
                <a:gd name="f29" fmla="val 583"/>
                <a:gd name="f30" fmla="val 132"/>
                <a:gd name="f31" fmla="val 529"/>
                <a:gd name="f32" fmla="val 96"/>
                <a:gd name="f33" fmla="val 72"/>
                <a:gd name="f34" fmla="val 60"/>
                <a:gd name="f35" fmla="val 403"/>
                <a:gd name="f36" fmla="val 84"/>
                <a:gd name="f37" fmla="val 367"/>
                <a:gd name="f38" fmla="val 54"/>
                <a:gd name="f39" fmla="val 307"/>
                <a:gd name="f40" fmla="val 289"/>
                <a:gd name="f41" fmla="val 36"/>
                <a:gd name="f42" fmla="val 217"/>
                <a:gd name="f43" fmla="val 193"/>
                <a:gd name="f44" fmla="val 30"/>
                <a:gd name="f45" fmla="val 169"/>
                <a:gd name="f46" fmla="val 66"/>
                <a:gd name="f47" fmla="val 121"/>
                <a:gd name="f48" fmla="val 12"/>
                <a:gd name="f49" fmla="val 78"/>
                <a:gd name="f50" fmla="val 102"/>
                <a:gd name="f51" fmla="val 6"/>
                <a:gd name="f52" fmla="val 108"/>
                <a:gd name="f53" fmla="+- 0 0 -90"/>
                <a:gd name="f54" fmla="*/ f3 1 595"/>
                <a:gd name="f55" fmla="*/ f4 1 301"/>
                <a:gd name="f56" fmla="val f5"/>
                <a:gd name="f57" fmla="val f6"/>
                <a:gd name="f58" fmla="val f7"/>
                <a:gd name="f59" fmla="*/ f53 f0 1"/>
                <a:gd name="f60" fmla="+- f58 0 f56"/>
                <a:gd name="f61" fmla="+- f57 0 f56"/>
                <a:gd name="f62" fmla="*/ f59 1 f2"/>
                <a:gd name="f63" fmla="*/ f61 1 595"/>
                <a:gd name="f64" fmla="*/ f60 1 301"/>
                <a:gd name="f65" fmla="*/ 2147483646 f61 1"/>
                <a:gd name="f66" fmla="*/ 2147483646 f60 1"/>
                <a:gd name="f67" fmla="*/ 0 f60 1"/>
                <a:gd name="f68" fmla="*/ 0 f61 1"/>
                <a:gd name="f69" fmla="+- f62 0 f1"/>
                <a:gd name="f70" fmla="*/ f65 1 595"/>
                <a:gd name="f71" fmla="*/ f66 1 301"/>
                <a:gd name="f72" fmla="*/ f67 1 301"/>
                <a:gd name="f73" fmla="*/ f68 1 595"/>
                <a:gd name="f74" fmla="*/ 0 1 f63"/>
                <a:gd name="f75" fmla="*/ f57 1 f63"/>
                <a:gd name="f76" fmla="*/ 0 1 f64"/>
                <a:gd name="f77" fmla="*/ f58 1 f64"/>
                <a:gd name="f78" fmla="*/ f70 1 f63"/>
                <a:gd name="f79" fmla="*/ f71 1 f64"/>
                <a:gd name="f80" fmla="*/ f72 1 f64"/>
                <a:gd name="f81" fmla="*/ f73 1 f63"/>
                <a:gd name="f82" fmla="*/ f74 f54 1"/>
                <a:gd name="f83" fmla="*/ f75 f54 1"/>
                <a:gd name="f84" fmla="*/ f77 f55 1"/>
                <a:gd name="f85" fmla="*/ f76 f55 1"/>
                <a:gd name="f86" fmla="*/ f78 f54 1"/>
                <a:gd name="f87" fmla="*/ f79 f55 1"/>
                <a:gd name="f88" fmla="*/ f80 f55 1"/>
                <a:gd name="f89" fmla="*/ f8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8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6" y="f87"/>
                </a:cxn>
                <a:cxn ang="f69">
                  <a:pos x="f89" y="f87"/>
                </a:cxn>
                <a:cxn ang="f69">
                  <a:pos x="f86" y="f87"/>
                </a:cxn>
                <a:cxn ang="f69">
                  <a:pos x="f86" y="f87"/>
                </a:cxn>
              </a:cxnLst>
              <a:rect l="f82" t="f85" r="f83" b="f84"/>
              <a:pathLst>
                <a:path w="595" h="301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7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1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6" y="f28"/>
                  </a:lnTo>
                  <a:lnTo>
                    <a:pt x="f29" y="f30"/>
                  </a:lnTo>
                  <a:lnTo>
                    <a:pt x="f31" y="f9"/>
                  </a:lnTo>
                  <a:lnTo>
                    <a:pt x="f31" y="f32"/>
                  </a:lnTo>
                  <a:lnTo>
                    <a:pt x="f26" y="f33"/>
                  </a:lnTo>
                  <a:lnTo>
                    <a:pt x="f24" y="f34"/>
                  </a:lnTo>
                  <a:lnTo>
                    <a:pt x="f35" y="f36"/>
                  </a:lnTo>
                  <a:lnTo>
                    <a:pt x="f37" y="f38"/>
                  </a:lnTo>
                  <a:lnTo>
                    <a:pt x="f39" y="f38"/>
                  </a:lnTo>
                  <a:lnTo>
                    <a:pt x="f40" y="f41"/>
                  </a:lnTo>
                  <a:lnTo>
                    <a:pt x="f42" y="f5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10"/>
                  </a:lnTo>
                  <a:lnTo>
                    <a:pt x="f38" y="f38"/>
                  </a:lnTo>
                  <a:lnTo>
                    <a:pt x="f48" y="f49"/>
                  </a:lnTo>
                  <a:lnTo>
                    <a:pt x="f5" y="f50"/>
                  </a:lnTo>
                  <a:lnTo>
                    <a:pt x="f51" y="f52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5" name="Line 449">
              <a:extLst>
                <a:ext uri="{FF2B5EF4-FFF2-40B4-BE49-F238E27FC236}">
                  <a16:creationId xmlns:a16="http://schemas.microsoft.com/office/drawing/2014/main" id="{5CA704A5-3399-CFCE-5373-1F36395E0575}"/>
                </a:ext>
              </a:extLst>
            </p:cNvPr>
            <p:cNvSpPr/>
            <p:nvPr/>
          </p:nvSpPr>
          <p:spPr>
            <a:xfrm>
              <a:off x="8703732" y="3911400"/>
              <a:ext cx="0" cy="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+- 0 0 -180"/>
                <a:gd name="f8" fmla="+- 0 0 -360"/>
                <a:gd name="f9" fmla="abs f3"/>
                <a:gd name="f10" fmla="abs f4"/>
                <a:gd name="f11" fmla="abs f5"/>
                <a:gd name="f12" fmla="val f6"/>
                <a:gd name="f13" fmla="*/ f7 f0 1"/>
                <a:gd name="f14" fmla="*/ f8 f0 1"/>
                <a:gd name="f15" fmla="?: f9 f3 1"/>
                <a:gd name="f16" fmla="?: f10 f4 1"/>
                <a:gd name="f17" fmla="?: f11 f5 1"/>
                <a:gd name="f18" fmla="*/ f13 1 f2"/>
                <a:gd name="f19" fmla="*/ f14 1 f2"/>
                <a:gd name="f20" fmla="*/ f15 1 21600"/>
                <a:gd name="f21" fmla="*/ f16 1 21600"/>
                <a:gd name="f22" fmla="*/ 21600 f15 1"/>
                <a:gd name="f23" fmla="*/ 21600 f16 1"/>
                <a:gd name="f24" fmla="+- f18 0 f1"/>
                <a:gd name="f25" fmla="+- f19 0 f1"/>
                <a:gd name="f26" fmla="min f21 f20"/>
                <a:gd name="f27" fmla="*/ f22 1 f17"/>
                <a:gd name="f28" fmla="*/ f23 1 f17"/>
                <a:gd name="f29" fmla="val f27"/>
                <a:gd name="f30" fmla="val f28"/>
                <a:gd name="f31" fmla="*/ f6 f26 1"/>
                <a:gd name="f32" fmla="*/ f27 f26 1"/>
                <a:gd name="f33" fmla="*/ f28 f26 1"/>
                <a:gd name="f34" fmla="*/ f12 f26 1"/>
                <a:gd name="f35" fmla="*/ f29 f26 1"/>
                <a:gd name="f36" fmla="*/ f30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34" y="f34"/>
                </a:cxn>
                <a:cxn ang="f25">
                  <a:pos x="f35" y="f36"/>
                </a:cxn>
              </a:cxnLst>
              <a:rect l="f31" t="f31" r="f32" b="f33"/>
              <a:pathLst>
                <a:path>
                  <a:moveTo>
                    <a:pt x="f34" y="f34"/>
                  </a:moveTo>
                  <a:lnTo>
                    <a:pt x="f35" y="f36"/>
                  </a:lnTo>
                </a:path>
              </a:pathLst>
            </a:custGeom>
            <a:noFill/>
            <a:ln w="0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6" name="Freeform 506">
              <a:extLst>
                <a:ext uri="{FF2B5EF4-FFF2-40B4-BE49-F238E27FC236}">
                  <a16:creationId xmlns:a16="http://schemas.microsoft.com/office/drawing/2014/main" id="{87483F0D-E63D-C6DB-8351-6AE922437F99}"/>
                </a:ext>
              </a:extLst>
            </p:cNvPr>
            <p:cNvSpPr/>
            <p:nvPr/>
          </p:nvSpPr>
          <p:spPr>
            <a:xfrm>
              <a:off x="8897330" y="3251793"/>
              <a:ext cx="127430" cy="15257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8"/>
                <a:gd name="f7" fmla="val 98"/>
                <a:gd name="f8" fmla="val 32"/>
                <a:gd name="f9" fmla="val 12"/>
                <a:gd name="f10" fmla="val 34"/>
                <a:gd name="f11" fmla="val 20"/>
                <a:gd name="f12" fmla="val 22"/>
                <a:gd name="f13" fmla="val 6"/>
                <a:gd name="f14" fmla="val 56"/>
                <a:gd name="f15" fmla="val 10"/>
                <a:gd name="f16" fmla="val 30"/>
                <a:gd name="f17" fmla="val 70"/>
                <a:gd name="f18" fmla="val 84"/>
                <a:gd name="f19" fmla="val 36"/>
                <a:gd name="f20" fmla="val 92"/>
                <a:gd name="f21" fmla="val 40"/>
                <a:gd name="f22" fmla="val 88"/>
                <a:gd name="f23" fmla="val 68"/>
                <a:gd name="f24" fmla="val 82"/>
                <a:gd name="f25" fmla="val 66"/>
                <a:gd name="f26" fmla="val 64"/>
                <a:gd name="f27" fmla="val 76"/>
                <a:gd name="f28" fmla="val 60"/>
                <a:gd name="f29" fmla="val 46"/>
                <a:gd name="f30" fmla="val 54"/>
                <a:gd name="f31" fmla="val 26"/>
                <a:gd name="f32" fmla="val 16"/>
                <a:gd name="f33" fmla="val 4"/>
                <a:gd name="f34" fmla="val 52"/>
                <a:gd name="f35" fmla="+- 0 0 -90"/>
                <a:gd name="f36" fmla="*/ f3 1 78"/>
                <a:gd name="f37" fmla="*/ f4 1 98"/>
                <a:gd name="f38" fmla="val f5"/>
                <a:gd name="f39" fmla="val f6"/>
                <a:gd name="f40" fmla="val f7"/>
                <a:gd name="f41" fmla="*/ f35 f0 1"/>
                <a:gd name="f42" fmla="+- f40 0 f38"/>
                <a:gd name="f43" fmla="+- f39 0 f38"/>
                <a:gd name="f44" fmla="*/ f41 1 f2"/>
                <a:gd name="f45" fmla="*/ f43 1 78"/>
                <a:gd name="f46" fmla="*/ f42 1 98"/>
                <a:gd name="f47" fmla="*/ 2147483646 f43 1"/>
                <a:gd name="f48" fmla="*/ 2147483646 f42 1"/>
                <a:gd name="f49" fmla="*/ 0 f43 1"/>
                <a:gd name="f50" fmla="*/ 0 f42 1"/>
                <a:gd name="f51" fmla="+- f44 0 f1"/>
                <a:gd name="f52" fmla="*/ f47 1 78"/>
                <a:gd name="f53" fmla="*/ f48 1 98"/>
                <a:gd name="f54" fmla="*/ f49 1 78"/>
                <a:gd name="f55" fmla="*/ f50 1 98"/>
                <a:gd name="f56" fmla="*/ 0 1 f45"/>
                <a:gd name="f57" fmla="*/ f39 1 f45"/>
                <a:gd name="f58" fmla="*/ 0 1 f46"/>
                <a:gd name="f59" fmla="*/ f40 1 f46"/>
                <a:gd name="f60" fmla="*/ f52 1 f45"/>
                <a:gd name="f61" fmla="*/ f53 1 f46"/>
                <a:gd name="f62" fmla="*/ f54 1 f45"/>
                <a:gd name="f63" fmla="*/ f55 1 f46"/>
                <a:gd name="f64" fmla="*/ f56 f36 1"/>
                <a:gd name="f65" fmla="*/ f57 f36 1"/>
                <a:gd name="f66" fmla="*/ f59 f37 1"/>
                <a:gd name="f67" fmla="*/ f58 f37 1"/>
                <a:gd name="f68" fmla="*/ f60 f36 1"/>
                <a:gd name="f69" fmla="*/ f61 f37 1"/>
                <a:gd name="f70" fmla="*/ f62 f36 1"/>
                <a:gd name="f71" fmla="*/ f63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70" y="f69"/>
                </a:cxn>
                <a:cxn ang="f51">
                  <a:pos x="f70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68" y="f71"/>
                </a:cxn>
                <a:cxn ang="f51">
                  <a:pos x="f68" y="f69"/>
                </a:cxn>
              </a:cxnLst>
              <a:rect l="f64" t="f67" r="f65" b="f66"/>
              <a:pathLst>
                <a:path w="78" h="98">
                  <a:moveTo>
                    <a:pt x="f8" y="f9"/>
                  </a:moveTo>
                  <a:lnTo>
                    <a:pt x="f10" y="f8"/>
                  </a:lnTo>
                  <a:lnTo>
                    <a:pt x="f11" y="f12"/>
                  </a:lnTo>
                  <a:lnTo>
                    <a:pt x="f13" y="f10"/>
                  </a:lnTo>
                  <a:lnTo>
                    <a:pt x="f5" y="f14"/>
                  </a:lnTo>
                  <a:lnTo>
                    <a:pt x="f13" y="f14"/>
                  </a:lnTo>
                  <a:lnTo>
                    <a:pt x="f15" y="f14"/>
                  </a:lnTo>
                  <a:lnTo>
                    <a:pt x="f16" y="f17"/>
                  </a:lnTo>
                  <a:lnTo>
                    <a:pt x="f10" y="f18"/>
                  </a:lnTo>
                  <a:lnTo>
                    <a:pt x="f19" y="f20"/>
                  </a:lnTo>
                  <a:lnTo>
                    <a:pt x="f21" y="f7"/>
                  </a:lnTo>
                  <a:lnTo>
                    <a:pt x="f17" y="f22"/>
                  </a:lnTo>
                  <a:lnTo>
                    <a:pt x="f17" y="f18"/>
                  </a:lnTo>
                  <a:lnTo>
                    <a:pt x="f23" y="f24"/>
                  </a:lnTo>
                  <a:lnTo>
                    <a:pt x="f25" y="f6"/>
                  </a:lnTo>
                  <a:lnTo>
                    <a:pt x="f26" y="f27"/>
                  </a:lnTo>
                  <a:lnTo>
                    <a:pt x="f26" y="f28"/>
                  </a:lnTo>
                  <a:lnTo>
                    <a:pt x="f26" y="f29"/>
                  </a:lnTo>
                  <a:lnTo>
                    <a:pt x="f30" y="f31"/>
                  </a:lnTo>
                  <a:lnTo>
                    <a:pt x="f26" y="f32"/>
                  </a:lnTo>
                  <a:lnTo>
                    <a:pt x="f6" y="f33"/>
                  </a:lnTo>
                  <a:lnTo>
                    <a:pt x="f34" y="f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7" name="Freeform 517">
              <a:extLst>
                <a:ext uri="{FF2B5EF4-FFF2-40B4-BE49-F238E27FC236}">
                  <a16:creationId xmlns:a16="http://schemas.microsoft.com/office/drawing/2014/main" id="{AC5DAFB9-CB5B-D44D-A6BB-2F9E3DCFCD44}"/>
                </a:ext>
              </a:extLst>
            </p:cNvPr>
            <p:cNvSpPr/>
            <p:nvPr/>
          </p:nvSpPr>
          <p:spPr>
            <a:xfrm>
              <a:off x="8906317" y="3347809"/>
              <a:ext cx="88221" cy="1027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4"/>
                <a:gd name="f7" fmla="val 66"/>
                <a:gd name="f8" fmla="val 10"/>
                <a:gd name="f9" fmla="val 12"/>
                <a:gd name="f10" fmla="val 36"/>
                <a:gd name="f11" fmla="val 20"/>
                <a:gd name="f12" fmla="val 40"/>
                <a:gd name="f13" fmla="val 60"/>
                <a:gd name="f14" fmla="val 50"/>
                <a:gd name="f15" fmla="val 52"/>
                <a:gd name="f16" fmla="+- 0 0 -90"/>
                <a:gd name="f17" fmla="*/ f3 1 54"/>
                <a:gd name="f18" fmla="*/ f4 1 66"/>
                <a:gd name="f19" fmla="val f5"/>
                <a:gd name="f20" fmla="val f6"/>
                <a:gd name="f21" fmla="val f7"/>
                <a:gd name="f22" fmla="*/ f16 f0 1"/>
                <a:gd name="f23" fmla="+- f21 0 f19"/>
                <a:gd name="f24" fmla="+- f20 0 f19"/>
                <a:gd name="f25" fmla="*/ f22 1 f2"/>
                <a:gd name="f26" fmla="*/ f24 1 54"/>
                <a:gd name="f27" fmla="*/ f23 1 66"/>
                <a:gd name="f28" fmla="*/ 2147483646 f24 1"/>
                <a:gd name="f29" fmla="*/ 2147483646 f23 1"/>
                <a:gd name="f30" fmla="*/ 0 f24 1"/>
                <a:gd name="f31" fmla="*/ 0 f23 1"/>
                <a:gd name="f32" fmla="+- f25 0 f1"/>
                <a:gd name="f33" fmla="*/ f28 1 54"/>
                <a:gd name="f34" fmla="*/ f29 1 66"/>
                <a:gd name="f35" fmla="*/ f30 1 54"/>
                <a:gd name="f36" fmla="*/ f31 1 66"/>
                <a:gd name="f37" fmla="*/ 0 1 f26"/>
                <a:gd name="f38" fmla="*/ f20 1 f26"/>
                <a:gd name="f39" fmla="*/ 0 1 f27"/>
                <a:gd name="f40" fmla="*/ f21 1 f27"/>
                <a:gd name="f41" fmla="*/ f33 1 f26"/>
                <a:gd name="f42" fmla="*/ f34 1 f27"/>
                <a:gd name="f43" fmla="*/ f35 1 f26"/>
                <a:gd name="f44" fmla="*/ f36 1 f27"/>
                <a:gd name="f45" fmla="*/ f37 f17 1"/>
                <a:gd name="f46" fmla="*/ f38 f17 1"/>
                <a:gd name="f47" fmla="*/ f40 f18 1"/>
                <a:gd name="f48" fmla="*/ f39 f18 1"/>
                <a:gd name="f49" fmla="*/ f41 f17 1"/>
                <a:gd name="f50" fmla="*/ f42 f18 1"/>
                <a:gd name="f51" fmla="*/ f43 f17 1"/>
                <a:gd name="f52" fmla="*/ f44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51" y="f50"/>
                </a:cxn>
                <a:cxn ang="f32">
                  <a:pos x="f51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2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  <a:cxn ang="f32">
                  <a:pos x="f49" y="f50"/>
                </a:cxn>
              </a:cxnLst>
              <a:rect l="f45" t="f48" r="f46" b="f47"/>
              <a:pathLst>
                <a:path w="54" h="66">
                  <a:moveTo>
                    <a:pt x="f8" y="f9"/>
                  </a:moveTo>
                  <a:lnTo>
                    <a:pt x="f8" y="f9"/>
                  </a:lnTo>
                  <a:lnTo>
                    <a:pt x="f8" y="f10"/>
                  </a:lnTo>
                  <a:lnTo>
                    <a:pt x="f5" y="f7"/>
                  </a:lnTo>
                  <a:lnTo>
                    <a:pt x="f11" y="f7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6" y="f10"/>
                  </a:lnTo>
                  <a:lnTo>
                    <a:pt x="f12" y="f5"/>
                  </a:lnTo>
                  <a:lnTo>
                    <a:pt x="f8" y="f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8" name="Freeform 410">
              <a:extLst>
                <a:ext uri="{FF2B5EF4-FFF2-40B4-BE49-F238E27FC236}">
                  <a16:creationId xmlns:a16="http://schemas.microsoft.com/office/drawing/2014/main" id="{8E72B8D4-A77D-45C1-C960-3E47FBEBE653}"/>
                </a:ext>
              </a:extLst>
            </p:cNvPr>
            <p:cNvSpPr/>
            <p:nvPr/>
          </p:nvSpPr>
          <p:spPr>
            <a:xfrm>
              <a:off x="3949675" y="4792598"/>
              <a:ext cx="205849" cy="18371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68"/>
                <a:gd name="f7" fmla="val 156"/>
                <a:gd name="f8" fmla="val 48"/>
                <a:gd name="f9" fmla="val 36"/>
                <a:gd name="f10" fmla="val 18"/>
                <a:gd name="f11" fmla="val 72"/>
                <a:gd name="f12" fmla="val 84"/>
                <a:gd name="f13" fmla="val 96"/>
                <a:gd name="f14" fmla="val 90"/>
                <a:gd name="f15" fmla="val 108"/>
                <a:gd name="f16" fmla="val 150"/>
                <a:gd name="f17" fmla="val 114"/>
                <a:gd name="f18" fmla="val 138"/>
                <a:gd name="f19" fmla="val 126"/>
                <a:gd name="f20" fmla="val 162"/>
                <a:gd name="f21" fmla="val 144"/>
                <a:gd name="f22" fmla="val 120"/>
                <a:gd name="f23" fmla="val 54"/>
                <a:gd name="f24" fmla="val 42"/>
                <a:gd name="f25" fmla="val 12"/>
                <a:gd name="f26" fmla="val 6"/>
                <a:gd name="f27" fmla="val 78"/>
                <a:gd name="f28" fmla="+- 0 0 -90"/>
                <a:gd name="f29" fmla="*/ f3 1 168"/>
                <a:gd name="f30" fmla="*/ f4 1 156"/>
                <a:gd name="f31" fmla="val f5"/>
                <a:gd name="f32" fmla="val f6"/>
                <a:gd name="f33" fmla="val f7"/>
                <a:gd name="f34" fmla="*/ f28 f0 1"/>
                <a:gd name="f35" fmla="+- f33 0 f31"/>
                <a:gd name="f36" fmla="+- f32 0 f31"/>
                <a:gd name="f37" fmla="*/ f34 1 f2"/>
                <a:gd name="f38" fmla="*/ f36 1 168"/>
                <a:gd name="f39" fmla="*/ f35 1 156"/>
                <a:gd name="f40" fmla="*/ 2147483646 f36 1"/>
                <a:gd name="f41" fmla="*/ 0 f35 1"/>
                <a:gd name="f42" fmla="*/ 0 f36 1"/>
                <a:gd name="f43" fmla="*/ 2147483646 f35 1"/>
                <a:gd name="f44" fmla="+- f37 0 f1"/>
                <a:gd name="f45" fmla="*/ f40 1 168"/>
                <a:gd name="f46" fmla="*/ f41 1 156"/>
                <a:gd name="f47" fmla="*/ f42 1 168"/>
                <a:gd name="f48" fmla="*/ f43 1 156"/>
                <a:gd name="f49" fmla="*/ 0 1 f38"/>
                <a:gd name="f50" fmla="*/ f32 1 f38"/>
                <a:gd name="f51" fmla="*/ 0 1 f39"/>
                <a:gd name="f52" fmla="*/ f33 1 f39"/>
                <a:gd name="f53" fmla="*/ f45 1 f38"/>
                <a:gd name="f54" fmla="*/ f46 1 f39"/>
                <a:gd name="f55" fmla="*/ f47 1 f38"/>
                <a:gd name="f56" fmla="*/ f48 1 f39"/>
                <a:gd name="f57" fmla="*/ f49 f29 1"/>
                <a:gd name="f58" fmla="*/ f50 f29 1"/>
                <a:gd name="f59" fmla="*/ f52 f30 1"/>
                <a:gd name="f60" fmla="*/ f51 f30 1"/>
                <a:gd name="f61" fmla="*/ f53 f29 1"/>
                <a:gd name="f62" fmla="*/ f54 f30 1"/>
                <a:gd name="f63" fmla="*/ f55 f29 1"/>
                <a:gd name="f64" fmla="*/ f56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4">
                  <a:pos x="f61" y="f62"/>
                </a:cxn>
                <a:cxn ang="f44">
                  <a:pos x="f63" y="f64"/>
                </a:cxn>
                <a:cxn ang="f44">
                  <a:pos x="f63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4"/>
                </a:cxn>
                <a:cxn ang="f44">
                  <a:pos x="f61" y="f62"/>
                </a:cxn>
                <a:cxn ang="f44">
                  <a:pos x="f61" y="f62"/>
                </a:cxn>
              </a:cxnLst>
              <a:rect l="f57" t="f60" r="f58" b="f59"/>
              <a:pathLst>
                <a:path w="168" h="156">
                  <a:moveTo>
                    <a:pt x="f8" y="f5"/>
                  </a:moveTo>
                  <a:lnTo>
                    <a:pt x="f5" y="f9"/>
                  </a:lnTo>
                  <a:lnTo>
                    <a:pt x="f5" y="f8"/>
                  </a:lnTo>
                  <a:lnTo>
                    <a:pt x="f10" y="f11"/>
                  </a:lnTo>
                  <a:lnTo>
                    <a:pt x="f9" y="f12"/>
                  </a:lnTo>
                  <a:lnTo>
                    <a:pt x="f11" y="f13"/>
                  </a:lnTo>
                  <a:lnTo>
                    <a:pt x="f14" y="f15"/>
                  </a:lnTo>
                  <a:lnTo>
                    <a:pt x="f12" y="f16"/>
                  </a:lnTo>
                  <a:lnTo>
                    <a:pt x="f17" y="f7"/>
                  </a:lnTo>
                  <a:lnTo>
                    <a:pt x="f16" y="f18"/>
                  </a:lnTo>
                  <a:lnTo>
                    <a:pt x="f6" y="f19"/>
                  </a:lnTo>
                  <a:lnTo>
                    <a:pt x="f20" y="f17"/>
                  </a:lnTo>
                  <a:lnTo>
                    <a:pt x="f20" y="f14"/>
                  </a:lnTo>
                  <a:lnTo>
                    <a:pt x="f21" y="f12"/>
                  </a:lnTo>
                  <a:lnTo>
                    <a:pt x="f22" y="f23"/>
                  </a:lnTo>
                  <a:lnTo>
                    <a:pt x="f15" y="f24"/>
                  </a:lnTo>
                  <a:lnTo>
                    <a:pt x="f14" y="f25"/>
                  </a:lnTo>
                  <a:lnTo>
                    <a:pt x="f14" y="f26"/>
                  </a:lnTo>
                  <a:lnTo>
                    <a:pt x="f27" y="f5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9" name="Freeform 412">
              <a:extLst>
                <a:ext uri="{FF2B5EF4-FFF2-40B4-BE49-F238E27FC236}">
                  <a16:creationId xmlns:a16="http://schemas.microsoft.com/office/drawing/2014/main" id="{9396CD73-8ED4-D958-94CE-AEEC47C8BAF3}"/>
                </a:ext>
              </a:extLst>
            </p:cNvPr>
            <p:cNvSpPr/>
            <p:nvPr/>
          </p:nvSpPr>
          <p:spPr>
            <a:xfrm>
              <a:off x="3791209" y="4588650"/>
              <a:ext cx="274466" cy="28179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141"/>
                <a:gd name="f7" fmla="val 10000"/>
                <a:gd name="f8" fmla="val 6087"/>
                <a:gd name="f9" fmla="val 9512"/>
                <a:gd name="f10" fmla="val 9024"/>
                <a:gd name="f11" fmla="val 8249"/>
                <a:gd name="f12" fmla="val 7561"/>
                <a:gd name="f13" fmla="val 9600"/>
                <a:gd name="f14" fmla="val 7805"/>
                <a:gd name="f15" fmla="val 6098"/>
                <a:gd name="f16" fmla="val 5122"/>
                <a:gd name="f17" fmla="val 8790"/>
                <a:gd name="f18" fmla="val 4878"/>
                <a:gd name="f19" fmla="val 8519"/>
                <a:gd name="f20" fmla="val 7979"/>
                <a:gd name="f21" fmla="val 4146"/>
                <a:gd name="f22" fmla="val 3171"/>
                <a:gd name="f23" fmla="val 2439"/>
                <a:gd name="f24" fmla="val 4465"/>
                <a:gd name="f25" fmla="val 1707"/>
                <a:gd name="f26" fmla="val 4195"/>
                <a:gd name="f27" fmla="val 244"/>
                <a:gd name="f28" fmla="val 2573"/>
                <a:gd name="f29" fmla="val 1492"/>
                <a:gd name="f30" fmla="val 732"/>
                <a:gd name="f31" fmla="val 411"/>
                <a:gd name="f32" fmla="val 976"/>
                <a:gd name="f33" fmla="val 591"/>
                <a:gd name="f34" fmla="val 1220"/>
                <a:gd name="f35" fmla="val 924"/>
                <a:gd name="f36" fmla="val 1260"/>
                <a:gd name="f37" fmla="val 952"/>
                <a:gd name="f38" fmla="val 980"/>
                <a:gd name="f39" fmla="val 2154"/>
                <a:gd name="f40" fmla="val 691"/>
                <a:gd name="f41" fmla="val 3085"/>
                <a:gd name="f42" fmla="val 578"/>
                <a:gd name="f43" fmla="val 3659"/>
                <a:gd name="f44" fmla="val 465"/>
                <a:gd name="f45" fmla="val 4234"/>
                <a:gd name="f46" fmla="val 368"/>
                <a:gd name="f47" fmla="val 4765"/>
                <a:gd name="f48" fmla="val 272"/>
                <a:gd name="f49" fmla="val 5154"/>
                <a:gd name="f50" fmla="val 176"/>
                <a:gd name="f51" fmla="val 5543"/>
                <a:gd name="f52" fmla="val -27"/>
                <a:gd name="f53" fmla="val 5787"/>
                <a:gd name="f54" fmla="val 2"/>
                <a:gd name="f55" fmla="val 5992"/>
                <a:gd name="f56" fmla="val 31"/>
                <a:gd name="f57" fmla="val 6197"/>
                <a:gd name="f58" fmla="val 243"/>
                <a:gd name="f59" fmla="val 6244"/>
                <a:gd name="f60" fmla="val 446"/>
                <a:gd name="f61" fmla="val 6383"/>
                <a:gd name="f62" fmla="val 649"/>
                <a:gd name="f63" fmla="val 6522"/>
                <a:gd name="f64" fmla="val 1138"/>
                <a:gd name="f65" fmla="val 6592"/>
                <a:gd name="f66" fmla="val 1222"/>
                <a:gd name="f67" fmla="val 6829"/>
                <a:gd name="f68" fmla="val 1306"/>
                <a:gd name="f69" fmla="val 7066"/>
                <a:gd name="f70" fmla="val 1042"/>
                <a:gd name="f71" fmla="val 7480"/>
                <a:gd name="f72" fmla="val 2033"/>
                <a:gd name="f73" fmla="val 2303"/>
                <a:gd name="f74" fmla="val 2844"/>
                <a:gd name="f75" fmla="val 9756"/>
                <a:gd name="f76" fmla="val 3384"/>
                <a:gd name="f77" fmla="val 4736"/>
                <a:gd name="f78" fmla="val 5006"/>
                <a:gd name="f79" fmla="+- 0 0 -90"/>
                <a:gd name="f80" fmla="*/ f3 1 10141"/>
                <a:gd name="f81" fmla="*/ f4 1 10000"/>
                <a:gd name="f82" fmla="val f5"/>
                <a:gd name="f83" fmla="val f6"/>
                <a:gd name="f84" fmla="val f7"/>
                <a:gd name="f85" fmla="*/ f79 f0 1"/>
                <a:gd name="f86" fmla="+- f84 0 f82"/>
                <a:gd name="f87" fmla="+- f83 0 f82"/>
                <a:gd name="f88" fmla="*/ f85 1 f2"/>
                <a:gd name="f89" fmla="*/ f87 1 10141"/>
                <a:gd name="f90" fmla="*/ f86 1 10000"/>
                <a:gd name="f91" fmla="*/ 2147483646 f87 1"/>
                <a:gd name="f92" fmla="*/ 2147483646 f86 1"/>
                <a:gd name="f93" fmla="*/ 0 f86 1"/>
                <a:gd name="f94" fmla="+- f88 0 f1"/>
                <a:gd name="f95" fmla="*/ f91 1 10141"/>
                <a:gd name="f96" fmla="*/ f92 1 10000"/>
                <a:gd name="f97" fmla="*/ f93 1 10000"/>
                <a:gd name="f98" fmla="*/ 0 1 f89"/>
                <a:gd name="f99" fmla="*/ f83 1 f89"/>
                <a:gd name="f100" fmla="*/ 0 1 f90"/>
                <a:gd name="f101" fmla="*/ f84 1 f90"/>
                <a:gd name="f102" fmla="*/ f95 1 f89"/>
                <a:gd name="f103" fmla="*/ f96 1 f90"/>
                <a:gd name="f104" fmla="*/ f97 1 f90"/>
                <a:gd name="f105" fmla="*/ f98 f80 1"/>
                <a:gd name="f106" fmla="*/ f99 f80 1"/>
                <a:gd name="f107" fmla="*/ f101 f81 1"/>
                <a:gd name="f108" fmla="*/ f100 f81 1"/>
                <a:gd name="f109" fmla="*/ f102 f80 1"/>
                <a:gd name="f110" fmla="*/ f103 f81 1"/>
                <a:gd name="f111" fmla="*/ f104 f8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1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  <a:cxn ang="f94">
                  <a:pos x="f109" y="f110"/>
                </a:cxn>
              </a:cxnLst>
              <a:rect l="f105" t="f108" r="f106" b="f107"/>
              <a:pathLst>
                <a:path w="10141" h="10000">
                  <a:moveTo>
                    <a:pt x="f8" y="f9"/>
                  </a:moveTo>
                  <a:lnTo>
                    <a:pt x="f8" y="f10"/>
                  </a:lnTo>
                  <a:lnTo>
                    <a:pt x="f11" y="f12"/>
                  </a:lnTo>
                  <a:lnTo>
                    <a:pt x="f13" y="f12"/>
                  </a:lnTo>
                  <a:lnTo>
                    <a:pt x="f6" y="f14"/>
                  </a:lnTo>
                  <a:lnTo>
                    <a:pt x="f6" y="f15"/>
                  </a:lnTo>
                  <a:lnTo>
                    <a:pt x="f6" y="f16"/>
                  </a:lnTo>
                  <a:cubicBezTo>
                    <a:pt x="f6" y="f16"/>
                    <a:pt x="f17" y="f18"/>
                    <a:pt x="f19" y="f18"/>
                  </a:cubicBezTo>
                  <a:lnTo>
                    <a:pt x="f20" y="f21"/>
                  </a:lnTo>
                  <a:lnTo>
                    <a:pt x="f20" y="f22"/>
                  </a:lnTo>
                  <a:lnTo>
                    <a:pt x="f8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5"/>
                  </a:lnTo>
                  <a:lnTo>
                    <a:pt x="f29" y="f30"/>
                  </a:lnTo>
                  <a:lnTo>
                    <a:pt x="f31" y="f32"/>
                  </a:lnTo>
                  <a:cubicBezTo>
                    <a:pt x="f33" y="f34"/>
                    <a:pt x="f35" y="f36"/>
                    <a:pt x="f37" y="f25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6" y="f67"/>
                  </a:cubicBezTo>
                  <a:cubicBezTo>
                    <a:pt x="f68" y="f69"/>
                    <a:pt x="f70" y="f71"/>
                    <a:pt x="f37" y="f14"/>
                  </a:cubicBezTo>
                  <a:lnTo>
                    <a:pt x="f72" y="f9"/>
                  </a:lnTo>
                  <a:lnTo>
                    <a:pt x="f73" y="f7"/>
                  </a:lnTo>
                  <a:lnTo>
                    <a:pt x="f74" y="f75"/>
                  </a:lnTo>
                  <a:lnTo>
                    <a:pt x="f76" y="f75"/>
                  </a:lnTo>
                  <a:lnTo>
                    <a:pt x="f77" y="f7"/>
                  </a:lnTo>
                  <a:lnTo>
                    <a:pt x="f78" y="f75"/>
                  </a:lnTo>
                  <a:lnTo>
                    <a:pt x="f8" y="f9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0" name="Freeform 405">
              <a:extLst>
                <a:ext uri="{FF2B5EF4-FFF2-40B4-BE49-F238E27FC236}">
                  <a16:creationId xmlns:a16="http://schemas.microsoft.com/office/drawing/2014/main" id="{CCE4C0F1-11FC-7038-A523-A875C4645526}"/>
                </a:ext>
              </a:extLst>
            </p:cNvPr>
            <p:cNvSpPr/>
            <p:nvPr/>
          </p:nvSpPr>
          <p:spPr>
            <a:xfrm>
              <a:off x="3652340" y="4325531"/>
              <a:ext cx="200948" cy="13700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3889"/>
                <a:gd name="f8" fmla="val 2000"/>
                <a:gd name="f9" fmla="val 5556"/>
                <a:gd name="f10" fmla="val 3200"/>
                <a:gd name="f11" fmla="val 7222"/>
                <a:gd name="f12" fmla="val 4800"/>
                <a:gd name="f13" fmla="val 5600"/>
                <a:gd name="f14" fmla="val 8889"/>
                <a:gd name="f15" fmla="val 5268"/>
                <a:gd name="f16" fmla="val 8163"/>
                <a:gd name="f17" fmla="val 6400"/>
                <a:gd name="f18" fmla="val 7200"/>
                <a:gd name="f19" fmla="val 7067"/>
                <a:gd name="f20" fmla="val 2963"/>
                <a:gd name="f21" fmla="val 6933"/>
                <a:gd name="f22" fmla="val 2037"/>
                <a:gd name="f23" fmla="val 6800"/>
                <a:gd name="f24" fmla="val 1111"/>
                <a:gd name="f25" fmla="+- 0 0 -90"/>
                <a:gd name="f26" fmla="*/ f3 1 10000"/>
                <a:gd name="f27" fmla="*/ f4 1 10000"/>
                <a:gd name="f28" fmla="val f5"/>
                <a:gd name="f29" fmla="val f6"/>
                <a:gd name="f30" fmla="*/ f25 f0 1"/>
                <a:gd name="f31" fmla="+- f29 0 f28"/>
                <a:gd name="f32" fmla="*/ f30 1 f2"/>
                <a:gd name="f33" fmla="*/ f31 1 10000"/>
                <a:gd name="f34" fmla="*/ 0 f31 1"/>
                <a:gd name="f35" fmla="*/ 2147483646 f31 1"/>
                <a:gd name="f36" fmla="+- f32 0 f1"/>
                <a:gd name="f37" fmla="*/ f34 1 10000"/>
                <a:gd name="f38" fmla="*/ f35 1 10000"/>
                <a:gd name="f39" fmla="*/ 0 1 f33"/>
                <a:gd name="f40" fmla="*/ f29 1 f33"/>
                <a:gd name="f41" fmla="*/ f37 1 f33"/>
                <a:gd name="f42" fmla="*/ f38 1 f33"/>
                <a:gd name="f43" fmla="*/ f39 f26 1"/>
                <a:gd name="f44" fmla="*/ f40 f26 1"/>
                <a:gd name="f45" fmla="*/ f40 f27 1"/>
                <a:gd name="f46" fmla="*/ f39 f27 1"/>
                <a:gd name="f47" fmla="*/ f41 f26 1"/>
                <a:gd name="f48" fmla="*/ f42 f27 1"/>
                <a:gd name="f49" fmla="*/ f42 f26 1"/>
                <a:gd name="f50" fmla="*/ f41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6">
                  <a:pos x="f47" y="f48"/>
                </a:cxn>
                <a:cxn ang="f36">
                  <a:pos x="f47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48"/>
                </a:cxn>
                <a:cxn ang="f36">
                  <a:pos x="f49" y="f50"/>
                </a:cxn>
              </a:cxnLst>
              <a:rect l="f43" t="f46" r="f44" b="f45"/>
              <a:pathLst>
                <a:path w="10000" h="10000">
                  <a:moveTo>
                    <a:pt x="f5" y="f7"/>
                  </a:moveTo>
                  <a:lnTo>
                    <a:pt x="f5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1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3" y="f14"/>
                  </a:lnTo>
                  <a:lnTo>
                    <a:pt x="f17" y="f6"/>
                  </a:lnTo>
                  <a:lnTo>
                    <a:pt x="f18" y="f7"/>
                  </a:lnTo>
                  <a:cubicBezTo>
                    <a:pt x="f19" y="f20"/>
                    <a:pt x="f21" y="f22"/>
                    <a:pt x="f23" y="f24"/>
                  </a:cubicBezTo>
                  <a:lnTo>
                    <a:pt x="f6" y="f5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1" name="Freeform 407">
              <a:extLst>
                <a:ext uri="{FF2B5EF4-FFF2-40B4-BE49-F238E27FC236}">
                  <a16:creationId xmlns:a16="http://schemas.microsoft.com/office/drawing/2014/main" id="{7213564A-31C6-CE6E-54BD-751FFEADF420}"/>
                </a:ext>
              </a:extLst>
            </p:cNvPr>
            <p:cNvSpPr/>
            <p:nvPr/>
          </p:nvSpPr>
          <p:spPr>
            <a:xfrm>
              <a:off x="3983983" y="4162064"/>
              <a:ext cx="120892" cy="17593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138"/>
                <a:gd name="f8" fmla="val 126"/>
                <a:gd name="f9" fmla="val 78"/>
                <a:gd name="f10" fmla="val 102"/>
                <a:gd name="f11" fmla="val 66"/>
                <a:gd name="f12" fmla="val 84"/>
                <a:gd name="f13" fmla="val 60"/>
                <a:gd name="f14" fmla="val 42"/>
                <a:gd name="f15" fmla="val 36"/>
                <a:gd name="f16" fmla="val 18"/>
                <a:gd name="f17" fmla="val 12"/>
                <a:gd name="f18" fmla="val 24"/>
                <a:gd name="f19" fmla="val 6"/>
                <a:gd name="f20" fmla="val 30"/>
                <a:gd name="f21" fmla="val 120"/>
                <a:gd name="f22" fmla="val 132"/>
                <a:gd name="f23" fmla="+- 0 0 -90"/>
                <a:gd name="f24" fmla="*/ f3 1 90"/>
                <a:gd name="f25" fmla="*/ f4 1 138"/>
                <a:gd name="f26" fmla="val f5"/>
                <a:gd name="f27" fmla="val f6"/>
                <a:gd name="f28" fmla="val f7"/>
                <a:gd name="f29" fmla="*/ f23 f0 1"/>
                <a:gd name="f30" fmla="+- f28 0 f26"/>
                <a:gd name="f31" fmla="+- f27 0 f26"/>
                <a:gd name="f32" fmla="*/ f29 1 f2"/>
                <a:gd name="f33" fmla="*/ f31 1 90"/>
                <a:gd name="f34" fmla="*/ f30 1 138"/>
                <a:gd name="f35" fmla="*/ 2147483646 f31 1"/>
                <a:gd name="f36" fmla="*/ 2147483646 f30 1"/>
                <a:gd name="f37" fmla="*/ 0 f30 1"/>
                <a:gd name="f38" fmla="*/ 0 f31 1"/>
                <a:gd name="f39" fmla="+- f32 0 f1"/>
                <a:gd name="f40" fmla="*/ f35 1 90"/>
                <a:gd name="f41" fmla="*/ f36 1 138"/>
                <a:gd name="f42" fmla="*/ f37 1 138"/>
                <a:gd name="f43" fmla="*/ f38 1 90"/>
                <a:gd name="f44" fmla="*/ 0 1 f33"/>
                <a:gd name="f45" fmla="*/ f27 1 f33"/>
                <a:gd name="f46" fmla="*/ 0 1 f34"/>
                <a:gd name="f47" fmla="*/ f28 1 f34"/>
                <a:gd name="f48" fmla="*/ f40 1 f33"/>
                <a:gd name="f49" fmla="*/ f41 1 f34"/>
                <a:gd name="f50" fmla="*/ f42 1 f34"/>
                <a:gd name="f51" fmla="*/ f43 1 f33"/>
                <a:gd name="f52" fmla="*/ f44 f24 1"/>
                <a:gd name="f53" fmla="*/ f45 f24 1"/>
                <a:gd name="f54" fmla="*/ f47 f25 1"/>
                <a:gd name="f55" fmla="*/ f46 f25 1"/>
                <a:gd name="f56" fmla="*/ f48 f24 1"/>
                <a:gd name="f57" fmla="*/ f49 f25 1"/>
                <a:gd name="f58" fmla="*/ f50 f25 1"/>
                <a:gd name="f59" fmla="*/ f51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8"/>
                </a:cxn>
                <a:cxn ang="f39">
                  <a:pos x="f56" y="f57"/>
                </a:cxn>
                <a:cxn ang="f39">
                  <a:pos x="f59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  <a:cxn ang="f39">
                  <a:pos x="f56" y="f57"/>
                </a:cxn>
              </a:cxnLst>
              <a:rect l="f52" t="f55" r="f53" b="f54"/>
              <a:pathLst>
                <a:path w="90" h="138">
                  <a:moveTo>
                    <a:pt x="f6" y="f8"/>
                  </a:moveTo>
                  <a:lnTo>
                    <a:pt x="f9" y="f10"/>
                  </a:lnTo>
                  <a:lnTo>
                    <a:pt x="f11" y="f9"/>
                  </a:lnTo>
                  <a:lnTo>
                    <a:pt x="f12" y="f13"/>
                  </a:lnTo>
                  <a:lnTo>
                    <a:pt x="f6" y="f14"/>
                  </a:lnTo>
                  <a:lnTo>
                    <a:pt x="f11" y="f15"/>
                  </a:lnTo>
                  <a:lnTo>
                    <a:pt x="f13" y="f16"/>
                  </a:lnTo>
                  <a:lnTo>
                    <a:pt x="f15" y="f5"/>
                  </a:lnTo>
                  <a:lnTo>
                    <a:pt x="f17" y="f18"/>
                  </a:lnTo>
                  <a:lnTo>
                    <a:pt x="f5" y="f14"/>
                  </a:lnTo>
                  <a:lnTo>
                    <a:pt x="f19" y="f13"/>
                  </a:lnTo>
                  <a:lnTo>
                    <a:pt x="f16" y="f11"/>
                  </a:lnTo>
                  <a:lnTo>
                    <a:pt x="f20" y="f12"/>
                  </a:lnTo>
                  <a:lnTo>
                    <a:pt x="f18" y="f21"/>
                  </a:lnTo>
                  <a:lnTo>
                    <a:pt x="f14" y="f7"/>
                  </a:lnTo>
                  <a:lnTo>
                    <a:pt x="f13" y="f22"/>
                  </a:lnTo>
                  <a:lnTo>
                    <a:pt x="f6" y="f8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2" name="Freeform 408">
              <a:extLst>
                <a:ext uri="{FF2B5EF4-FFF2-40B4-BE49-F238E27FC236}">
                  <a16:creationId xmlns:a16="http://schemas.microsoft.com/office/drawing/2014/main" id="{57731505-8A0A-4B1A-9E66-568FA51DE3E9}"/>
                </a:ext>
              </a:extLst>
            </p:cNvPr>
            <p:cNvSpPr/>
            <p:nvPr/>
          </p:nvSpPr>
          <p:spPr>
            <a:xfrm>
              <a:off x="4171856" y="4224335"/>
              <a:ext cx="78418" cy="918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0"/>
                <a:gd name="f7" fmla="val 72"/>
                <a:gd name="f8" fmla="val 6"/>
                <a:gd name="f9" fmla="val 42"/>
                <a:gd name="f10" fmla="val 66"/>
                <a:gd name="f11" fmla="val 12"/>
                <a:gd name="f12" fmla="val 36"/>
                <a:gd name="f13" fmla="val 24"/>
                <a:gd name="f14" fmla="val 18"/>
                <a:gd name="f15" fmla="+- 0 0 -90"/>
                <a:gd name="f16" fmla="*/ f3 1 60"/>
                <a:gd name="f17" fmla="*/ f4 1 72"/>
                <a:gd name="f18" fmla="val f5"/>
                <a:gd name="f19" fmla="val f6"/>
                <a:gd name="f20" fmla="val f7"/>
                <a:gd name="f21" fmla="*/ f15 f0 1"/>
                <a:gd name="f22" fmla="+- f20 0 f18"/>
                <a:gd name="f23" fmla="+- f19 0 f18"/>
                <a:gd name="f24" fmla="*/ f21 1 f2"/>
                <a:gd name="f25" fmla="*/ f23 1 60"/>
                <a:gd name="f26" fmla="*/ f22 1 72"/>
                <a:gd name="f27" fmla="*/ 2147483646 f23 1"/>
                <a:gd name="f28" fmla="*/ 2147483646 f22 1"/>
                <a:gd name="f29" fmla="*/ 0 f22 1"/>
                <a:gd name="f30" fmla="*/ 0 f23 1"/>
                <a:gd name="f31" fmla="+- f24 0 f1"/>
                <a:gd name="f32" fmla="*/ f27 1 60"/>
                <a:gd name="f33" fmla="*/ f28 1 72"/>
                <a:gd name="f34" fmla="*/ f29 1 72"/>
                <a:gd name="f35" fmla="*/ f30 1 60"/>
                <a:gd name="f36" fmla="*/ 0 1 f25"/>
                <a:gd name="f37" fmla="*/ f19 1 f25"/>
                <a:gd name="f38" fmla="*/ 0 1 f26"/>
                <a:gd name="f39" fmla="*/ f20 1 f26"/>
                <a:gd name="f40" fmla="*/ f32 1 f25"/>
                <a:gd name="f41" fmla="*/ f33 1 f26"/>
                <a:gd name="f42" fmla="*/ f34 1 f26"/>
                <a:gd name="f43" fmla="*/ f35 1 f25"/>
                <a:gd name="f44" fmla="*/ f36 f16 1"/>
                <a:gd name="f45" fmla="*/ f37 f16 1"/>
                <a:gd name="f46" fmla="*/ f39 f17 1"/>
                <a:gd name="f47" fmla="*/ f38 f17 1"/>
                <a:gd name="f48" fmla="*/ f40 f16 1"/>
                <a:gd name="f49" fmla="*/ f41 f17 1"/>
                <a:gd name="f50" fmla="*/ f42 f17 1"/>
                <a:gd name="f51" fmla="*/ f4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49"/>
                </a:cxn>
                <a:cxn ang="f31">
                  <a:pos x="f48" y="f50"/>
                </a:cxn>
                <a:cxn ang="f31">
                  <a:pos x="f48" y="f50"/>
                </a:cxn>
                <a:cxn ang="f31">
                  <a:pos x="f51" y="f49"/>
                </a:cxn>
                <a:cxn ang="f31">
                  <a:pos x="f48" y="f49"/>
                </a:cxn>
              </a:cxnLst>
              <a:rect l="f44" t="f47" r="f45" b="f46"/>
              <a:pathLst>
                <a:path w="60" h="72">
                  <a:moveTo>
                    <a:pt x="f8" y="f9"/>
                  </a:moveTo>
                  <a:lnTo>
                    <a:pt x="f8" y="f10"/>
                  </a:lnTo>
                  <a:lnTo>
                    <a:pt x="f11" y="f7"/>
                  </a:lnTo>
                  <a:lnTo>
                    <a:pt x="f12" y="f6"/>
                  </a:lnTo>
                  <a:lnTo>
                    <a:pt x="f6" y="f13"/>
                  </a:lnTo>
                  <a:lnTo>
                    <a:pt x="f14" y="f5"/>
                  </a:lnTo>
                  <a:lnTo>
                    <a:pt x="f8" y="f5"/>
                  </a:lnTo>
                  <a:lnTo>
                    <a:pt x="f5" y="f1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3" name="Freeform 417">
              <a:extLst>
                <a:ext uri="{FF2B5EF4-FFF2-40B4-BE49-F238E27FC236}">
                  <a16:creationId xmlns:a16="http://schemas.microsoft.com/office/drawing/2014/main" id="{3905A3F9-4B0B-D48C-A77D-7DD6886917D3}"/>
                </a:ext>
              </a:extLst>
            </p:cNvPr>
            <p:cNvSpPr/>
            <p:nvPr/>
          </p:nvSpPr>
          <p:spPr>
            <a:xfrm>
              <a:off x="4075469" y="4221226"/>
              <a:ext cx="99660" cy="1074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2"/>
                <a:gd name="f7" fmla="val 84"/>
                <a:gd name="f8" fmla="val 78"/>
                <a:gd name="f9" fmla="val 54"/>
                <a:gd name="f10" fmla="val 66"/>
                <a:gd name="f11" fmla="val 30"/>
                <a:gd name="f12" fmla="val 12"/>
                <a:gd name="f13" fmla="val 24"/>
                <a:gd name="f14" fmla="val 6"/>
                <a:gd name="f15" fmla="val 18"/>
                <a:gd name="f16" fmla="val 36"/>
                <a:gd name="f17" fmla="val 60"/>
                <a:gd name="f18" fmla="val 42"/>
                <a:gd name="f19" fmla="+- 0 0 -90"/>
                <a:gd name="f20" fmla="*/ f3 1 72"/>
                <a:gd name="f21" fmla="*/ f4 1 84"/>
                <a:gd name="f22" fmla="val f5"/>
                <a:gd name="f23" fmla="val f6"/>
                <a:gd name="f24" fmla="val f7"/>
                <a:gd name="f25" fmla="*/ f19 f0 1"/>
                <a:gd name="f26" fmla="+- f24 0 f22"/>
                <a:gd name="f27" fmla="+- f23 0 f22"/>
                <a:gd name="f28" fmla="*/ f25 1 f2"/>
                <a:gd name="f29" fmla="*/ f27 1 72"/>
                <a:gd name="f30" fmla="*/ f26 1 84"/>
                <a:gd name="f31" fmla="*/ 2147483646 f27 1"/>
                <a:gd name="f32" fmla="*/ 2147483646 f26 1"/>
                <a:gd name="f33" fmla="*/ 0 f26 1"/>
                <a:gd name="f34" fmla="*/ 0 f27 1"/>
                <a:gd name="f35" fmla="+- f28 0 f1"/>
                <a:gd name="f36" fmla="*/ f31 1 72"/>
                <a:gd name="f37" fmla="*/ f32 1 84"/>
                <a:gd name="f38" fmla="*/ f33 1 84"/>
                <a:gd name="f39" fmla="*/ f34 1 72"/>
                <a:gd name="f40" fmla="*/ 0 1 f29"/>
                <a:gd name="f41" fmla="*/ f23 1 f29"/>
                <a:gd name="f42" fmla="*/ 0 1 f30"/>
                <a:gd name="f43" fmla="*/ f24 1 f30"/>
                <a:gd name="f44" fmla="*/ f36 1 f29"/>
                <a:gd name="f45" fmla="*/ f37 1 f30"/>
                <a:gd name="f46" fmla="*/ f38 1 f30"/>
                <a:gd name="f47" fmla="*/ f39 1 f29"/>
                <a:gd name="f48" fmla="*/ f40 f20 1"/>
                <a:gd name="f49" fmla="*/ f41 f20 1"/>
                <a:gd name="f50" fmla="*/ f43 f21 1"/>
                <a:gd name="f51" fmla="*/ f42 f21 1"/>
                <a:gd name="f52" fmla="*/ f44 f20 1"/>
                <a:gd name="f53" fmla="*/ f45 f21 1"/>
                <a:gd name="f54" fmla="*/ f46 f21 1"/>
                <a:gd name="f55" fmla="*/ f47 f2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4"/>
                </a:cxn>
                <a:cxn ang="f35">
                  <a:pos x="f52" y="f53"/>
                </a:cxn>
                <a:cxn ang="f35">
                  <a:pos x="f55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  <a:cxn ang="f35">
                  <a:pos x="f52" y="f53"/>
                </a:cxn>
              </a:cxnLst>
              <a:rect l="f48" t="f51" r="f49" b="f50"/>
              <a:pathLst>
                <a:path w="72" h="84">
                  <a:moveTo>
                    <a:pt x="f6" y="f8"/>
                  </a:moveTo>
                  <a:lnTo>
                    <a:pt x="f6" y="f9"/>
                  </a:lnTo>
                  <a:lnTo>
                    <a:pt x="f10" y="f11"/>
                  </a:lnTo>
                  <a:lnTo>
                    <a:pt x="f6" y="f12"/>
                  </a:lnTo>
                  <a:lnTo>
                    <a:pt x="f13" y="f14"/>
                  </a:lnTo>
                  <a:lnTo>
                    <a:pt x="f13" y="f5"/>
                  </a:lnTo>
                  <a:lnTo>
                    <a:pt x="f15" y="f15"/>
                  </a:lnTo>
                  <a:lnTo>
                    <a:pt x="f5" y="f16"/>
                  </a:lnTo>
                  <a:lnTo>
                    <a:pt x="f12" y="f17"/>
                  </a:lnTo>
                  <a:lnTo>
                    <a:pt x="f13" y="f7"/>
                  </a:lnTo>
                  <a:lnTo>
                    <a:pt x="f11" y="f7"/>
                  </a:lnTo>
                  <a:lnTo>
                    <a:pt x="f18" y="f8"/>
                  </a:lnTo>
                  <a:lnTo>
                    <a:pt x="f6" y="f8"/>
                  </a:lnTo>
                </a:path>
              </a:pathLst>
            </a:custGeom>
            <a:noFill/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4" name="Freeform 421">
              <a:extLst>
                <a:ext uri="{FF2B5EF4-FFF2-40B4-BE49-F238E27FC236}">
                  <a16:creationId xmlns:a16="http://schemas.microsoft.com/office/drawing/2014/main" id="{B69C77A5-E2BA-96C3-AC5A-33745A00E3E4}"/>
                </a:ext>
              </a:extLst>
            </p:cNvPr>
            <p:cNvSpPr/>
            <p:nvPr/>
          </p:nvSpPr>
          <p:spPr>
            <a:xfrm>
              <a:off x="3506941" y="4323977"/>
              <a:ext cx="138860" cy="14634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2"/>
                <a:gd name="f7" fmla="val 114"/>
                <a:gd name="f8" fmla="val 24"/>
                <a:gd name="f9" fmla="val 48"/>
                <a:gd name="f10" fmla="val 90"/>
                <a:gd name="f11" fmla="val 66"/>
                <a:gd name="f12" fmla="val 84"/>
                <a:gd name="f13" fmla="val 60"/>
                <a:gd name="f14" fmla="val 36"/>
                <a:gd name="f15" fmla="val 78"/>
                <a:gd name="f16" fmla="val 18"/>
                <a:gd name="f17" fmla="val 30"/>
                <a:gd name="f18" fmla="val 12"/>
                <a:gd name="f19" fmla="val 96"/>
                <a:gd name="f20" fmla="val 6"/>
                <a:gd name="f21" fmla="val 108"/>
                <a:gd name="f22" fmla="+- 0 0 -90"/>
                <a:gd name="f23" fmla="*/ f3 1 102"/>
                <a:gd name="f24" fmla="*/ f4 1 114"/>
                <a:gd name="f25" fmla="val f5"/>
                <a:gd name="f26" fmla="val f6"/>
                <a:gd name="f27" fmla="val f7"/>
                <a:gd name="f28" fmla="*/ f22 f0 1"/>
                <a:gd name="f29" fmla="+- f27 0 f25"/>
                <a:gd name="f30" fmla="+- f26 0 f25"/>
                <a:gd name="f31" fmla="*/ f28 1 f2"/>
                <a:gd name="f32" fmla="*/ f30 1 102"/>
                <a:gd name="f33" fmla="*/ f29 1 114"/>
                <a:gd name="f34" fmla="*/ 2147483646 f30 1"/>
                <a:gd name="f35" fmla="*/ 2147483646 f29 1"/>
                <a:gd name="f36" fmla="*/ 0 f29 1"/>
                <a:gd name="f37" fmla="*/ 0 f30 1"/>
                <a:gd name="f38" fmla="+- f31 0 f1"/>
                <a:gd name="f39" fmla="*/ f34 1 102"/>
                <a:gd name="f40" fmla="*/ f35 1 114"/>
                <a:gd name="f41" fmla="*/ f36 1 114"/>
                <a:gd name="f42" fmla="*/ f37 1 102"/>
                <a:gd name="f43" fmla="*/ 0 1 f32"/>
                <a:gd name="f44" fmla="*/ f26 1 f32"/>
                <a:gd name="f45" fmla="*/ 0 1 f33"/>
                <a:gd name="f46" fmla="*/ f27 1 f33"/>
                <a:gd name="f47" fmla="*/ f39 1 f32"/>
                <a:gd name="f48" fmla="*/ f40 1 f33"/>
                <a:gd name="f49" fmla="*/ f41 1 f33"/>
                <a:gd name="f50" fmla="*/ f42 1 f32"/>
                <a:gd name="f51" fmla="*/ f43 f23 1"/>
                <a:gd name="f52" fmla="*/ f44 f23 1"/>
                <a:gd name="f53" fmla="*/ f46 f24 1"/>
                <a:gd name="f54" fmla="*/ f45 f24 1"/>
                <a:gd name="f55" fmla="*/ f47 f23 1"/>
                <a:gd name="f56" fmla="*/ f48 f24 1"/>
                <a:gd name="f57" fmla="*/ f49 f24 1"/>
                <a:gd name="f58" fmla="*/ f50 f2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6"/>
                </a:cxn>
                <a:cxn ang="f38">
                  <a:pos x="f55" y="f57"/>
                </a:cxn>
                <a:cxn ang="f38">
                  <a:pos x="f55" y="f56"/>
                </a:cxn>
                <a:cxn ang="f38">
                  <a:pos x="f58" y="f56"/>
                </a:cxn>
                <a:cxn ang="f38">
                  <a:pos x="f55" y="f56"/>
                </a:cxn>
                <a:cxn ang="f38">
                  <a:pos x="f58" y="f56"/>
                </a:cxn>
                <a:cxn ang="f38">
                  <a:pos x="f55" y="f56"/>
                </a:cxn>
                <a:cxn ang="f38">
                  <a:pos x="f55" y="f56"/>
                </a:cxn>
              </a:cxnLst>
              <a:rect l="f51" t="f54" r="f52" b="f53"/>
              <a:pathLst>
                <a:path w="102" h="114">
                  <a:moveTo>
                    <a:pt x="f8" y="f7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0" y="f13"/>
                  </a:lnTo>
                  <a:lnTo>
                    <a:pt x="f6" y="f14"/>
                  </a:lnTo>
                  <a:lnTo>
                    <a:pt x="f15" y="f16"/>
                  </a:lnTo>
                  <a:lnTo>
                    <a:pt x="f17" y="f5"/>
                  </a:lnTo>
                  <a:lnTo>
                    <a:pt x="f8" y="f18"/>
                  </a:lnTo>
                  <a:lnTo>
                    <a:pt x="f5" y="f11"/>
                  </a:lnTo>
                  <a:lnTo>
                    <a:pt x="f18" y="f10"/>
                  </a:lnTo>
                  <a:lnTo>
                    <a:pt x="f5" y="f19"/>
                  </a:lnTo>
                  <a:lnTo>
                    <a:pt x="f20" y="f21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5" name="Freeform 263">
              <a:extLst>
                <a:ext uri="{FF2B5EF4-FFF2-40B4-BE49-F238E27FC236}">
                  <a16:creationId xmlns:a16="http://schemas.microsoft.com/office/drawing/2014/main" id="{9C6C16FA-C26A-E59C-7516-3D533BF3E7DD}"/>
                </a:ext>
              </a:extLst>
            </p:cNvPr>
            <p:cNvSpPr/>
            <p:nvPr/>
          </p:nvSpPr>
          <p:spPr>
            <a:xfrm>
              <a:off x="5942784" y="2695485"/>
              <a:ext cx="50648" cy="9496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29209"/>
                <a:gd name="f7" fmla="val 839755"/>
                <a:gd name="f8" fmla="val 53214"/>
                <a:gd name="f9" fmla="val 797282"/>
                <a:gd name="f10" fmla="val 54137"/>
                <a:gd name="f11" fmla="val 718133"/>
                <a:gd name="f12" fmla="val 55061"/>
                <a:gd name="f13" fmla="val 638985"/>
                <a:gd name="f14" fmla="val 55984"/>
                <a:gd name="f15" fmla="val 559836"/>
                <a:gd name="f16" fmla="val 522514"/>
                <a:gd name="f17" fmla="val 111968"/>
                <a:gd name="f18" fmla="val 130628"/>
                <a:gd name="f19" fmla="val 261258"/>
                <a:gd name="f20" fmla="val 391886"/>
                <a:gd name="f21" fmla="val 410547"/>
                <a:gd name="f22" fmla="val 261257"/>
                <a:gd name="f23" fmla="val 223935"/>
                <a:gd name="f24" fmla="val 634481"/>
                <a:gd name="f25" fmla="val 783771"/>
                <a:gd name="f26" fmla="+- 0 0 -90"/>
                <a:gd name="f27" fmla="*/ f3 1 429209"/>
                <a:gd name="f28" fmla="*/ f4 1 839755"/>
                <a:gd name="f29" fmla="val f5"/>
                <a:gd name="f30" fmla="val f6"/>
                <a:gd name="f31" fmla="val f7"/>
                <a:gd name="f32" fmla="*/ f26 f0 1"/>
                <a:gd name="f33" fmla="+- f31 0 f29"/>
                <a:gd name="f34" fmla="+- f30 0 f29"/>
                <a:gd name="f35" fmla="*/ f32 1 f2"/>
                <a:gd name="f36" fmla="*/ f34 1 429209"/>
                <a:gd name="f37" fmla="*/ f33 1 839755"/>
                <a:gd name="f38" fmla="*/ 0 f34 1"/>
                <a:gd name="f39" fmla="*/ 2 f33 1"/>
                <a:gd name="f40" fmla="*/ 1 f33 1"/>
                <a:gd name="f41" fmla="*/ 0 f33 1"/>
                <a:gd name="f42" fmla="*/ 1 f34 1"/>
                <a:gd name="f43" fmla="+- f35 0 f1"/>
                <a:gd name="f44" fmla="*/ f38 1 429209"/>
                <a:gd name="f45" fmla="*/ f39 1 839755"/>
                <a:gd name="f46" fmla="*/ f40 1 839755"/>
                <a:gd name="f47" fmla="*/ f41 1 839755"/>
                <a:gd name="f48" fmla="*/ f42 1 429209"/>
                <a:gd name="f49" fmla="*/ 0 1 f36"/>
                <a:gd name="f50" fmla="*/ f30 1 f36"/>
                <a:gd name="f51" fmla="*/ 0 1 f37"/>
                <a:gd name="f52" fmla="*/ f31 1 f37"/>
                <a:gd name="f53" fmla="*/ f44 1 f36"/>
                <a:gd name="f54" fmla="*/ f45 1 f37"/>
                <a:gd name="f55" fmla="*/ f46 1 f37"/>
                <a:gd name="f56" fmla="*/ f47 1 f37"/>
                <a:gd name="f57" fmla="*/ f48 1 f36"/>
                <a:gd name="f58" fmla="*/ f49 f27 1"/>
                <a:gd name="f59" fmla="*/ f50 f27 1"/>
                <a:gd name="f60" fmla="*/ f52 f28 1"/>
                <a:gd name="f61" fmla="*/ f51 f28 1"/>
                <a:gd name="f62" fmla="*/ f53 f27 1"/>
                <a:gd name="f63" fmla="*/ f54 f28 1"/>
                <a:gd name="f64" fmla="*/ f55 f28 1"/>
                <a:gd name="f65" fmla="*/ f56 f28 1"/>
                <a:gd name="f66" fmla="*/ f57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2" y="f63"/>
                </a:cxn>
                <a:cxn ang="f43">
                  <a:pos x="f62" y="f64"/>
                </a:cxn>
                <a:cxn ang="f43">
                  <a:pos x="f62" y="f64"/>
                </a:cxn>
                <a:cxn ang="f43">
                  <a:pos x="f62" y="f65"/>
                </a:cxn>
                <a:cxn ang="f43">
                  <a:pos x="f66" y="f65"/>
                </a:cxn>
                <a:cxn ang="f43">
                  <a:pos x="f66" y="f65"/>
                </a:cxn>
                <a:cxn ang="f43">
                  <a:pos x="f66" y="f64"/>
                </a:cxn>
                <a:cxn ang="f43">
                  <a:pos x="f66" y="f64"/>
                </a:cxn>
                <a:cxn ang="f43">
                  <a:pos x="f62" y="f64"/>
                </a:cxn>
                <a:cxn ang="f43">
                  <a:pos x="f62" y="f63"/>
                </a:cxn>
                <a:cxn ang="f43">
                  <a:pos x="f62" y="f63"/>
                </a:cxn>
                <a:cxn ang="f43">
                  <a:pos x="f62" y="f63"/>
                </a:cxn>
              </a:cxnLst>
              <a:rect l="f58" t="f61" r="f59" b="f60"/>
              <a:pathLst>
                <a:path w="429209" h="839755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lnTo>
                    <a:pt x="f5" y="f16"/>
                  </a:lnTo>
                  <a:lnTo>
                    <a:pt x="f17" y="f18"/>
                  </a:lnTo>
                  <a:lnTo>
                    <a:pt x="f19" y="f18"/>
                  </a:lnTo>
                  <a:lnTo>
                    <a:pt x="f20" y="f5"/>
                  </a:lnTo>
                  <a:lnTo>
                    <a:pt x="f21" y="f22"/>
                  </a:lnTo>
                  <a:lnTo>
                    <a:pt x="f6" y="f21"/>
                  </a:lnTo>
                  <a:lnTo>
                    <a:pt x="f23" y="f24"/>
                  </a:lnTo>
                  <a:lnTo>
                    <a:pt x="f23" y="f7"/>
                  </a:lnTo>
                  <a:lnTo>
                    <a:pt x="f17" y="f2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6" name="Freeform 295">
              <a:extLst>
                <a:ext uri="{FF2B5EF4-FFF2-40B4-BE49-F238E27FC236}">
                  <a16:creationId xmlns:a16="http://schemas.microsoft.com/office/drawing/2014/main" id="{ACC647EE-AAEA-47F2-F307-E3CCE77A19A2}"/>
                </a:ext>
              </a:extLst>
            </p:cNvPr>
            <p:cNvSpPr/>
            <p:nvPr/>
          </p:nvSpPr>
          <p:spPr>
            <a:xfrm>
              <a:off x="7241579" y="3368054"/>
              <a:ext cx="450899" cy="40945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944"/>
                <a:gd name="f7" fmla="val 10652"/>
                <a:gd name="f8" fmla="val 7267"/>
                <a:gd name="f9" fmla="val 10169"/>
                <a:gd name="f10" fmla="val 7552"/>
                <a:gd name="f11" fmla="val 10018"/>
                <a:gd name="f12" fmla="val 8071"/>
                <a:gd name="f13" fmla="val 10028"/>
                <a:gd name="f14" fmla="val 8061"/>
                <a:gd name="f15" fmla="val 9685"/>
                <a:gd name="f16" fmla="val 8051"/>
                <a:gd name="f17" fmla="val 9342"/>
                <a:gd name="f18" fmla="val 7322"/>
                <a:gd name="f19" fmla="val 8474"/>
                <a:gd name="f20" fmla="val 7207"/>
                <a:gd name="f21" fmla="val 8110"/>
                <a:gd name="f22" fmla="val 7092"/>
                <a:gd name="f23" fmla="val 7746"/>
                <a:gd name="f24" fmla="val 7292"/>
                <a:gd name="f25" fmla="val 7666"/>
                <a:gd name="f26" fmla="val 7371"/>
                <a:gd name="f27" fmla="val 7500"/>
                <a:gd name="f28" fmla="val 7450"/>
                <a:gd name="f29" fmla="val 7334"/>
                <a:gd name="f30" fmla="val 7495"/>
                <a:gd name="f31" fmla="val 7193"/>
                <a:gd name="f32" fmla="val 7679"/>
                <a:gd name="f33" fmla="val 7116"/>
                <a:gd name="f34" fmla="val 7863"/>
                <a:gd name="f35" fmla="val 7039"/>
                <a:gd name="f36" fmla="val 8176"/>
                <a:gd name="f37" fmla="val 7379"/>
                <a:gd name="f38" fmla="val 8772"/>
                <a:gd name="f39" fmla="val 6699"/>
                <a:gd name="f40" fmla="val 9211"/>
                <a:gd name="f41" fmla="val 5615"/>
                <a:gd name="f42" fmla="val 9468"/>
                <a:gd name="f43" fmla="val 5078"/>
                <a:gd name="f44" fmla="val 9725"/>
                <a:gd name="f45" fmla="val 4541"/>
                <a:gd name="f46" fmla="val 9869"/>
                <a:gd name="f47" fmla="val 4241"/>
                <a:gd name="f48" fmla="val 10017"/>
                <a:gd name="f49" fmla="val 3816"/>
                <a:gd name="f50" fmla="val 10165"/>
                <a:gd name="f51" fmla="val 3391"/>
                <a:gd name="f52" fmla="val 10406"/>
                <a:gd name="f53" fmla="val 2817"/>
                <a:gd name="f54" fmla="val 10355"/>
                <a:gd name="f55" fmla="val 2527"/>
                <a:gd name="f56" fmla="val 10304"/>
                <a:gd name="f57" fmla="val 2237"/>
                <a:gd name="f58" fmla="val 9687"/>
                <a:gd name="f59" fmla="val 2325"/>
                <a:gd name="f60" fmla="val 9713"/>
                <a:gd name="f61" fmla="val 2075"/>
                <a:gd name="f62" fmla="val 9740"/>
                <a:gd name="f63" fmla="val 1811"/>
                <a:gd name="f64" fmla="val 9649"/>
                <a:gd name="f65" fmla="val 1164"/>
                <a:gd name="f66" fmla="val 9789"/>
                <a:gd name="f67" fmla="val 1129"/>
                <a:gd name="f68" fmla="val 10290"/>
                <a:gd name="f69" fmla="val 1004"/>
                <a:gd name="f70" fmla="val 10747"/>
                <a:gd name="f71" fmla="val 957"/>
                <a:gd name="f72" fmla="val 10897"/>
                <a:gd name="f73" fmla="val 847"/>
                <a:gd name="f74" fmla="val 11047"/>
                <a:gd name="f75" fmla="val 737"/>
                <a:gd name="f76" fmla="val 10802"/>
                <a:gd name="f77" fmla="val 578"/>
                <a:gd name="f78" fmla="val 10692"/>
                <a:gd name="f79" fmla="val 467"/>
                <a:gd name="f80" fmla="val 10582"/>
                <a:gd name="f81" fmla="val 356"/>
                <a:gd name="f82" fmla="val 10409"/>
                <a:gd name="f83" fmla="val 257"/>
                <a:gd name="f84" fmla="val 10234"/>
                <a:gd name="f85" fmla="val 179"/>
                <a:gd name="f86" fmla="val 10060"/>
                <a:gd name="f87" fmla="val 102"/>
                <a:gd name="f88" fmla="val 9954"/>
                <a:gd name="f89" fmla="val -9"/>
                <a:gd name="f90" fmla="val 9646"/>
                <a:gd name="f91" fmla="val 1"/>
                <a:gd name="f92" fmla="val 9341"/>
                <a:gd name="f93" fmla="val 11"/>
                <a:gd name="f94" fmla="val 8705"/>
                <a:gd name="f95" fmla="val 193"/>
                <a:gd name="f96" fmla="val 8396"/>
                <a:gd name="f97" fmla="val 237"/>
                <a:gd name="f98" fmla="val 8087"/>
                <a:gd name="f99" fmla="val 279"/>
                <a:gd name="f100" fmla="val 8007"/>
                <a:gd name="f101" fmla="val 208"/>
                <a:gd name="f102" fmla="val 7788"/>
                <a:gd name="f103" fmla="val 263"/>
                <a:gd name="f104" fmla="val 7570"/>
                <a:gd name="f105" fmla="val 320"/>
                <a:gd name="f106" fmla="val 7301"/>
                <a:gd name="f107" fmla="val 573"/>
                <a:gd name="f108" fmla="val 7086"/>
                <a:gd name="f109" fmla="val 7035"/>
                <a:gd name="f110" fmla="val 922"/>
                <a:gd name="f111" fmla="val 6959"/>
                <a:gd name="f112" fmla="val 1372"/>
                <a:gd name="f113" fmla="val 6933"/>
                <a:gd name="f114" fmla="val 1623"/>
                <a:gd name="f115" fmla="val 6907"/>
                <a:gd name="f116" fmla="val 1873"/>
                <a:gd name="f117" fmla="val 1924"/>
                <a:gd name="f118" fmla="val 6861"/>
                <a:gd name="f119" fmla="val 2150"/>
                <a:gd name="f120" fmla="val 6794"/>
                <a:gd name="f121" fmla="val 2133"/>
                <a:gd name="f122" fmla="val 6718"/>
                <a:gd name="f123" fmla="val 2301"/>
                <a:gd name="f124" fmla="val 6642"/>
                <a:gd name="f125" fmla="val 2469"/>
                <a:gd name="f126" fmla="val 6556"/>
                <a:gd name="f127" fmla="val 2823"/>
                <a:gd name="f128" fmla="val 6475"/>
                <a:gd name="f129" fmla="val 3084"/>
                <a:gd name="f130" fmla="val 5537"/>
                <a:gd name="f131" fmla="val 3490"/>
                <a:gd name="f132" fmla="val 5221"/>
                <a:gd name="f133" fmla="val 3661"/>
                <a:gd name="f134" fmla="val 4905"/>
                <a:gd name="f135" fmla="val 3832"/>
                <a:gd name="f136" fmla="val 4793"/>
                <a:gd name="f137" fmla="val 3888"/>
                <a:gd name="f138" fmla="val 4580"/>
                <a:gd name="f139" fmla="val 4113"/>
                <a:gd name="f140" fmla="val 4366"/>
                <a:gd name="f141" fmla="val 4338"/>
                <a:gd name="f142" fmla="val 3937"/>
                <a:gd name="f143" fmla="val 5012"/>
                <a:gd name="f144" fmla="val 3074"/>
                <a:gd name="f145" fmla="val 5037"/>
                <a:gd name="f146" fmla="val 2655"/>
                <a:gd name="f147" fmla="val 5245"/>
                <a:gd name="f148" fmla="val 2236"/>
                <a:gd name="f149" fmla="val 5453"/>
                <a:gd name="f150" fmla="val 1833"/>
                <a:gd name="f151" fmla="val 6101"/>
                <a:gd name="f152" fmla="val 1419"/>
                <a:gd name="f153" fmla="val 6260"/>
                <a:gd name="f154" fmla="val 1005"/>
                <a:gd name="f155" fmla="val 6419"/>
                <a:gd name="f156" fmla="val 289"/>
                <a:gd name="f157" fmla="val 6073"/>
                <a:gd name="f158" fmla="val 169"/>
                <a:gd name="f159" fmla="val 6198"/>
                <a:gd name="f160" fmla="val 49"/>
                <a:gd name="f161" fmla="val 6323"/>
                <a:gd name="f162" fmla="val 507"/>
                <a:gd name="f163" fmla="val 6820"/>
                <a:gd name="f164" fmla="val 701"/>
                <a:gd name="f165" fmla="val 7008"/>
                <a:gd name="f166" fmla="val 895"/>
                <a:gd name="f167" fmla="val 7196"/>
                <a:gd name="f168" fmla="val 1223"/>
                <a:gd name="f169" fmla="val 7217"/>
                <a:gd name="f170" fmla="val 1331"/>
                <a:gd name="f171" fmla="val 7324"/>
                <a:gd name="f172" fmla="val 1439"/>
                <a:gd name="f173" fmla="val 7431"/>
                <a:gd name="f174" fmla="val 1341"/>
                <a:gd name="f175" fmla="val 7543"/>
                <a:gd name="f176" fmla="val 1348"/>
                <a:gd name="f177" fmla="val 7649"/>
                <a:gd name="f178" fmla="val 1355"/>
                <a:gd name="f179" fmla="val 7755"/>
                <a:gd name="f180" fmla="val 1428"/>
                <a:gd name="f181" fmla="val 7881"/>
                <a:gd name="f182" fmla="val 7962"/>
                <a:gd name="f183" fmla="val 1316"/>
                <a:gd name="f184" fmla="val 8043"/>
                <a:gd name="f185" fmla="val 1188"/>
                <a:gd name="f186" fmla="val 8009"/>
                <a:gd name="f187" fmla="val 1013"/>
                <a:gd name="f188" fmla="val 8134"/>
                <a:gd name="f189" fmla="val 838"/>
                <a:gd name="f190" fmla="val 8259"/>
                <a:gd name="f191" fmla="val 295"/>
                <a:gd name="f192" fmla="val 8195"/>
                <a:gd name="f193" fmla="val 322"/>
                <a:gd name="f194" fmla="val 8711"/>
                <a:gd name="f195" fmla="val 331"/>
                <a:gd name="f196" fmla="val 8882"/>
                <a:gd name="f197" fmla="val -498"/>
                <a:gd name="f198" fmla="val 8858"/>
                <a:gd name="f199" fmla="val 468"/>
                <a:gd name="f200" fmla="val 9181"/>
                <a:gd name="f201" fmla="val 1434"/>
                <a:gd name="f202" fmla="val 9504"/>
                <a:gd name="f203" fmla="val 5678"/>
                <a:gd name="f204" fmla="val 9982"/>
                <a:gd name="f205" fmla="val 6120"/>
                <a:gd name="f206" fmla="val 6381"/>
                <a:gd name="f207" fmla="val 10504"/>
                <a:gd name="f208" fmla="+- 0 0 -90"/>
                <a:gd name="f209" fmla="*/ f3 1 10944"/>
                <a:gd name="f210" fmla="*/ f4 1 10652"/>
                <a:gd name="f211" fmla="val f5"/>
                <a:gd name="f212" fmla="val f6"/>
                <a:gd name="f213" fmla="val f7"/>
                <a:gd name="f214" fmla="*/ f208 f0 1"/>
                <a:gd name="f215" fmla="+- f213 0 f211"/>
                <a:gd name="f216" fmla="+- f212 0 f211"/>
                <a:gd name="f217" fmla="*/ f214 1 f2"/>
                <a:gd name="f218" fmla="*/ f216 1 10944"/>
                <a:gd name="f219" fmla="*/ f215 1 10652"/>
                <a:gd name="f220" fmla="*/ 2147483646 f216 1"/>
                <a:gd name="f221" fmla="*/ 2147483646 f215 1"/>
                <a:gd name="f222" fmla="*/ 1997793352 f215 1"/>
                <a:gd name="f223" fmla="*/ 1101535252 f215 1"/>
                <a:gd name="f224" fmla="*/ 422176360 f215 1"/>
                <a:gd name="f225" fmla="*/ 2348995 f215 1"/>
                <a:gd name="f226" fmla="*/ 558986835 f215 1"/>
                <a:gd name="f227" fmla="*/ 620348125 f215 1"/>
                <a:gd name="f228" fmla="*/ 1351552467 f215 1"/>
                <a:gd name="f229" fmla="*/ 434246325 f216 1"/>
                <a:gd name="f230" fmla="*/ 1801221118 f216 1"/>
                <a:gd name="f231" fmla="*/ 827358637 f216 1"/>
                <a:gd name="f232" fmla="*/ 1202504557 f216 1"/>
                <a:gd name="f233" fmla="+- f217 0 f1"/>
                <a:gd name="f234" fmla="*/ f220 1 10944"/>
                <a:gd name="f235" fmla="*/ f221 1 10652"/>
                <a:gd name="f236" fmla="*/ f222 1 10652"/>
                <a:gd name="f237" fmla="*/ f223 1 10652"/>
                <a:gd name="f238" fmla="*/ f224 1 10652"/>
                <a:gd name="f239" fmla="*/ f225 1 10652"/>
                <a:gd name="f240" fmla="*/ f226 1 10652"/>
                <a:gd name="f241" fmla="*/ f227 1 10652"/>
                <a:gd name="f242" fmla="*/ f228 1 10652"/>
                <a:gd name="f243" fmla="*/ f229 1 10944"/>
                <a:gd name="f244" fmla="*/ f230 1 10944"/>
                <a:gd name="f245" fmla="*/ f231 1 10944"/>
                <a:gd name="f246" fmla="*/ f232 1 10944"/>
                <a:gd name="f247" fmla="*/ 0 1 f218"/>
                <a:gd name="f248" fmla="*/ f212 1 f218"/>
                <a:gd name="f249" fmla="*/ 0 1 f219"/>
                <a:gd name="f250" fmla="*/ f213 1 f219"/>
                <a:gd name="f251" fmla="*/ f234 1 f218"/>
                <a:gd name="f252" fmla="*/ f235 1 f219"/>
                <a:gd name="f253" fmla="*/ f236 1 f219"/>
                <a:gd name="f254" fmla="*/ f237 1 f219"/>
                <a:gd name="f255" fmla="*/ f238 1 f219"/>
                <a:gd name="f256" fmla="*/ f239 1 f219"/>
                <a:gd name="f257" fmla="*/ f240 1 f219"/>
                <a:gd name="f258" fmla="*/ f241 1 f219"/>
                <a:gd name="f259" fmla="*/ f242 1 f219"/>
                <a:gd name="f260" fmla="*/ f243 1 f218"/>
                <a:gd name="f261" fmla="*/ f244 1 f218"/>
                <a:gd name="f262" fmla="*/ f245 1 f218"/>
                <a:gd name="f263" fmla="*/ f246 1 f218"/>
                <a:gd name="f264" fmla="*/ f247 f209 1"/>
                <a:gd name="f265" fmla="*/ f248 f209 1"/>
                <a:gd name="f266" fmla="*/ f250 f210 1"/>
                <a:gd name="f267" fmla="*/ f249 f210 1"/>
                <a:gd name="f268" fmla="*/ f251 f209 1"/>
                <a:gd name="f269" fmla="*/ f252 f210 1"/>
                <a:gd name="f270" fmla="*/ f253 f210 1"/>
                <a:gd name="f271" fmla="*/ f254 f210 1"/>
                <a:gd name="f272" fmla="*/ f255 f210 1"/>
                <a:gd name="f273" fmla="*/ f256 f210 1"/>
                <a:gd name="f274" fmla="*/ f257 f210 1"/>
                <a:gd name="f275" fmla="*/ f258 f210 1"/>
                <a:gd name="f276" fmla="*/ f259 f210 1"/>
                <a:gd name="f277" fmla="*/ f260 f209 1"/>
                <a:gd name="f278" fmla="*/ f261 f209 1"/>
                <a:gd name="f279" fmla="*/ f262 f209 1"/>
                <a:gd name="f280" fmla="*/ f263 f20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70"/>
                </a:cxn>
                <a:cxn ang="f233">
                  <a:pos x="f268" y="f271"/>
                </a:cxn>
                <a:cxn ang="f233">
                  <a:pos x="f268" y="f272"/>
                </a:cxn>
                <a:cxn ang="f233">
                  <a:pos x="f268" y="f273"/>
                </a:cxn>
                <a:cxn ang="f233">
                  <a:pos x="f268" y="f274"/>
                </a:cxn>
                <a:cxn ang="f233">
                  <a:pos x="f268" y="f275"/>
                </a:cxn>
                <a:cxn ang="f233">
                  <a:pos x="f268" y="f276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77" y="f269"/>
                </a:cxn>
                <a:cxn ang="f233">
                  <a:pos x="f27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79" y="f269"/>
                </a:cxn>
                <a:cxn ang="f233">
                  <a:pos x="f280" y="f269"/>
                </a:cxn>
                <a:cxn ang="f233">
                  <a:pos x="f268" y="f269"/>
                </a:cxn>
                <a:cxn ang="f233">
                  <a:pos x="f268" y="f269"/>
                </a:cxn>
                <a:cxn ang="f233">
                  <a:pos x="f268" y="f269"/>
                </a:cxn>
              </a:cxnLst>
              <a:rect l="f264" t="f267" r="f265" b="f266"/>
              <a:pathLst>
                <a:path w="10944" h="10652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cubicBezTo>
                    <a:pt x="f34" y="f35"/>
                    <a:pt x="f36" y="f37"/>
                    <a:pt x="f19" y="f35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6" y="f67"/>
                  </a:cubicBezTo>
                  <a:cubicBezTo>
                    <a:pt x="f68" y="f69"/>
                    <a:pt x="f70" y="f71"/>
                    <a:pt x="f72" y="f73"/>
                  </a:cubicBezTo>
                  <a:cubicBezTo>
                    <a:pt x="f74" y="f75"/>
                    <a:pt x="f76" y="f77"/>
                    <a:pt x="f78" y="f79"/>
                  </a:cubicBezTo>
                  <a:cubicBezTo>
                    <a:pt x="f80" y="f81"/>
                    <a:pt x="f82" y="f83"/>
                    <a:pt x="f84" y="f85"/>
                  </a:cubicBezTo>
                  <a:cubicBezTo>
                    <a:pt x="f86" y="f87"/>
                    <a:pt x="f88" y="f89"/>
                    <a:pt x="f90" y="f91"/>
                  </a:cubicBezTo>
                  <a:cubicBezTo>
                    <a:pt x="f92" y="f93"/>
                    <a:pt x="f94" y="f95"/>
                    <a:pt x="f96" y="f97"/>
                  </a:cubicBezTo>
                  <a:cubicBezTo>
                    <a:pt x="f98" y="f99"/>
                    <a:pt x="f100" y="f101"/>
                    <a:pt x="f102" y="f103"/>
                  </a:cubicBezTo>
                  <a:cubicBezTo>
                    <a:pt x="f104" y="f105"/>
                    <a:pt x="f106" y="f107"/>
                    <a:pt x="f108" y="f107"/>
                  </a:cubicBezTo>
                  <a:cubicBezTo>
                    <a:pt x="f109" y="f110"/>
                    <a:pt x="f111" y="f112"/>
                    <a:pt x="f113" y="f114"/>
                  </a:cubicBezTo>
                  <a:cubicBezTo>
                    <a:pt x="f115" y="f116"/>
                    <a:pt x="f113" y="f117"/>
                    <a:pt x="f113" y="f61"/>
                  </a:cubicBezTo>
                  <a:cubicBezTo>
                    <a:pt x="f118" y="f119"/>
                    <a:pt x="f120" y="f121"/>
                    <a:pt x="f122" y="f123"/>
                  </a:cubicBezTo>
                  <a:cubicBezTo>
                    <a:pt x="f124" y="f125"/>
                    <a:pt x="f126" y="f127"/>
                    <a:pt x="f128" y="f129"/>
                  </a:cubicBezTo>
                  <a:cubicBezTo>
                    <a:pt x="f128" y="f129"/>
                    <a:pt x="f130" y="f131"/>
                    <a:pt x="f132" y="f133"/>
                  </a:cubicBezTo>
                  <a:cubicBezTo>
                    <a:pt x="f134" y="f135"/>
                    <a:pt x="f136" y="f137"/>
                    <a:pt x="f138" y="f139"/>
                  </a:cubicBezTo>
                  <a:cubicBezTo>
                    <a:pt x="f140" y="f141"/>
                    <a:pt x="f142" y="f143"/>
                    <a:pt x="f142" y="f143"/>
                  </a:cubicBezTo>
                  <a:cubicBezTo>
                    <a:pt x="f142" y="f143"/>
                    <a:pt x="f144" y="f145"/>
                    <a:pt x="f146" y="f147"/>
                  </a:cubicBezTo>
                  <a:cubicBezTo>
                    <a:pt x="f148" y="f149"/>
                    <a:pt x="f150" y="f151"/>
                    <a:pt x="f152" y="f153"/>
                  </a:cubicBezTo>
                  <a:cubicBezTo>
                    <a:pt x="f154" y="f155"/>
                    <a:pt x="f156" y="f157"/>
                    <a:pt x="f158" y="f159"/>
                  </a:cubicBezTo>
                  <a:cubicBezTo>
                    <a:pt x="f160" y="f161"/>
                    <a:pt x="f162" y="f163"/>
                    <a:pt x="f164" y="f165"/>
                  </a:cubicBezTo>
                  <a:cubicBezTo>
                    <a:pt x="f166" y="f167"/>
                    <a:pt x="f168" y="f169"/>
                    <a:pt x="f170" y="f171"/>
                  </a:cubicBezTo>
                  <a:cubicBezTo>
                    <a:pt x="f172" y="f173"/>
                    <a:pt x="f174" y="f175"/>
                    <a:pt x="f176" y="f177"/>
                  </a:cubicBezTo>
                  <a:cubicBezTo>
                    <a:pt x="f178" y="f179"/>
                    <a:pt x="f180" y="f181"/>
                    <a:pt x="f112" y="f182"/>
                  </a:cubicBezTo>
                  <a:cubicBezTo>
                    <a:pt x="f183" y="f184"/>
                    <a:pt x="f185" y="f186"/>
                    <a:pt x="f187" y="f188"/>
                  </a:cubicBezTo>
                  <a:cubicBezTo>
                    <a:pt x="f189" y="f190"/>
                    <a:pt x="f191" y="f192"/>
                    <a:pt x="f193" y="f194"/>
                  </a:cubicBezTo>
                  <a:cubicBezTo>
                    <a:pt x="f195" y="f196"/>
                    <a:pt x="f197" y="f198"/>
                    <a:pt x="f199" y="f200"/>
                  </a:cubicBezTo>
                  <a:cubicBezTo>
                    <a:pt x="f201" y="f202"/>
                    <a:pt x="f203" y="f204"/>
                    <a:pt x="f205" y="f7"/>
                  </a:cubicBezTo>
                  <a:lnTo>
                    <a:pt x="f206" y="f20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7" name="Freeform 297">
              <a:extLst>
                <a:ext uri="{FF2B5EF4-FFF2-40B4-BE49-F238E27FC236}">
                  <a16:creationId xmlns:a16="http://schemas.microsoft.com/office/drawing/2014/main" id="{896867D1-3947-E8AA-D927-DA54946E7BEE}"/>
                </a:ext>
              </a:extLst>
            </p:cNvPr>
            <p:cNvSpPr/>
            <p:nvPr/>
          </p:nvSpPr>
          <p:spPr>
            <a:xfrm>
              <a:off x="7223611" y="3341582"/>
              <a:ext cx="364315" cy="26933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348"/>
                <a:gd name="f7" fmla="val 11017"/>
                <a:gd name="f8" fmla="val 9574"/>
                <a:gd name="f9" fmla="val 329"/>
                <a:gd name="f10" fmla="val 9252"/>
                <a:gd name="f11" fmla="val 611"/>
                <a:gd name="f12" fmla="val 8879"/>
                <a:gd name="f13" fmla="val 1035"/>
                <a:gd name="f14" fmla="val 8609"/>
                <a:gd name="f15" fmla="val 1176"/>
                <a:gd name="f16" fmla="val 8340"/>
                <a:gd name="f17" fmla="val 1317"/>
                <a:gd name="f18" fmla="val 8174"/>
                <a:gd name="f19" fmla="val 7957"/>
                <a:gd name="f20" fmla="val 7884"/>
                <a:gd name="f21" fmla="val 882"/>
                <a:gd name="f22" fmla="val 7812"/>
                <a:gd name="f23" fmla="val 588"/>
                <a:gd name="f24" fmla="val 7739"/>
                <a:gd name="f25" fmla="val 294"/>
                <a:gd name="f26" fmla="val 7522"/>
                <a:gd name="f27" fmla="val 6870"/>
                <a:gd name="f28" fmla="val 6725"/>
                <a:gd name="f29" fmla="val 1078"/>
                <a:gd name="f30" fmla="val 6646"/>
                <a:gd name="f31" fmla="val 1425"/>
                <a:gd name="f32" fmla="val 6435"/>
                <a:gd name="f33" fmla="val 1471"/>
                <a:gd name="f34" fmla="val 6224"/>
                <a:gd name="f35" fmla="val 1517"/>
                <a:gd name="f36" fmla="val 5881"/>
                <a:gd name="f37" fmla="val 1264"/>
                <a:gd name="f38" fmla="val 5604"/>
                <a:gd name="f39" fmla="val 1160"/>
                <a:gd name="f40" fmla="val 5446"/>
                <a:gd name="f41" fmla="val 1165"/>
                <a:gd name="f42" fmla="val 5319"/>
                <a:gd name="f43" fmla="val 1173"/>
                <a:gd name="f44" fmla="val 5131"/>
                <a:gd name="f45" fmla="val 4943"/>
                <a:gd name="f46" fmla="val 1179"/>
                <a:gd name="f47" fmla="val 4696"/>
                <a:gd name="f48" fmla="val 4478"/>
                <a:gd name="f49" fmla="val 3609"/>
                <a:gd name="f50" fmla="val 3536"/>
                <a:gd name="f51" fmla="val 1372"/>
                <a:gd name="f52" fmla="val 3464"/>
                <a:gd name="f53" fmla="val 1863"/>
                <a:gd name="f54" fmla="val 3391"/>
                <a:gd name="f55" fmla="val 2353"/>
                <a:gd name="f56" fmla="val 2305"/>
                <a:gd name="f57" fmla="val 2941"/>
                <a:gd name="f58" fmla="val 1870"/>
                <a:gd name="f59" fmla="val 3529"/>
                <a:gd name="f60" fmla="val 1218"/>
                <a:gd name="f61" fmla="val 3235"/>
                <a:gd name="f62" fmla="val 574"/>
                <a:gd name="f63" fmla="val 2846"/>
                <a:gd name="f64" fmla="val 501"/>
                <a:gd name="f65" fmla="val 3434"/>
                <a:gd name="f66" fmla="val 429"/>
                <a:gd name="f67" fmla="val 4118"/>
                <a:gd name="f68" fmla="val 356"/>
                <a:gd name="f69" fmla="val 4706"/>
                <a:gd name="f70" fmla="val 284"/>
                <a:gd name="f71" fmla="val 5098"/>
                <a:gd name="f72" fmla="val 420"/>
                <a:gd name="f73" fmla="val 5490"/>
                <a:gd name="f74" fmla="val 348"/>
                <a:gd name="f75" fmla="val 5882"/>
                <a:gd name="f76" fmla="val 278"/>
                <a:gd name="f77" fmla="val 6404"/>
                <a:gd name="f78" fmla="val 70"/>
                <a:gd name="f79" fmla="val 7212"/>
                <a:gd name="f80" fmla="val 7734"/>
                <a:gd name="f81" fmla="val 290"/>
                <a:gd name="f82" fmla="val 7930"/>
                <a:gd name="f83" fmla="val 510"/>
                <a:gd name="f84" fmla="val 8221"/>
                <a:gd name="f85" fmla="val 800"/>
                <a:gd name="f86" fmla="val 8417"/>
                <a:gd name="f87" fmla="val 365"/>
                <a:gd name="f88" fmla="val 10182"/>
                <a:gd name="f89" fmla="val 838"/>
                <a:gd name="f90" fmla="val 9339"/>
                <a:gd name="f91" fmla="val 783"/>
                <a:gd name="f92" fmla="val 9706"/>
                <a:gd name="f93" fmla="val 728"/>
                <a:gd name="f94" fmla="val 10073"/>
                <a:gd name="f95" fmla="val 375"/>
                <a:gd name="f96" fmla="val 10425"/>
                <a:gd name="f97" fmla="val 472"/>
                <a:gd name="f98" fmla="val 10621"/>
                <a:gd name="f99" fmla="val 569"/>
                <a:gd name="f100" fmla="val 10817"/>
                <a:gd name="f101" fmla="val 1142"/>
                <a:gd name="f102" fmla="val 10837"/>
                <a:gd name="f103" fmla="val 1365"/>
                <a:gd name="f104" fmla="val 10882"/>
                <a:gd name="f105" fmla="val 1588"/>
                <a:gd name="f106" fmla="val 10927"/>
                <a:gd name="f107" fmla="val 1663"/>
                <a:gd name="f108" fmla="val 10844"/>
                <a:gd name="f109" fmla="val 1808"/>
                <a:gd name="f110" fmla="val 10893"/>
                <a:gd name="f111" fmla="val 1953"/>
                <a:gd name="f112" fmla="val 10942"/>
                <a:gd name="f113" fmla="val 2528"/>
                <a:gd name="f114" fmla="val 11085"/>
                <a:gd name="f115" fmla="val 3024"/>
                <a:gd name="f116" fmla="val 10980"/>
                <a:gd name="f117" fmla="val 3520"/>
                <a:gd name="f118" fmla="val 10875"/>
                <a:gd name="f119" fmla="val 4444"/>
                <a:gd name="f120" fmla="val 10604"/>
                <a:gd name="f121" fmla="val 4782"/>
                <a:gd name="f122" fmla="val 10261"/>
                <a:gd name="f123" fmla="val 5120"/>
                <a:gd name="f124" fmla="val 9918"/>
                <a:gd name="f125" fmla="val 4865"/>
                <a:gd name="f126" fmla="val 9199"/>
                <a:gd name="f127" fmla="val 5051"/>
                <a:gd name="f128" fmla="val 8921"/>
                <a:gd name="f129" fmla="val 5237"/>
                <a:gd name="f130" fmla="val 8643"/>
                <a:gd name="f131" fmla="val 5530"/>
                <a:gd name="f132" fmla="val 8785"/>
                <a:gd name="f133" fmla="val 5896"/>
                <a:gd name="f134" fmla="val 8595"/>
                <a:gd name="f135" fmla="val 6262"/>
                <a:gd name="f136" fmla="val 8405"/>
                <a:gd name="f137" fmla="val 7014"/>
                <a:gd name="f138" fmla="val 8083"/>
                <a:gd name="f139" fmla="val 7247"/>
                <a:gd name="f140" fmla="val 7778"/>
                <a:gd name="f141" fmla="val 7481"/>
                <a:gd name="f142" fmla="val 7473"/>
                <a:gd name="f143" fmla="val 7240"/>
                <a:gd name="f144" fmla="val 6977"/>
                <a:gd name="f145" fmla="val 7297"/>
                <a:gd name="f146" fmla="val 6764"/>
                <a:gd name="f147" fmla="val 7354"/>
                <a:gd name="f148" fmla="val 6552"/>
                <a:gd name="f149" fmla="val 7475"/>
                <a:gd name="f150" fmla="val 6617"/>
                <a:gd name="f151" fmla="val 7587"/>
                <a:gd name="f152" fmla="val 6503"/>
                <a:gd name="f153" fmla="val 7699"/>
                <a:gd name="f154" fmla="val 6389"/>
                <a:gd name="f155" fmla="val 7797"/>
                <a:gd name="f156" fmla="val 6339"/>
                <a:gd name="f157" fmla="val 7969"/>
                <a:gd name="f158" fmla="val 6078"/>
                <a:gd name="f159" fmla="val 8141"/>
                <a:gd name="f160" fmla="val 5817"/>
                <a:gd name="f161" fmla="val 8490"/>
                <a:gd name="f162" fmla="val 5240"/>
                <a:gd name="f163" fmla="val 8619"/>
                <a:gd name="f164" fmla="val 4935"/>
                <a:gd name="f165" fmla="val 8748"/>
                <a:gd name="f166" fmla="val 4630"/>
                <a:gd name="f167" fmla="val 8651"/>
                <a:gd name="f168" fmla="val 4537"/>
                <a:gd name="f169" fmla="val 8743"/>
                <a:gd name="f170" fmla="val 4248"/>
                <a:gd name="f171" fmla="val 8835"/>
                <a:gd name="f172" fmla="val 3959"/>
                <a:gd name="f173" fmla="val 9159"/>
                <a:gd name="f174" fmla="val 3568"/>
                <a:gd name="f175" fmla="val 9173"/>
                <a:gd name="f176" fmla="val 3203"/>
                <a:gd name="f177" fmla="val 9187"/>
                <a:gd name="f178" fmla="val 2838"/>
                <a:gd name="f179" fmla="val 8630"/>
                <a:gd name="f180" fmla="val 2299"/>
                <a:gd name="f181" fmla="val 8826"/>
                <a:gd name="f182" fmla="val 2059"/>
                <a:gd name="f183" fmla="val 9022"/>
                <a:gd name="f184" fmla="val 1819"/>
                <a:gd name="f185" fmla="val 9841"/>
                <a:gd name="f186" fmla="val 1765"/>
                <a:gd name="f187" fmla="val 9913"/>
                <a:gd name="f188" fmla="+- 0 0 -90"/>
                <a:gd name="f189" fmla="*/ f3 1 10348"/>
                <a:gd name="f190" fmla="*/ f4 1 11017"/>
                <a:gd name="f191" fmla="val f5"/>
                <a:gd name="f192" fmla="val f6"/>
                <a:gd name="f193" fmla="val f7"/>
                <a:gd name="f194" fmla="*/ f188 f0 1"/>
                <a:gd name="f195" fmla="+- f193 0 f191"/>
                <a:gd name="f196" fmla="+- f192 0 f191"/>
                <a:gd name="f197" fmla="*/ f194 1 f2"/>
                <a:gd name="f198" fmla="*/ f196 1 10348"/>
                <a:gd name="f199" fmla="*/ f195 1 11017"/>
                <a:gd name="f200" fmla="*/ 2147483646 f196 1"/>
                <a:gd name="f201" fmla="*/ 127370832 f195 1"/>
                <a:gd name="f202" fmla="*/ 455278234 f195 1"/>
                <a:gd name="f203" fmla="*/ 113815526 f195 1"/>
                <a:gd name="f204" fmla="*/ 0 f195 1"/>
                <a:gd name="f205" fmla="*/ 341462085 f195 1"/>
                <a:gd name="f206" fmla="*/ 569480901 f195 1"/>
                <a:gd name="f207" fmla="*/ 449081292 f195 1"/>
                <a:gd name="f208" fmla="*/ 910942986 f195 1"/>
                <a:gd name="f209" fmla="*/ 1138590192 f195 1"/>
                <a:gd name="f210" fmla="*/ 1366221220 f195 1"/>
                <a:gd name="f211" fmla="*/ 1666989379 f196 1"/>
                <a:gd name="f212" fmla="*/ 1252405693 f195 1"/>
                <a:gd name="f213" fmla="*/ 785608426 f196 1"/>
                <a:gd name="f214" fmla="*/ 1101813130 f195 1"/>
                <a:gd name="f215" fmla="*/ 487236657 f196 1"/>
                <a:gd name="f216" fmla="*/ 1821886594 f195 1"/>
                <a:gd name="f217" fmla="*/ 476265638 f196 1"/>
                <a:gd name="f218" fmla="*/ 2147483646 f195 1"/>
                <a:gd name="f219" fmla="*/ 0 f196 1"/>
                <a:gd name="f220" fmla="*/ 1094910263 f196 1"/>
                <a:gd name="f221" fmla="*/ 1071648001 f196 1"/>
                <a:gd name="f222" fmla="*/ 645991505 f196 1"/>
                <a:gd name="f223" fmla="*/ 1868186495 f196 1"/>
                <a:gd name="f224" fmla="*/ 1910544014 f195 1"/>
                <a:gd name="f225" fmla="*/ 1644586688 f195 1"/>
                <a:gd name="f226" fmla="*/ 1240012457 f195 1"/>
                <a:gd name="f227" fmla="*/ 797127484 f195 1"/>
                <a:gd name="f228" fmla="*/ 683311958 f195 1"/>
                <a:gd name="f229" fmla="+- f197 0 f1"/>
                <a:gd name="f230" fmla="*/ f200 1 10348"/>
                <a:gd name="f231" fmla="*/ f201 1 11017"/>
                <a:gd name="f232" fmla="*/ f202 1 11017"/>
                <a:gd name="f233" fmla="*/ f203 1 11017"/>
                <a:gd name="f234" fmla="*/ f204 1 11017"/>
                <a:gd name="f235" fmla="*/ f205 1 11017"/>
                <a:gd name="f236" fmla="*/ f206 1 11017"/>
                <a:gd name="f237" fmla="*/ f207 1 11017"/>
                <a:gd name="f238" fmla="*/ f208 1 11017"/>
                <a:gd name="f239" fmla="*/ f209 1 11017"/>
                <a:gd name="f240" fmla="*/ f210 1 11017"/>
                <a:gd name="f241" fmla="*/ f211 1 10348"/>
                <a:gd name="f242" fmla="*/ f212 1 11017"/>
                <a:gd name="f243" fmla="*/ f213 1 10348"/>
                <a:gd name="f244" fmla="*/ f214 1 11017"/>
                <a:gd name="f245" fmla="*/ f215 1 10348"/>
                <a:gd name="f246" fmla="*/ f216 1 11017"/>
                <a:gd name="f247" fmla="*/ f217 1 10348"/>
                <a:gd name="f248" fmla="*/ f218 1 11017"/>
                <a:gd name="f249" fmla="*/ f219 1 10348"/>
                <a:gd name="f250" fmla="*/ f220 1 10348"/>
                <a:gd name="f251" fmla="*/ f221 1 10348"/>
                <a:gd name="f252" fmla="*/ f222 1 10348"/>
                <a:gd name="f253" fmla="*/ f223 1 10348"/>
                <a:gd name="f254" fmla="*/ f224 1 11017"/>
                <a:gd name="f255" fmla="*/ f225 1 11017"/>
                <a:gd name="f256" fmla="*/ f226 1 11017"/>
                <a:gd name="f257" fmla="*/ f227 1 11017"/>
                <a:gd name="f258" fmla="*/ f228 1 11017"/>
                <a:gd name="f259" fmla="*/ 0 1 f198"/>
                <a:gd name="f260" fmla="*/ f192 1 f198"/>
                <a:gd name="f261" fmla="*/ 0 1 f199"/>
                <a:gd name="f262" fmla="*/ f193 1 f199"/>
                <a:gd name="f263" fmla="*/ f230 1 f198"/>
                <a:gd name="f264" fmla="*/ f231 1 f199"/>
                <a:gd name="f265" fmla="*/ f232 1 f199"/>
                <a:gd name="f266" fmla="*/ f233 1 f199"/>
                <a:gd name="f267" fmla="*/ f234 1 f199"/>
                <a:gd name="f268" fmla="*/ f235 1 f199"/>
                <a:gd name="f269" fmla="*/ f236 1 f199"/>
                <a:gd name="f270" fmla="*/ f237 1 f199"/>
                <a:gd name="f271" fmla="*/ f238 1 f199"/>
                <a:gd name="f272" fmla="*/ f239 1 f199"/>
                <a:gd name="f273" fmla="*/ f240 1 f199"/>
                <a:gd name="f274" fmla="*/ f241 1 f198"/>
                <a:gd name="f275" fmla="*/ f242 1 f199"/>
                <a:gd name="f276" fmla="*/ f243 1 f198"/>
                <a:gd name="f277" fmla="*/ f244 1 f199"/>
                <a:gd name="f278" fmla="*/ f245 1 f198"/>
                <a:gd name="f279" fmla="*/ f246 1 f199"/>
                <a:gd name="f280" fmla="*/ f247 1 f198"/>
                <a:gd name="f281" fmla="*/ f248 1 f199"/>
                <a:gd name="f282" fmla="*/ f249 1 f198"/>
                <a:gd name="f283" fmla="*/ f250 1 f198"/>
                <a:gd name="f284" fmla="*/ f251 1 f198"/>
                <a:gd name="f285" fmla="*/ f252 1 f198"/>
                <a:gd name="f286" fmla="*/ f253 1 f198"/>
                <a:gd name="f287" fmla="*/ f254 1 f199"/>
                <a:gd name="f288" fmla="*/ f255 1 f199"/>
                <a:gd name="f289" fmla="*/ f256 1 f199"/>
                <a:gd name="f290" fmla="*/ f257 1 f199"/>
                <a:gd name="f291" fmla="*/ f258 1 f199"/>
                <a:gd name="f292" fmla="*/ f259 f189 1"/>
                <a:gd name="f293" fmla="*/ f260 f189 1"/>
                <a:gd name="f294" fmla="*/ f262 f190 1"/>
                <a:gd name="f295" fmla="*/ f261 f190 1"/>
                <a:gd name="f296" fmla="*/ f263 f189 1"/>
                <a:gd name="f297" fmla="*/ f264 f190 1"/>
                <a:gd name="f298" fmla="*/ f265 f190 1"/>
                <a:gd name="f299" fmla="*/ f266 f190 1"/>
                <a:gd name="f300" fmla="*/ f267 f190 1"/>
                <a:gd name="f301" fmla="*/ f268 f190 1"/>
                <a:gd name="f302" fmla="*/ f269 f190 1"/>
                <a:gd name="f303" fmla="*/ f270 f190 1"/>
                <a:gd name="f304" fmla="*/ f271 f190 1"/>
                <a:gd name="f305" fmla="*/ f272 f190 1"/>
                <a:gd name="f306" fmla="*/ f273 f190 1"/>
                <a:gd name="f307" fmla="*/ f274 f189 1"/>
                <a:gd name="f308" fmla="*/ f275 f190 1"/>
                <a:gd name="f309" fmla="*/ f276 f189 1"/>
                <a:gd name="f310" fmla="*/ f277 f190 1"/>
                <a:gd name="f311" fmla="*/ f278 f189 1"/>
                <a:gd name="f312" fmla="*/ f279 f190 1"/>
                <a:gd name="f313" fmla="*/ f280 f189 1"/>
                <a:gd name="f314" fmla="*/ f281 f190 1"/>
                <a:gd name="f315" fmla="*/ f282 f189 1"/>
                <a:gd name="f316" fmla="*/ f283 f189 1"/>
                <a:gd name="f317" fmla="*/ f284 f189 1"/>
                <a:gd name="f318" fmla="*/ f285 f189 1"/>
                <a:gd name="f319" fmla="*/ f286 f189 1"/>
                <a:gd name="f320" fmla="*/ f287 f190 1"/>
                <a:gd name="f321" fmla="*/ f288 f190 1"/>
                <a:gd name="f322" fmla="*/ f289 f190 1"/>
                <a:gd name="f323" fmla="*/ f290 f190 1"/>
                <a:gd name="f324" fmla="*/ f291 f19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29">
                  <a:pos x="f296" y="f297"/>
                </a:cxn>
                <a:cxn ang="f229">
                  <a:pos x="f296" y="f298"/>
                </a:cxn>
                <a:cxn ang="f229">
                  <a:pos x="f296" y="f298"/>
                </a:cxn>
                <a:cxn ang="f229">
                  <a:pos x="f296" y="f299"/>
                </a:cxn>
                <a:cxn ang="f229">
                  <a:pos x="f296" y="f300"/>
                </a:cxn>
                <a:cxn ang="f229">
                  <a:pos x="f296" y="f301"/>
                </a:cxn>
                <a:cxn ang="f229">
                  <a:pos x="f296" y="f302"/>
                </a:cxn>
                <a:cxn ang="f229">
                  <a:pos x="f296" y="f303"/>
                </a:cxn>
                <a:cxn ang="f229">
                  <a:pos x="f296" y="f298"/>
                </a:cxn>
                <a:cxn ang="f229">
                  <a:pos x="f296" y="f298"/>
                </a:cxn>
                <a:cxn ang="f229">
                  <a:pos x="f296" y="f301"/>
                </a:cxn>
                <a:cxn ang="f229">
                  <a:pos x="f296" y="f304"/>
                </a:cxn>
                <a:cxn ang="f229">
                  <a:pos x="f296" y="f305"/>
                </a:cxn>
                <a:cxn ang="f229">
                  <a:pos x="f296" y="f306"/>
                </a:cxn>
                <a:cxn ang="f229">
                  <a:pos x="f307" y="f308"/>
                </a:cxn>
                <a:cxn ang="f229">
                  <a:pos x="f309" y="f310"/>
                </a:cxn>
                <a:cxn ang="f229">
                  <a:pos x="f311" y="f312"/>
                </a:cxn>
                <a:cxn ang="f229">
                  <a:pos x="f313" y="f314"/>
                </a:cxn>
                <a:cxn ang="f229">
                  <a:pos x="f315" y="f314"/>
                </a:cxn>
                <a:cxn ang="f229">
                  <a:pos x="f316" y="f314"/>
                </a:cxn>
                <a:cxn ang="f229">
                  <a:pos x="f317" y="f314"/>
                </a:cxn>
                <a:cxn ang="f229">
                  <a:pos x="f318" y="f314"/>
                </a:cxn>
                <a:cxn ang="f229">
                  <a:pos x="f319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14"/>
                </a:cxn>
                <a:cxn ang="f229">
                  <a:pos x="f296" y="f320"/>
                </a:cxn>
                <a:cxn ang="f229">
                  <a:pos x="f296" y="f321"/>
                </a:cxn>
                <a:cxn ang="f229">
                  <a:pos x="f296" y="f322"/>
                </a:cxn>
                <a:cxn ang="f229">
                  <a:pos x="f296" y="f323"/>
                </a:cxn>
                <a:cxn ang="f229">
                  <a:pos x="f296" y="f324"/>
                </a:cxn>
                <a:cxn ang="f229">
                  <a:pos x="f296" y="f301"/>
                </a:cxn>
                <a:cxn ang="f229">
                  <a:pos x="f296" y="f297"/>
                </a:cxn>
              </a:cxnLst>
              <a:rect l="f292" t="f295" r="f293" b="f294"/>
              <a:pathLst>
                <a:path w="10348" h="11017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5"/>
                    <a:pt x="f19" y="f15"/>
                  </a:cubicBezTo>
                  <a:cubicBezTo>
                    <a:pt x="f20" y="f21"/>
                    <a:pt x="f22" y="f23"/>
                    <a:pt x="f24" y="f25"/>
                  </a:cubicBezTo>
                  <a:lnTo>
                    <a:pt x="f26" y="f5"/>
                  </a:lnTo>
                  <a:lnTo>
                    <a:pt x="f27" y="f21"/>
                  </a:lnTo>
                  <a:cubicBezTo>
                    <a:pt x="f28" y="f29"/>
                    <a:pt x="f30" y="f31"/>
                    <a:pt x="f32" y="f33"/>
                  </a:cubicBezTo>
                  <a:cubicBezTo>
                    <a:pt x="f34" y="f35"/>
                    <a:pt x="f36" y="f37"/>
                    <a:pt x="f38" y="f39"/>
                  </a:cubicBezTo>
                  <a:cubicBezTo>
                    <a:pt x="f40" y="f41"/>
                    <a:pt x="f42" y="f43"/>
                    <a:pt x="f44" y="f15"/>
                  </a:cubicBezTo>
                  <a:cubicBezTo>
                    <a:pt x="f45" y="f46"/>
                    <a:pt x="f47" y="f15"/>
                    <a:pt x="f48" y="f15"/>
                  </a:cubicBezTo>
                  <a:lnTo>
                    <a:pt x="f49" y="f21"/>
                  </a:lnTo>
                  <a:cubicBezTo>
                    <a:pt x="f50" y="f51"/>
                    <a:pt x="f52" y="f53"/>
                    <a:pt x="f54" y="f55"/>
                  </a:cubicBez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63"/>
                  </a:lnTo>
                  <a:cubicBezTo>
                    <a:pt x="f64" y="f65"/>
                    <a:pt x="f66" y="f67"/>
                    <a:pt x="f68" y="f69"/>
                  </a:cubicBezTo>
                  <a:cubicBezTo>
                    <a:pt x="f70" y="f71"/>
                    <a:pt x="f72" y="f73"/>
                    <a:pt x="f74" y="f75"/>
                  </a:cubicBezTo>
                  <a:cubicBezTo>
                    <a:pt x="f76" y="f77"/>
                    <a:pt x="f78" y="f79"/>
                    <a:pt x="f5" y="f80"/>
                  </a:cubicBezTo>
                  <a:cubicBezTo>
                    <a:pt x="f81" y="f82"/>
                    <a:pt x="f83" y="f84"/>
                    <a:pt x="f85" y="f86"/>
                  </a:cubicBezTo>
                  <a:cubicBezTo>
                    <a:pt x="f87" y="f88"/>
                    <a:pt x="f89" y="f90"/>
                    <a:pt x="f91" y="f92"/>
                  </a:cubicBezTo>
                  <a:cubicBezTo>
                    <a:pt x="f93" y="f94"/>
                    <a:pt x="f95" y="f96"/>
                    <a:pt x="f97" y="f98"/>
                  </a:cubicBezTo>
                  <a:cubicBezTo>
                    <a:pt x="f99" y="f100"/>
                    <a:pt x="f101" y="f102"/>
                    <a:pt x="f103" y="f104"/>
                  </a:cubicBezTo>
                  <a:cubicBezTo>
                    <a:pt x="f105" y="f106"/>
                    <a:pt x="f107" y="f108"/>
                    <a:pt x="f109" y="f110"/>
                  </a:cubicBezTo>
                  <a:cubicBezTo>
                    <a:pt x="f111" y="f112"/>
                    <a:pt x="f113" y="f114"/>
                    <a:pt x="f115" y="f116"/>
                  </a:cubicBezTo>
                  <a:cubicBezTo>
                    <a:pt x="f117" y="f118"/>
                    <a:pt x="f119" y="f120"/>
                    <a:pt x="f121" y="f122"/>
                  </a:cubicBezTo>
                  <a:cubicBezTo>
                    <a:pt x="f123" y="f124"/>
                    <a:pt x="f125" y="f126"/>
                    <a:pt x="f127" y="f128"/>
                  </a:cubicBezTo>
                  <a:cubicBezTo>
                    <a:pt x="f129" y="f130"/>
                    <a:pt x="f131" y="f132"/>
                    <a:pt x="f133" y="f134"/>
                  </a:cubicBezTo>
                  <a:cubicBezTo>
                    <a:pt x="f135" y="f136"/>
                    <a:pt x="f137" y="f138"/>
                    <a:pt x="f139" y="f140"/>
                  </a:cubicBezTo>
                  <a:cubicBezTo>
                    <a:pt x="f141" y="f142"/>
                    <a:pt x="f143" y="f144"/>
                    <a:pt x="f145" y="f146"/>
                  </a:cubicBezTo>
                  <a:cubicBezTo>
                    <a:pt x="f147" y="f148"/>
                    <a:pt x="f149" y="f150"/>
                    <a:pt x="f151" y="f152"/>
                  </a:cubicBezTo>
                  <a:cubicBezTo>
                    <a:pt x="f153" y="f154"/>
                    <a:pt x="f155" y="f156"/>
                    <a:pt x="f157" y="f158"/>
                  </a:cubicBezTo>
                  <a:cubicBezTo>
                    <a:pt x="f159" y="f160"/>
                    <a:pt x="f161" y="f162"/>
                    <a:pt x="f163" y="f164"/>
                  </a:cubicBezTo>
                  <a:cubicBezTo>
                    <a:pt x="f165" y="f166"/>
                    <a:pt x="f167" y="f168"/>
                    <a:pt x="f169" y="f170"/>
                  </a:cubicBezTo>
                  <a:cubicBezTo>
                    <a:pt x="f171" y="f172"/>
                    <a:pt x="f173" y="f174"/>
                    <a:pt x="f175" y="f176"/>
                  </a:cubicBezTo>
                  <a:cubicBezTo>
                    <a:pt x="f177" y="f178"/>
                    <a:pt x="f179" y="f180"/>
                    <a:pt x="f181" y="f182"/>
                  </a:cubicBezTo>
                  <a:cubicBezTo>
                    <a:pt x="f183" y="f184"/>
                    <a:pt x="f185" y="f53"/>
                    <a:pt x="f6" y="f186"/>
                  </a:cubicBezTo>
                  <a:lnTo>
                    <a:pt x="f187" y="f2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8" name="Freeform 298">
              <a:extLst>
                <a:ext uri="{FF2B5EF4-FFF2-40B4-BE49-F238E27FC236}">
                  <a16:creationId xmlns:a16="http://schemas.microsoft.com/office/drawing/2014/main" id="{5205941F-6028-A90B-5217-DB0CE675950D}"/>
                </a:ext>
              </a:extLst>
            </p:cNvPr>
            <p:cNvSpPr/>
            <p:nvPr/>
          </p:nvSpPr>
          <p:spPr>
            <a:xfrm>
              <a:off x="8042090" y="3743260"/>
              <a:ext cx="115991" cy="13545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0"/>
                <a:gd name="f7" fmla="val 78"/>
                <a:gd name="f8" fmla="val 72"/>
                <a:gd name="f9" fmla="val 42"/>
                <a:gd name="f10" fmla="val 30"/>
                <a:gd name="f11" fmla="val 84"/>
                <a:gd name="f12" fmla="val 18"/>
                <a:gd name="f13" fmla="val 48"/>
                <a:gd name="f14" fmla="val 12"/>
                <a:gd name="f15" fmla="val 6"/>
                <a:gd name="f16" fmla="val 54"/>
                <a:gd name="f17" fmla="val 66"/>
                <a:gd name="f18" fmla="+- 0 0 -90"/>
                <a:gd name="f19" fmla="*/ f3 1 90"/>
                <a:gd name="f20" fmla="*/ f4 1 78"/>
                <a:gd name="f21" fmla="val f5"/>
                <a:gd name="f22" fmla="val f6"/>
                <a:gd name="f23" fmla="val f7"/>
                <a:gd name="f24" fmla="*/ f18 f0 1"/>
                <a:gd name="f25" fmla="+- f23 0 f21"/>
                <a:gd name="f26" fmla="+- f22 0 f21"/>
                <a:gd name="f27" fmla="*/ f24 1 f2"/>
                <a:gd name="f28" fmla="*/ f26 1 90"/>
                <a:gd name="f29" fmla="*/ f25 1 78"/>
                <a:gd name="f30" fmla="*/ 2147483646 f26 1"/>
                <a:gd name="f31" fmla="*/ 2147483646 f25 1"/>
                <a:gd name="f32" fmla="*/ 0 f25 1"/>
                <a:gd name="f33" fmla="*/ 0 f26 1"/>
                <a:gd name="f34" fmla="+- f27 0 f1"/>
                <a:gd name="f35" fmla="*/ f30 1 90"/>
                <a:gd name="f36" fmla="*/ f31 1 78"/>
                <a:gd name="f37" fmla="*/ f32 1 78"/>
                <a:gd name="f38" fmla="*/ f33 1 90"/>
                <a:gd name="f39" fmla="*/ 0 1 f28"/>
                <a:gd name="f40" fmla="*/ f22 1 f28"/>
                <a:gd name="f41" fmla="*/ 0 1 f29"/>
                <a:gd name="f42" fmla="*/ f23 1 f29"/>
                <a:gd name="f43" fmla="*/ f35 1 f28"/>
                <a:gd name="f44" fmla="*/ f36 1 f29"/>
                <a:gd name="f45" fmla="*/ f37 1 f29"/>
                <a:gd name="f46" fmla="*/ f38 1 f28"/>
                <a:gd name="f47" fmla="*/ f39 f19 1"/>
                <a:gd name="f48" fmla="*/ f40 f19 1"/>
                <a:gd name="f49" fmla="*/ f42 f20 1"/>
                <a:gd name="f50" fmla="*/ f41 f20 1"/>
                <a:gd name="f51" fmla="*/ f43 f19 1"/>
                <a:gd name="f52" fmla="*/ f44 f20 1"/>
                <a:gd name="f53" fmla="*/ f45 f20 1"/>
                <a:gd name="f54" fmla="*/ f46 f1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3"/>
                </a:cxn>
                <a:cxn ang="f34">
                  <a:pos x="f51" y="f53"/>
                </a:cxn>
                <a:cxn ang="f34">
                  <a:pos x="f51" y="f52"/>
                </a:cxn>
                <a:cxn ang="f34">
                  <a:pos x="f54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</a:cxnLst>
              <a:rect l="f47" t="f50" r="f48" b="f49"/>
              <a:pathLst>
                <a:path w="90" h="78">
                  <a:moveTo>
                    <a:pt x="f8" y="f9"/>
                  </a:moveTo>
                  <a:lnTo>
                    <a:pt x="f7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0" y="f5"/>
                  </a:lnTo>
                  <a:lnTo>
                    <a:pt x="f14" y="f5"/>
                  </a:lnTo>
                  <a:lnTo>
                    <a:pt x="f15" y="f14"/>
                  </a:lnTo>
                  <a:lnTo>
                    <a:pt x="f5" y="f12"/>
                  </a:lnTo>
                  <a:lnTo>
                    <a:pt x="f15" y="f10"/>
                  </a:lnTo>
                  <a:lnTo>
                    <a:pt x="f12" y="f7"/>
                  </a:lnTo>
                  <a:lnTo>
                    <a:pt x="f16" y="f8"/>
                  </a:lnTo>
                  <a:lnTo>
                    <a:pt x="f7" y="f17"/>
                  </a:lnTo>
                  <a:lnTo>
                    <a:pt x="f11" y="f8"/>
                  </a:lnTo>
                  <a:lnTo>
                    <a:pt x="f6" y="f1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9" name="Freeform 331">
              <a:extLst>
                <a:ext uri="{FF2B5EF4-FFF2-40B4-BE49-F238E27FC236}">
                  <a16:creationId xmlns:a16="http://schemas.microsoft.com/office/drawing/2014/main" id="{4BBE485E-B682-96D4-AD0F-B1604A8A8FF1}"/>
                </a:ext>
              </a:extLst>
            </p:cNvPr>
            <p:cNvSpPr/>
            <p:nvPr/>
          </p:nvSpPr>
          <p:spPr>
            <a:xfrm>
              <a:off x="7792130" y="3564220"/>
              <a:ext cx="220544" cy="1183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11631"/>
                <a:gd name="f8" fmla="val 7686"/>
                <a:gd name="f9" fmla="val 5391"/>
                <a:gd name="f10" fmla="val 5498"/>
                <a:gd name="f11" fmla="val 4472"/>
                <a:gd name="f12" fmla="val 2084"/>
                <a:gd name="f13" fmla="val 1164"/>
                <a:gd name="f14" fmla="val 886"/>
                <a:gd name="f15" fmla="val 4803"/>
                <a:gd name="f16" fmla="val 3459"/>
                <a:gd name="f17" fmla="val 9284"/>
                <a:gd name="f18" fmla="val 5903"/>
                <a:gd name="f19" fmla="val 10259"/>
                <a:gd name="f20" fmla="val 8016"/>
                <a:gd name="f21" fmla="val 8676"/>
                <a:gd name="f22" fmla="val 8710"/>
                <a:gd name="f23" fmla="val 8128"/>
                <a:gd name="f24" fmla="val 8915"/>
                <a:gd name="f25" fmla="val 6759"/>
                <a:gd name="f26" fmla="val 8310"/>
                <a:gd name="f27" fmla="val 6622"/>
                <a:gd name="f28" fmla="val 8207"/>
                <a:gd name="f29" fmla="val 6039"/>
                <a:gd name="f30" fmla="val 7790"/>
                <a:gd name="f31" fmla="val 5973"/>
                <a:gd name="f32" fmla="+- 0 0 -90"/>
                <a:gd name="f33" fmla="*/ f3 1 10000"/>
                <a:gd name="f34" fmla="*/ f4 1 11631"/>
                <a:gd name="f35" fmla="val f5"/>
                <a:gd name="f36" fmla="val f6"/>
                <a:gd name="f37" fmla="val f7"/>
                <a:gd name="f38" fmla="*/ f32 f0 1"/>
                <a:gd name="f39" fmla="+- f37 0 f35"/>
                <a:gd name="f40" fmla="+- f36 0 f35"/>
                <a:gd name="f41" fmla="*/ f38 1 f2"/>
                <a:gd name="f42" fmla="*/ f40 1 10000"/>
                <a:gd name="f43" fmla="*/ f39 1 11631"/>
                <a:gd name="f44" fmla="*/ 2147483646 f40 1"/>
                <a:gd name="f45" fmla="*/ 2147483646 f39 1"/>
                <a:gd name="f46" fmla="*/ 2094439447 f39 1"/>
                <a:gd name="f47" fmla="*/ 545154810 f39 1"/>
                <a:gd name="f48" fmla="*/ 0 f39 1"/>
                <a:gd name="f49" fmla="*/ 0 f40 1"/>
                <a:gd name="f50" fmla="+- f41 0 f1"/>
                <a:gd name="f51" fmla="*/ f44 1 10000"/>
                <a:gd name="f52" fmla="*/ f45 1 11631"/>
                <a:gd name="f53" fmla="*/ f46 1 11631"/>
                <a:gd name="f54" fmla="*/ f47 1 11631"/>
                <a:gd name="f55" fmla="*/ f48 1 11631"/>
                <a:gd name="f56" fmla="*/ f49 1 10000"/>
                <a:gd name="f57" fmla="*/ 0 1 f42"/>
                <a:gd name="f58" fmla="*/ f36 1 f42"/>
                <a:gd name="f59" fmla="*/ 0 1 f43"/>
                <a:gd name="f60" fmla="*/ f37 1 f43"/>
                <a:gd name="f61" fmla="*/ f51 1 f42"/>
                <a:gd name="f62" fmla="*/ f52 1 f43"/>
                <a:gd name="f63" fmla="*/ f53 1 f43"/>
                <a:gd name="f64" fmla="*/ f54 1 f43"/>
                <a:gd name="f65" fmla="*/ f55 1 f43"/>
                <a:gd name="f66" fmla="*/ f56 1 f42"/>
                <a:gd name="f67" fmla="*/ f57 f33 1"/>
                <a:gd name="f68" fmla="*/ f58 f33 1"/>
                <a:gd name="f69" fmla="*/ f60 f34 1"/>
                <a:gd name="f70" fmla="*/ f59 f34 1"/>
                <a:gd name="f71" fmla="*/ f61 f33 1"/>
                <a:gd name="f72" fmla="*/ f62 f34 1"/>
                <a:gd name="f73" fmla="*/ f63 f34 1"/>
                <a:gd name="f74" fmla="*/ f64 f34 1"/>
                <a:gd name="f75" fmla="*/ f65 f34 1"/>
                <a:gd name="f76" fmla="*/ f66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0">
                  <a:pos x="f71" y="f72"/>
                </a:cxn>
                <a:cxn ang="f50">
                  <a:pos x="f71" y="f73"/>
                </a:cxn>
                <a:cxn ang="f50">
                  <a:pos x="f71" y="f74"/>
                </a:cxn>
                <a:cxn ang="f50">
                  <a:pos x="f71" y="f75"/>
                </a:cxn>
                <a:cxn ang="f50">
                  <a:pos x="f76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  <a:cxn ang="f50">
                  <a:pos x="f71" y="f72"/>
                </a:cxn>
              </a:cxnLst>
              <a:rect l="f67" t="f70" r="f68" b="f69"/>
              <a:pathLst>
                <a:path w="10000" h="11631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5"/>
                  </a:lnTo>
                  <a:lnTo>
                    <a:pt x="f5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7"/>
                  </a:lnTo>
                  <a:lnTo>
                    <a:pt x="f21" y="f22"/>
                  </a:lnTo>
                  <a:lnTo>
                    <a:pt x="f6" y="f23"/>
                  </a:lnTo>
                  <a:lnTo>
                    <a:pt x="f24" y="f25"/>
                  </a:lnTo>
                  <a:lnTo>
                    <a:pt x="f26" y="f27"/>
                  </a:lnTo>
                  <a:cubicBezTo>
                    <a:pt x="f28" y="f29"/>
                    <a:pt x="f30" y="f31"/>
                    <a:pt x="f8" y="f9"/>
                  </a:cubicBez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0" name="Freeform 447">
              <a:extLst>
                <a:ext uri="{FF2B5EF4-FFF2-40B4-BE49-F238E27FC236}">
                  <a16:creationId xmlns:a16="http://schemas.microsoft.com/office/drawing/2014/main" id="{AEEFD356-64C6-E238-B193-C0CC8FC2320C}"/>
                </a:ext>
              </a:extLst>
            </p:cNvPr>
            <p:cNvSpPr/>
            <p:nvPr/>
          </p:nvSpPr>
          <p:spPr>
            <a:xfrm>
              <a:off x="8149917" y="3698116"/>
              <a:ext cx="277730" cy="47952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864"/>
                <a:gd name="f7" fmla="val 10000"/>
                <a:gd name="f8" fmla="val 6669"/>
                <a:gd name="f9" fmla="val 5217"/>
                <a:gd name="f10" fmla="val 627"/>
                <a:gd name="f11" fmla="val 4509"/>
                <a:gd name="f12" fmla="val 795"/>
                <a:gd name="f13" fmla="val 4285"/>
                <a:gd name="f14" fmla="val 602"/>
                <a:gd name="f15" fmla="val 1850"/>
                <a:gd name="f16" fmla="val 1511"/>
                <a:gd name="f17" fmla="val 361"/>
                <a:gd name="f18" fmla="val 2700"/>
                <a:gd name="f19" fmla="val 3527"/>
                <a:gd name="f20" fmla="val 2466"/>
                <a:gd name="f21" fmla="val 5401"/>
                <a:gd name="f22" fmla="val 1912"/>
                <a:gd name="f23" fmla="val 6416"/>
                <a:gd name="f24" fmla="val 2658"/>
                <a:gd name="f25" fmla="val 6304"/>
                <a:gd name="f26" fmla="val 4006"/>
                <a:gd name="f27" fmla="val 6725"/>
                <a:gd name="f28" fmla="val 4751"/>
                <a:gd name="f29" fmla="val 6612"/>
                <a:gd name="f30" fmla="val 6380"/>
                <a:gd name="f31" fmla="val 6578"/>
                <a:gd name="f32" fmla="val 5473"/>
                <a:gd name="f33" fmla="val 5791"/>
                <a:gd name="f34" fmla="val 6072"/>
                <a:gd name="f35" fmla="val 6005"/>
                <a:gd name="f36" fmla="val 6683"/>
                <a:gd name="f37" fmla="val 7153"/>
                <a:gd name="f38" fmla="val 7388"/>
                <a:gd name="f39" fmla="val 8015"/>
                <a:gd name="f40" fmla="val 7359"/>
                <a:gd name="f41" fmla="val 8285"/>
                <a:gd name="f42" fmla="val 7584"/>
                <a:gd name="f43" fmla="val 9729"/>
                <a:gd name="f44" fmla="val 7556"/>
                <a:gd name="f45" fmla="val 9007"/>
                <a:gd name="f46" fmla="val 8884"/>
                <a:gd name="f47" fmla="val 8378"/>
                <a:gd name="f48" fmla="val 6935"/>
                <a:gd name="f49" fmla="val 7353"/>
                <a:gd name="f50" fmla="val 6381"/>
                <a:gd name="f51" fmla="val 7865"/>
                <a:gd name="f52" fmla="val 5938"/>
                <a:gd name="f53" fmla="val 7836"/>
                <a:gd name="f54" fmla="val 5815"/>
                <a:gd name="f55" fmla="val 7808"/>
                <a:gd name="f56" fmla="val 5693"/>
                <a:gd name="f57" fmla="val 7779"/>
                <a:gd name="f58" fmla="val 5570"/>
                <a:gd name="f59" fmla="val 6413"/>
                <a:gd name="f60" fmla="val 4795"/>
                <a:gd name="f61" fmla="val 7096"/>
                <a:gd name="f62" fmla="val 4205"/>
                <a:gd name="f63" fmla="val 7916"/>
                <a:gd name="f64" fmla="val 4196"/>
                <a:gd name="f65" fmla="val 9685"/>
                <a:gd name="f66" fmla="val 3821"/>
                <a:gd name="f67" fmla="val 9793"/>
                <a:gd name="f68" fmla="val 3687"/>
                <a:gd name="f69" fmla="val 10219"/>
                <a:gd name="f70" fmla="val 3634"/>
                <a:gd name="f71" fmla="val 10327"/>
                <a:gd name="f72" fmla="val 3500"/>
                <a:gd name="f73" fmla="val 11115"/>
                <a:gd name="f74" fmla="val 3002"/>
                <a:gd name="f75" fmla="val 11093"/>
                <a:gd name="f76" fmla="val 2923"/>
                <a:gd name="f77" fmla="val 12886"/>
                <a:gd name="f78" fmla="val 2990"/>
                <a:gd name="f79" fmla="val 2911"/>
                <a:gd name="f80" fmla="val 12264"/>
                <a:gd name="f81" fmla="val 2052"/>
                <a:gd name="f82" fmla="val 12238"/>
                <a:gd name="f83" fmla="val 1992"/>
                <a:gd name="f84" fmla="val 11078"/>
                <a:gd name="f85" fmla="val 1787"/>
                <a:gd name="f86" fmla="val 11052"/>
                <a:gd name="f87" fmla="val 1727"/>
                <a:gd name="f88" fmla="val 11067"/>
                <a:gd name="f89" fmla="val 1385"/>
                <a:gd name="f90" fmla="val 9494"/>
                <a:gd name="f91" fmla="val 1967"/>
                <a:gd name="f92" fmla="val 9509"/>
                <a:gd name="f93" fmla="val 1625"/>
                <a:gd name="f94" fmla="val 7778"/>
                <a:gd name="f95" fmla="val 1711"/>
                <a:gd name="f96" fmla="val 7430"/>
                <a:gd name="f97" fmla="val 1763"/>
                <a:gd name="f98" fmla="val 1550"/>
                <a:gd name="f99" fmla="val 1254"/>
                <a:gd name="f100" fmla="val 480"/>
                <a:gd name="f101" fmla="+- 0 0 -90"/>
                <a:gd name="f102" fmla="*/ f3 1 12864"/>
                <a:gd name="f103" fmla="*/ f4 1 10000"/>
                <a:gd name="f104" fmla="val f5"/>
                <a:gd name="f105" fmla="val f6"/>
                <a:gd name="f106" fmla="val f7"/>
                <a:gd name="f107" fmla="*/ f101 f0 1"/>
                <a:gd name="f108" fmla="+- f106 0 f104"/>
                <a:gd name="f109" fmla="+- f105 0 f104"/>
                <a:gd name="f110" fmla="*/ f107 1 f2"/>
                <a:gd name="f111" fmla="*/ f109 1 12864"/>
                <a:gd name="f112" fmla="*/ f108 1 10000"/>
                <a:gd name="f113" fmla="*/ 1293612372 f109 1"/>
                <a:gd name="f114" fmla="*/ 0 f108 1"/>
                <a:gd name="f115" fmla="*/ 1011967180 f109 1"/>
                <a:gd name="f116" fmla="*/ 2147483646 f108 1"/>
                <a:gd name="f117" fmla="*/ 874630155 f109 1"/>
                <a:gd name="f118" fmla="*/ 831178203 f109 1"/>
                <a:gd name="f119" fmla="*/ 358854491 f109 1"/>
                <a:gd name="f120" fmla="*/ 70025639 f109 1"/>
                <a:gd name="f121" fmla="*/ 0 f109 1"/>
                <a:gd name="f122" fmla="*/ 478343703 f109 1"/>
                <a:gd name="f123" fmla="*/ 370876432 f109 1"/>
                <a:gd name="f124" fmla="*/ 921572691 f109 1"/>
                <a:gd name="f125" fmla="*/ 1237556645 f109 1"/>
                <a:gd name="f126" fmla="*/ 1061624411 f109 1"/>
                <a:gd name="f127" fmla="*/ 1177817116 f109 1"/>
                <a:gd name="f128" fmla="*/ 1296336297 f109 1"/>
                <a:gd name="f129" fmla="*/ 1433082236 f109 1"/>
                <a:gd name="f130" fmla="*/ 1465667125 f109 1"/>
                <a:gd name="f131" fmla="*/ 1747127470 f109 1"/>
                <a:gd name="f132" fmla="*/ 1625118103 f109 1"/>
                <a:gd name="f133" fmla="*/ 1426296004 f109 1"/>
                <a:gd name="f134" fmla="*/ 1525610004 f109 1"/>
                <a:gd name="f135" fmla="*/ 1508925419 f109 1"/>
                <a:gd name="f136" fmla="*/ 1243955582 f109 1"/>
                <a:gd name="f137" fmla="*/ 1376445116 f109 1"/>
                <a:gd name="f138" fmla="*/ 1535499106 f109 1"/>
                <a:gd name="f139" fmla="*/ 1878647414 f109 1"/>
                <a:gd name="f140" fmla="*/ 2003177775 f109 1"/>
                <a:gd name="f141" fmla="*/ 2147483646 f109 1"/>
                <a:gd name="f142" fmla="*/ 2143802098 f109 1"/>
                <a:gd name="f143" fmla="*/ 1844502730 f109 1"/>
                <a:gd name="f144" fmla="*/ 1508731320 f109 1"/>
                <a:gd name="f145" fmla="*/ 1441226277 f109 1"/>
                <a:gd name="f146" fmla="+- f110 0 f1"/>
                <a:gd name="f147" fmla="*/ f113 1 12864"/>
                <a:gd name="f148" fmla="*/ f114 1 10000"/>
                <a:gd name="f149" fmla="*/ f115 1 12864"/>
                <a:gd name="f150" fmla="*/ f116 1 10000"/>
                <a:gd name="f151" fmla="*/ f117 1 12864"/>
                <a:gd name="f152" fmla="*/ f118 1 12864"/>
                <a:gd name="f153" fmla="*/ f119 1 12864"/>
                <a:gd name="f154" fmla="*/ f120 1 12864"/>
                <a:gd name="f155" fmla="*/ f121 1 12864"/>
                <a:gd name="f156" fmla="*/ f122 1 12864"/>
                <a:gd name="f157" fmla="*/ f123 1 12864"/>
                <a:gd name="f158" fmla="*/ f124 1 12864"/>
                <a:gd name="f159" fmla="*/ f125 1 12864"/>
                <a:gd name="f160" fmla="*/ f126 1 12864"/>
                <a:gd name="f161" fmla="*/ f127 1 12864"/>
                <a:gd name="f162" fmla="*/ f128 1 12864"/>
                <a:gd name="f163" fmla="*/ f129 1 12864"/>
                <a:gd name="f164" fmla="*/ f130 1 12864"/>
                <a:gd name="f165" fmla="*/ f131 1 12864"/>
                <a:gd name="f166" fmla="*/ f132 1 12864"/>
                <a:gd name="f167" fmla="*/ f133 1 12864"/>
                <a:gd name="f168" fmla="*/ f134 1 12864"/>
                <a:gd name="f169" fmla="*/ f135 1 12864"/>
                <a:gd name="f170" fmla="*/ f136 1 12864"/>
                <a:gd name="f171" fmla="*/ f137 1 12864"/>
                <a:gd name="f172" fmla="*/ f138 1 12864"/>
                <a:gd name="f173" fmla="*/ f139 1 12864"/>
                <a:gd name="f174" fmla="*/ f140 1 12864"/>
                <a:gd name="f175" fmla="*/ f141 1 12864"/>
                <a:gd name="f176" fmla="*/ f142 1 12864"/>
                <a:gd name="f177" fmla="*/ f143 1 12864"/>
                <a:gd name="f178" fmla="*/ f144 1 12864"/>
                <a:gd name="f179" fmla="*/ f145 1 12864"/>
                <a:gd name="f180" fmla="*/ 0 1 f111"/>
                <a:gd name="f181" fmla="*/ f105 1 f111"/>
                <a:gd name="f182" fmla="*/ 0 1 f112"/>
                <a:gd name="f183" fmla="*/ f106 1 f112"/>
                <a:gd name="f184" fmla="*/ f147 1 f111"/>
                <a:gd name="f185" fmla="*/ f148 1 f112"/>
                <a:gd name="f186" fmla="*/ f149 1 f111"/>
                <a:gd name="f187" fmla="*/ f150 1 f112"/>
                <a:gd name="f188" fmla="*/ f151 1 f111"/>
                <a:gd name="f189" fmla="*/ f152 1 f111"/>
                <a:gd name="f190" fmla="*/ f153 1 f111"/>
                <a:gd name="f191" fmla="*/ f154 1 f111"/>
                <a:gd name="f192" fmla="*/ f155 1 f111"/>
                <a:gd name="f193" fmla="*/ f156 1 f111"/>
                <a:gd name="f194" fmla="*/ f157 1 f111"/>
                <a:gd name="f195" fmla="*/ f158 1 f111"/>
                <a:gd name="f196" fmla="*/ f159 1 f111"/>
                <a:gd name="f197" fmla="*/ f160 1 f111"/>
                <a:gd name="f198" fmla="*/ f161 1 f111"/>
                <a:gd name="f199" fmla="*/ f162 1 f111"/>
                <a:gd name="f200" fmla="*/ f163 1 f111"/>
                <a:gd name="f201" fmla="*/ f164 1 f111"/>
                <a:gd name="f202" fmla="*/ f165 1 f111"/>
                <a:gd name="f203" fmla="*/ f166 1 f111"/>
                <a:gd name="f204" fmla="*/ f167 1 f111"/>
                <a:gd name="f205" fmla="*/ f168 1 f111"/>
                <a:gd name="f206" fmla="*/ f169 1 f111"/>
                <a:gd name="f207" fmla="*/ f170 1 f111"/>
                <a:gd name="f208" fmla="*/ f171 1 f111"/>
                <a:gd name="f209" fmla="*/ f172 1 f111"/>
                <a:gd name="f210" fmla="*/ f173 1 f111"/>
                <a:gd name="f211" fmla="*/ f174 1 f111"/>
                <a:gd name="f212" fmla="*/ f175 1 f111"/>
                <a:gd name="f213" fmla="*/ f176 1 f111"/>
                <a:gd name="f214" fmla="*/ f177 1 f111"/>
                <a:gd name="f215" fmla="*/ f178 1 f111"/>
                <a:gd name="f216" fmla="*/ f179 1 f111"/>
                <a:gd name="f217" fmla="*/ f180 f102 1"/>
                <a:gd name="f218" fmla="*/ f181 f102 1"/>
                <a:gd name="f219" fmla="*/ f183 f103 1"/>
                <a:gd name="f220" fmla="*/ f182 f103 1"/>
                <a:gd name="f221" fmla="*/ f184 f102 1"/>
                <a:gd name="f222" fmla="*/ f185 f103 1"/>
                <a:gd name="f223" fmla="*/ f186 f102 1"/>
                <a:gd name="f224" fmla="*/ f187 f103 1"/>
                <a:gd name="f225" fmla="*/ f188 f102 1"/>
                <a:gd name="f226" fmla="*/ f189 f102 1"/>
                <a:gd name="f227" fmla="*/ f190 f102 1"/>
                <a:gd name="f228" fmla="*/ f191 f102 1"/>
                <a:gd name="f229" fmla="*/ f192 f102 1"/>
                <a:gd name="f230" fmla="*/ f193 f102 1"/>
                <a:gd name="f231" fmla="*/ f194 f102 1"/>
                <a:gd name="f232" fmla="*/ f195 f102 1"/>
                <a:gd name="f233" fmla="*/ f196 f102 1"/>
                <a:gd name="f234" fmla="*/ f197 f102 1"/>
                <a:gd name="f235" fmla="*/ f198 f102 1"/>
                <a:gd name="f236" fmla="*/ f199 f102 1"/>
                <a:gd name="f237" fmla="*/ f200 f102 1"/>
                <a:gd name="f238" fmla="*/ f201 f102 1"/>
                <a:gd name="f239" fmla="*/ f202 f102 1"/>
                <a:gd name="f240" fmla="*/ f203 f102 1"/>
                <a:gd name="f241" fmla="*/ f204 f102 1"/>
                <a:gd name="f242" fmla="*/ f205 f102 1"/>
                <a:gd name="f243" fmla="*/ f206 f102 1"/>
                <a:gd name="f244" fmla="*/ f207 f102 1"/>
                <a:gd name="f245" fmla="*/ f208 f102 1"/>
                <a:gd name="f246" fmla="*/ f209 f102 1"/>
                <a:gd name="f247" fmla="*/ f210 f102 1"/>
                <a:gd name="f248" fmla="*/ f211 f102 1"/>
                <a:gd name="f249" fmla="*/ f212 f102 1"/>
                <a:gd name="f250" fmla="*/ f213 f102 1"/>
                <a:gd name="f251" fmla="*/ f214 f102 1"/>
                <a:gd name="f252" fmla="*/ f215 f102 1"/>
                <a:gd name="f253" fmla="*/ f216 f10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46">
                  <a:pos x="f221" y="f222"/>
                </a:cxn>
                <a:cxn ang="f146">
                  <a:pos x="f223" y="f224"/>
                </a:cxn>
                <a:cxn ang="f146">
                  <a:pos x="f225" y="f224"/>
                </a:cxn>
                <a:cxn ang="f146">
                  <a:pos x="f226" y="f224"/>
                </a:cxn>
                <a:cxn ang="f146">
                  <a:pos x="f227" y="f224"/>
                </a:cxn>
                <a:cxn ang="f146">
                  <a:pos x="f228" y="f224"/>
                </a:cxn>
                <a:cxn ang="f146">
                  <a:pos x="f229" y="f224"/>
                </a:cxn>
                <a:cxn ang="f146">
                  <a:pos x="f230" y="f224"/>
                </a:cxn>
                <a:cxn ang="f146">
                  <a:pos x="f231" y="f224"/>
                </a:cxn>
                <a:cxn ang="f146">
                  <a:pos x="f232" y="f224"/>
                </a:cxn>
                <a:cxn ang="f146">
                  <a:pos x="f233" y="f224"/>
                </a:cxn>
                <a:cxn ang="f146">
                  <a:pos x="f234" y="f224"/>
                </a:cxn>
                <a:cxn ang="f146">
                  <a:pos x="f235" y="f224"/>
                </a:cxn>
                <a:cxn ang="f146">
                  <a:pos x="f236" y="f224"/>
                </a:cxn>
                <a:cxn ang="f146">
                  <a:pos x="f237" y="f224"/>
                </a:cxn>
                <a:cxn ang="f146">
                  <a:pos x="f238" y="f224"/>
                </a:cxn>
                <a:cxn ang="f146">
                  <a:pos x="f239" y="f224"/>
                </a:cxn>
                <a:cxn ang="f146">
                  <a:pos x="f240" y="f224"/>
                </a:cxn>
                <a:cxn ang="f146">
                  <a:pos x="f241" y="f224"/>
                </a:cxn>
                <a:cxn ang="f146">
                  <a:pos x="f242" y="f224"/>
                </a:cxn>
                <a:cxn ang="f146">
                  <a:pos x="f243" y="f224"/>
                </a:cxn>
                <a:cxn ang="f146">
                  <a:pos x="f244" y="f224"/>
                </a:cxn>
                <a:cxn ang="f146">
                  <a:pos x="f245" y="f224"/>
                </a:cxn>
                <a:cxn ang="f146">
                  <a:pos x="f246" y="f224"/>
                </a:cxn>
                <a:cxn ang="f146">
                  <a:pos x="f247" y="f224"/>
                </a:cxn>
                <a:cxn ang="f146">
                  <a:pos x="f248" y="f224"/>
                </a:cxn>
                <a:cxn ang="f146">
                  <a:pos x="f249" y="f224"/>
                </a:cxn>
                <a:cxn ang="f146">
                  <a:pos x="f249" y="f224"/>
                </a:cxn>
                <a:cxn ang="f146">
                  <a:pos x="f249" y="f224"/>
                </a:cxn>
                <a:cxn ang="f146">
                  <a:pos x="f250" y="f224"/>
                </a:cxn>
                <a:cxn ang="f146">
                  <a:pos x="f251" y="f224"/>
                </a:cxn>
                <a:cxn ang="f146">
                  <a:pos x="f252" y="f224"/>
                </a:cxn>
                <a:cxn ang="f146">
                  <a:pos x="f253" y="f224"/>
                </a:cxn>
                <a:cxn ang="f146">
                  <a:pos x="f245" y="f224"/>
                </a:cxn>
                <a:cxn ang="f146">
                  <a:pos x="f242" y="f224"/>
                </a:cxn>
                <a:cxn ang="f146">
                  <a:pos x="f242" y="f224"/>
                </a:cxn>
                <a:cxn ang="f146">
                  <a:pos x="f221" y="f222"/>
                </a:cxn>
              </a:cxnLst>
              <a:rect l="f217" t="f220" r="f218" b="f219"/>
              <a:pathLst>
                <a:path w="12864" h="10000">
                  <a:moveTo>
                    <a:pt x="f8" y="f5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5" y="f19"/>
                  </a:lnTo>
                  <a:lnTo>
                    <a:pt x="f20" y="f21"/>
                  </a:lnTo>
                  <a:lnTo>
                    <a:pt x="f22" y="f23"/>
                  </a:lnTo>
                  <a:cubicBezTo>
                    <a:pt x="f24" y="f25"/>
                    <a:pt x="f26" y="f27"/>
                    <a:pt x="f28" y="f29"/>
                  </a:cubicBez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cubicBezTo>
                    <a:pt x="f40" y="f41"/>
                    <a:pt x="f42" y="f43"/>
                    <a:pt x="f44" y="f7"/>
                  </a:cubicBezTo>
                  <a:lnTo>
                    <a:pt x="f45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52"/>
                  </a:lnTo>
                  <a:cubicBezTo>
                    <a:pt x="f53" y="f54"/>
                    <a:pt x="f55" y="f56"/>
                    <a:pt x="f57" y="f58"/>
                  </a:cubicBezTo>
                  <a:lnTo>
                    <a:pt x="f59" y="f60"/>
                  </a:lnTo>
                  <a:lnTo>
                    <a:pt x="f61" y="f62"/>
                  </a:lnTo>
                  <a:lnTo>
                    <a:pt x="f63" y="f64"/>
                  </a:lnTo>
                  <a:lnTo>
                    <a:pt x="f65" y="f66"/>
                  </a:lnTo>
                  <a:cubicBezTo>
                    <a:pt x="f67" y="f68"/>
                    <a:pt x="f69" y="f70"/>
                    <a:pt x="f71" y="f72"/>
                  </a:cubicBezTo>
                  <a:lnTo>
                    <a:pt x="f73" y="f74"/>
                  </a:lnTo>
                  <a:cubicBezTo>
                    <a:pt x="f75" y="f76"/>
                    <a:pt x="f77" y="f78"/>
                    <a:pt x="f6" y="f79"/>
                  </a:cubicBezTo>
                  <a:lnTo>
                    <a:pt x="f80" y="f81"/>
                  </a:lnTo>
                  <a:cubicBezTo>
                    <a:pt x="f82" y="f83"/>
                    <a:pt x="f84" y="f85"/>
                    <a:pt x="f86" y="f87"/>
                  </a:cubicBezTo>
                  <a:cubicBezTo>
                    <a:pt x="f88" y="f89"/>
                    <a:pt x="f90" y="f91"/>
                    <a:pt x="f92" y="f93"/>
                  </a:cubicBezTo>
                  <a:lnTo>
                    <a:pt x="f94" y="f95"/>
                  </a:lnTo>
                  <a:lnTo>
                    <a:pt x="f96" y="f97"/>
                  </a:lnTo>
                  <a:lnTo>
                    <a:pt x="f61" y="f98"/>
                  </a:lnTo>
                  <a:lnTo>
                    <a:pt x="f51" y="f99"/>
                  </a:lnTo>
                  <a:lnTo>
                    <a:pt x="f51" y="f100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1" name="Freeform 241">
              <a:extLst>
                <a:ext uri="{FF2B5EF4-FFF2-40B4-BE49-F238E27FC236}">
                  <a16:creationId xmlns:a16="http://schemas.microsoft.com/office/drawing/2014/main" id="{64949C6E-D0BC-B665-776B-C36CBDE7FD8E}"/>
                </a:ext>
              </a:extLst>
            </p:cNvPr>
            <p:cNvSpPr/>
            <p:nvPr/>
          </p:nvSpPr>
          <p:spPr>
            <a:xfrm>
              <a:off x="8033925" y="3632727"/>
              <a:ext cx="91485" cy="4826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8468"/>
                <a:gd name="f7" fmla="val 191264"/>
                <a:gd name="f8" fmla="val 136243"/>
                <a:gd name="f9" fmla="val 102182"/>
                <a:gd name="f10" fmla="val 162443"/>
                <a:gd name="f11" fmla="val 217465"/>
                <a:gd name="f12" fmla="val 188644"/>
                <a:gd name="f13" fmla="val 324887"/>
                <a:gd name="f14" fmla="val 167683"/>
                <a:gd name="f15" fmla="val 104802"/>
                <a:gd name="f16" fmla="val 254145"/>
                <a:gd name="f17" fmla="val 5240"/>
                <a:gd name="f18" fmla="val 167684"/>
                <a:gd name="f19" fmla="val 20960"/>
                <a:gd name="f20" fmla="val 115282"/>
                <a:gd name="f21" fmla="val 28821"/>
                <a:gd name="f22" fmla="val 73361"/>
                <a:gd name="f23" fmla="+- 0 0 -90"/>
                <a:gd name="f24" fmla="*/ f3 1 348468"/>
                <a:gd name="f25" fmla="*/ f4 1 191264"/>
                <a:gd name="f26" fmla="val f5"/>
                <a:gd name="f27" fmla="val f6"/>
                <a:gd name="f28" fmla="val f7"/>
                <a:gd name="f29" fmla="*/ f23 f0 1"/>
                <a:gd name="f30" fmla="+- f28 0 f26"/>
                <a:gd name="f31" fmla="+- f27 0 f26"/>
                <a:gd name="f32" fmla="*/ f29 1 f2"/>
                <a:gd name="f33" fmla="*/ f31 1 348468"/>
                <a:gd name="f34" fmla="*/ f30 1 191264"/>
                <a:gd name="f35" fmla="*/ 0 f31 1"/>
                <a:gd name="f36" fmla="*/ 595 f30 1"/>
                <a:gd name="f37" fmla="*/ 432 f31 1"/>
                <a:gd name="f38" fmla="*/ 836 f30 1"/>
                <a:gd name="f39" fmla="*/ 687 f31 1"/>
                <a:gd name="f40" fmla="*/ 710 f30 1"/>
                <a:gd name="f41" fmla="*/ 920 f31 1"/>
                <a:gd name="f42" fmla="*/ 824 f30 1"/>
                <a:gd name="f43" fmla="*/ 1375 f31 1"/>
                <a:gd name="f44" fmla="*/ 733 f30 1"/>
                <a:gd name="f45" fmla="*/ 1475 f31 1"/>
                <a:gd name="f46" fmla="*/ 458 f30 1"/>
                <a:gd name="f47" fmla="*/ 1075 f31 1"/>
                <a:gd name="f48" fmla="*/ 23 f30 1"/>
                <a:gd name="f49" fmla="*/ 709 f31 1"/>
                <a:gd name="f50" fmla="*/ 92 f30 1"/>
                <a:gd name="f51" fmla="*/ 488 f31 1"/>
                <a:gd name="f52" fmla="*/ 0 f30 1"/>
                <a:gd name="f53" fmla="*/ 122 f31 1"/>
                <a:gd name="f54" fmla="*/ 321 f30 1"/>
                <a:gd name="f55" fmla="+- f32 0 f1"/>
                <a:gd name="f56" fmla="*/ f35 1 348468"/>
                <a:gd name="f57" fmla="*/ f36 1 191264"/>
                <a:gd name="f58" fmla="*/ f37 1 348468"/>
                <a:gd name="f59" fmla="*/ f38 1 191264"/>
                <a:gd name="f60" fmla="*/ f39 1 348468"/>
                <a:gd name="f61" fmla="*/ f40 1 191264"/>
                <a:gd name="f62" fmla="*/ f41 1 348468"/>
                <a:gd name="f63" fmla="*/ f42 1 191264"/>
                <a:gd name="f64" fmla="*/ f43 1 348468"/>
                <a:gd name="f65" fmla="*/ f44 1 191264"/>
                <a:gd name="f66" fmla="*/ f45 1 348468"/>
                <a:gd name="f67" fmla="*/ f46 1 191264"/>
                <a:gd name="f68" fmla="*/ f47 1 348468"/>
                <a:gd name="f69" fmla="*/ f48 1 191264"/>
                <a:gd name="f70" fmla="*/ f49 1 348468"/>
                <a:gd name="f71" fmla="*/ f50 1 191264"/>
                <a:gd name="f72" fmla="*/ f51 1 348468"/>
                <a:gd name="f73" fmla="*/ f52 1 191264"/>
                <a:gd name="f74" fmla="*/ f53 1 348468"/>
                <a:gd name="f75" fmla="*/ f54 1 191264"/>
                <a:gd name="f76" fmla="*/ 0 1 f33"/>
                <a:gd name="f77" fmla="*/ f27 1 f33"/>
                <a:gd name="f78" fmla="*/ 0 1 f34"/>
                <a:gd name="f79" fmla="*/ f28 1 f34"/>
                <a:gd name="f80" fmla="*/ f56 1 f33"/>
                <a:gd name="f81" fmla="*/ f57 1 f34"/>
                <a:gd name="f82" fmla="*/ f58 1 f33"/>
                <a:gd name="f83" fmla="*/ f59 1 f34"/>
                <a:gd name="f84" fmla="*/ f60 1 f33"/>
                <a:gd name="f85" fmla="*/ f61 1 f34"/>
                <a:gd name="f86" fmla="*/ f62 1 f33"/>
                <a:gd name="f87" fmla="*/ f63 1 f34"/>
                <a:gd name="f88" fmla="*/ f64 1 f33"/>
                <a:gd name="f89" fmla="*/ f65 1 f34"/>
                <a:gd name="f90" fmla="*/ f66 1 f33"/>
                <a:gd name="f91" fmla="*/ f67 1 f34"/>
                <a:gd name="f92" fmla="*/ f68 1 f33"/>
                <a:gd name="f93" fmla="*/ f69 1 f34"/>
                <a:gd name="f94" fmla="*/ f70 1 f33"/>
                <a:gd name="f95" fmla="*/ f71 1 f34"/>
                <a:gd name="f96" fmla="*/ f72 1 f33"/>
                <a:gd name="f97" fmla="*/ f73 1 f34"/>
                <a:gd name="f98" fmla="*/ f74 1 f33"/>
                <a:gd name="f99" fmla="*/ f75 1 f34"/>
                <a:gd name="f100" fmla="*/ f76 f24 1"/>
                <a:gd name="f101" fmla="*/ f77 f24 1"/>
                <a:gd name="f102" fmla="*/ f79 f25 1"/>
                <a:gd name="f103" fmla="*/ f78 f25 1"/>
                <a:gd name="f104" fmla="*/ f80 f24 1"/>
                <a:gd name="f105" fmla="*/ f81 f25 1"/>
                <a:gd name="f106" fmla="*/ f82 f24 1"/>
                <a:gd name="f107" fmla="*/ f83 f25 1"/>
                <a:gd name="f108" fmla="*/ f84 f24 1"/>
                <a:gd name="f109" fmla="*/ f85 f25 1"/>
                <a:gd name="f110" fmla="*/ f86 f24 1"/>
                <a:gd name="f111" fmla="*/ f87 f25 1"/>
                <a:gd name="f112" fmla="*/ f88 f24 1"/>
                <a:gd name="f113" fmla="*/ f89 f25 1"/>
                <a:gd name="f114" fmla="*/ f90 f24 1"/>
                <a:gd name="f115" fmla="*/ f91 f25 1"/>
                <a:gd name="f116" fmla="*/ f92 f24 1"/>
                <a:gd name="f117" fmla="*/ f93 f25 1"/>
                <a:gd name="f118" fmla="*/ f94 f24 1"/>
                <a:gd name="f119" fmla="*/ f95 f25 1"/>
                <a:gd name="f120" fmla="*/ f96 f24 1"/>
                <a:gd name="f121" fmla="*/ f97 f25 1"/>
                <a:gd name="f122" fmla="*/ f98 f24 1"/>
                <a:gd name="f123" fmla="*/ f99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104" y="f105"/>
                </a:cxn>
                <a:cxn ang="f55">
                  <a:pos x="f106" y="f107"/>
                </a:cxn>
                <a:cxn ang="f55">
                  <a:pos x="f108" y="f109"/>
                </a:cxn>
                <a:cxn ang="f55">
                  <a:pos x="f110" y="f111"/>
                </a:cxn>
                <a:cxn ang="f55">
                  <a:pos x="f112" y="f113"/>
                </a:cxn>
                <a:cxn ang="f55">
                  <a:pos x="f114" y="f115"/>
                </a:cxn>
                <a:cxn ang="f55">
                  <a:pos x="f116" y="f117"/>
                </a:cxn>
                <a:cxn ang="f55">
                  <a:pos x="f118" y="f119"/>
                </a:cxn>
                <a:cxn ang="f55">
                  <a:pos x="f120" y="f121"/>
                </a:cxn>
                <a:cxn ang="f55">
                  <a:pos x="f122" y="f123"/>
                </a:cxn>
                <a:cxn ang="f55">
                  <a:pos x="f104" y="f105"/>
                </a:cxn>
              </a:cxnLst>
              <a:rect l="f100" t="f103" r="f101" b="f102"/>
              <a:pathLst>
                <a:path w="348468" h="191264">
                  <a:moveTo>
                    <a:pt x="f5" y="f8"/>
                  </a:moveTo>
                  <a:lnTo>
                    <a:pt x="f9" y="f7"/>
                  </a:lnTo>
                  <a:lnTo>
                    <a:pt x="f10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6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5"/>
                  </a:lnTo>
                  <a:lnTo>
                    <a:pt x="f21" y="f22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2" name="Freeform 330">
              <a:extLst>
                <a:ext uri="{FF2B5EF4-FFF2-40B4-BE49-F238E27FC236}">
                  <a16:creationId xmlns:a16="http://schemas.microsoft.com/office/drawing/2014/main" id="{419FC745-B7D3-6D9E-2ED0-C7961A5AD85F}"/>
                </a:ext>
              </a:extLst>
            </p:cNvPr>
            <p:cNvSpPr/>
            <p:nvPr/>
          </p:nvSpPr>
          <p:spPr>
            <a:xfrm>
              <a:off x="8419473" y="3814876"/>
              <a:ext cx="205849" cy="38455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38"/>
                <a:gd name="f7" fmla="val 271"/>
                <a:gd name="f8" fmla="val 66"/>
                <a:gd name="f9" fmla="val 6"/>
                <a:gd name="f10" fmla="val 24"/>
                <a:gd name="f11" fmla="val 18"/>
                <a:gd name="f12" fmla="val 42"/>
                <a:gd name="f13" fmla="val 36"/>
                <a:gd name="f14" fmla="val 48"/>
                <a:gd name="f15" fmla="val 60"/>
                <a:gd name="f16" fmla="val 72"/>
                <a:gd name="f17" fmla="val 54"/>
                <a:gd name="f18" fmla="val 96"/>
                <a:gd name="f19" fmla="val 78"/>
                <a:gd name="f20" fmla="val 126"/>
                <a:gd name="f21" fmla="val 144"/>
                <a:gd name="f22" fmla="val 175"/>
                <a:gd name="f23" fmla="val 211"/>
                <a:gd name="f24" fmla="val 223"/>
                <a:gd name="f25" fmla="val 229"/>
                <a:gd name="f26" fmla="val 241"/>
                <a:gd name="f27" fmla="val 247"/>
                <a:gd name="f28" fmla="val 253"/>
                <a:gd name="f29" fmla="val 108"/>
                <a:gd name="f30" fmla="val 114"/>
                <a:gd name="f31" fmla="val 132"/>
                <a:gd name="f32" fmla="val 102"/>
                <a:gd name="f33" fmla="val 84"/>
                <a:gd name="f34" fmla="val 90"/>
                <a:gd name="f35" fmla="+- 0 0 -90"/>
                <a:gd name="f36" fmla="*/ f3 1 138"/>
                <a:gd name="f37" fmla="*/ f4 1 271"/>
                <a:gd name="f38" fmla="val f5"/>
                <a:gd name="f39" fmla="val f6"/>
                <a:gd name="f40" fmla="val f7"/>
                <a:gd name="f41" fmla="*/ f35 f0 1"/>
                <a:gd name="f42" fmla="+- f40 0 f38"/>
                <a:gd name="f43" fmla="+- f39 0 f38"/>
                <a:gd name="f44" fmla="*/ f41 1 f2"/>
                <a:gd name="f45" fmla="*/ f43 1 138"/>
                <a:gd name="f46" fmla="*/ f42 1 271"/>
                <a:gd name="f47" fmla="*/ 2147483646 f43 1"/>
                <a:gd name="f48" fmla="*/ 0 f42 1"/>
                <a:gd name="f49" fmla="*/ 0 f43 1"/>
                <a:gd name="f50" fmla="*/ 2147483646 f42 1"/>
                <a:gd name="f51" fmla="+- f44 0 f1"/>
                <a:gd name="f52" fmla="*/ f47 1 138"/>
                <a:gd name="f53" fmla="*/ f48 1 271"/>
                <a:gd name="f54" fmla="*/ f49 1 138"/>
                <a:gd name="f55" fmla="*/ f50 1 271"/>
                <a:gd name="f56" fmla="*/ 0 1 f45"/>
                <a:gd name="f57" fmla="*/ f39 1 f45"/>
                <a:gd name="f58" fmla="*/ 0 1 f46"/>
                <a:gd name="f59" fmla="*/ f40 1 f46"/>
                <a:gd name="f60" fmla="*/ f52 1 f45"/>
                <a:gd name="f61" fmla="*/ f53 1 f46"/>
                <a:gd name="f62" fmla="*/ f54 1 f45"/>
                <a:gd name="f63" fmla="*/ f55 1 f46"/>
                <a:gd name="f64" fmla="*/ f56 f36 1"/>
                <a:gd name="f65" fmla="*/ f57 f36 1"/>
                <a:gd name="f66" fmla="*/ f59 f37 1"/>
                <a:gd name="f67" fmla="*/ f58 f37 1"/>
                <a:gd name="f68" fmla="*/ f60 f36 1"/>
                <a:gd name="f69" fmla="*/ f61 f37 1"/>
                <a:gd name="f70" fmla="*/ f62 f36 1"/>
                <a:gd name="f71" fmla="*/ f63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1">
                  <a:pos x="f68" y="f69"/>
                </a:cxn>
                <a:cxn ang="f51">
                  <a:pos x="f68" y="f69"/>
                </a:cxn>
                <a:cxn ang="f51">
                  <a:pos x="f70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71"/>
                </a:cxn>
                <a:cxn ang="f51">
                  <a:pos x="f68" y="f69"/>
                </a:cxn>
              </a:cxnLst>
              <a:rect l="f64" t="f67" r="f65" b="f66"/>
              <a:pathLst>
                <a:path w="138" h="271">
                  <a:moveTo>
                    <a:pt x="f8" y="f5"/>
                  </a:moveTo>
                  <a:lnTo>
                    <a:pt x="f9" y="f5"/>
                  </a:lnTo>
                  <a:lnTo>
                    <a:pt x="f5" y="f10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2" y="f15"/>
                  </a:lnTo>
                  <a:lnTo>
                    <a:pt x="f13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8" y="f21"/>
                  </a:lnTo>
                  <a:lnTo>
                    <a:pt x="f18" y="f22"/>
                  </a:lnTo>
                  <a:lnTo>
                    <a:pt x="f18" y="f23"/>
                  </a:lnTo>
                  <a:lnTo>
                    <a:pt x="f19" y="f24"/>
                  </a:lnTo>
                  <a:lnTo>
                    <a:pt x="f15" y="f25"/>
                  </a:lnTo>
                  <a:lnTo>
                    <a:pt x="f17" y="f26"/>
                  </a:lnTo>
                  <a:lnTo>
                    <a:pt x="f12" y="f27"/>
                  </a:lnTo>
                  <a:lnTo>
                    <a:pt x="f14" y="f28"/>
                  </a:lnTo>
                  <a:lnTo>
                    <a:pt x="f8" y="f7"/>
                  </a:lnTo>
                  <a:lnTo>
                    <a:pt x="f29" y="f26"/>
                  </a:lnTo>
                  <a:lnTo>
                    <a:pt x="f6" y="f23"/>
                  </a:lnTo>
                  <a:lnTo>
                    <a:pt x="f30" y="f31"/>
                  </a:lnTo>
                  <a:lnTo>
                    <a:pt x="f32" y="f30"/>
                  </a:lnTo>
                  <a:lnTo>
                    <a:pt x="f19" y="f33"/>
                  </a:lnTo>
                  <a:lnTo>
                    <a:pt x="f8" y="f15"/>
                  </a:lnTo>
                  <a:lnTo>
                    <a:pt x="f19" y="f14"/>
                  </a:lnTo>
                  <a:lnTo>
                    <a:pt x="f18" y="f13"/>
                  </a:lnTo>
                  <a:lnTo>
                    <a:pt x="f34" y="f11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3" name="Freeform 446">
              <a:extLst>
                <a:ext uri="{FF2B5EF4-FFF2-40B4-BE49-F238E27FC236}">
                  <a16:creationId xmlns:a16="http://schemas.microsoft.com/office/drawing/2014/main" id="{297CD332-88E6-417C-8BFF-A4184545449E}"/>
                </a:ext>
              </a:extLst>
            </p:cNvPr>
            <p:cNvSpPr/>
            <p:nvPr/>
          </p:nvSpPr>
          <p:spPr>
            <a:xfrm>
              <a:off x="8287141" y="3878710"/>
              <a:ext cx="228718" cy="39233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7"/>
                <a:gd name="f7" fmla="val 190"/>
                <a:gd name="f8" fmla="val 7"/>
                <a:gd name="f9" fmla="val 9"/>
                <a:gd name="f10" fmla="val 23"/>
                <a:gd name="f11" fmla="val 15"/>
                <a:gd name="f12" fmla="val 47"/>
                <a:gd name="f13" fmla="val 60"/>
                <a:gd name="f14" fmla="val 22"/>
                <a:gd name="f15" fmla="val 78"/>
                <a:gd name="f16" fmla="val 19"/>
                <a:gd name="f17" fmla="val 93"/>
                <a:gd name="f18" fmla="val 110"/>
                <a:gd name="f19" fmla="val 26"/>
                <a:gd name="f20" fmla="val 118"/>
                <a:gd name="f21" fmla="val 126"/>
                <a:gd name="f22" fmla="val 13"/>
                <a:gd name="f23" fmla="val 159"/>
                <a:gd name="f24" fmla="val 33"/>
                <a:gd name="f25" fmla="val 182"/>
                <a:gd name="f26" fmla="val 34"/>
                <a:gd name="f27" fmla="val 178"/>
                <a:gd name="f28" fmla="val 46"/>
                <a:gd name="f29" fmla="val 185"/>
                <a:gd name="f30" fmla="val 56"/>
                <a:gd name="f31" fmla="val 188"/>
                <a:gd name="f32" fmla="val 59"/>
                <a:gd name="f33" fmla="val 184"/>
                <a:gd name="f34" fmla="val 43"/>
                <a:gd name="f35" fmla="val 174"/>
                <a:gd name="f36" fmla="val 27"/>
                <a:gd name="f37" fmla="val 149"/>
                <a:gd name="f38" fmla="val 138"/>
                <a:gd name="f39" fmla="val 32"/>
                <a:gd name="f40" fmla="val 113"/>
                <a:gd name="f41" fmla="val 57"/>
                <a:gd name="f42" fmla="val 108"/>
                <a:gd name="f43" fmla="val 70"/>
                <a:gd name="f44" fmla="val 119"/>
                <a:gd name="f45" fmla="val 63"/>
                <a:gd name="f46" fmla="val 97"/>
                <a:gd name="f47" fmla="val 72"/>
                <a:gd name="f48" fmla="val 87"/>
                <a:gd name="f49" fmla="val 101"/>
                <a:gd name="f50" fmla="val 73"/>
                <a:gd name="f51" fmla="val 95"/>
                <a:gd name="f52" fmla="val 50"/>
                <a:gd name="f53" fmla="val 85"/>
                <a:gd name="f54" fmla="val 37"/>
                <a:gd name="f55" fmla="val 48"/>
                <a:gd name="f56" fmla="val 36"/>
                <a:gd name="f57" fmla="+- 0 0 -90"/>
                <a:gd name="f58" fmla="*/ f3 1 107"/>
                <a:gd name="f59" fmla="*/ f4 1 190"/>
                <a:gd name="f60" fmla="val f5"/>
                <a:gd name="f61" fmla="val f6"/>
                <a:gd name="f62" fmla="val f7"/>
                <a:gd name="f63" fmla="*/ f57 f0 1"/>
                <a:gd name="f64" fmla="+- f62 0 f60"/>
                <a:gd name="f65" fmla="+- f61 0 f60"/>
                <a:gd name="f66" fmla="*/ f63 1 f2"/>
                <a:gd name="f67" fmla="*/ f65 1 107"/>
                <a:gd name="f68" fmla="*/ f64 1 190"/>
                <a:gd name="f69" fmla="*/ 2147483646 f65 1"/>
                <a:gd name="f70" fmla="*/ 2147483646 f64 1"/>
                <a:gd name="f71" fmla="*/ 0 f65 1"/>
                <a:gd name="f72" fmla="*/ 0 f64 1"/>
                <a:gd name="f73" fmla="+- f66 0 f1"/>
                <a:gd name="f74" fmla="*/ f69 1 107"/>
                <a:gd name="f75" fmla="*/ f70 1 190"/>
                <a:gd name="f76" fmla="*/ f71 1 107"/>
                <a:gd name="f77" fmla="*/ f72 1 190"/>
                <a:gd name="f78" fmla="*/ 0 1 f67"/>
                <a:gd name="f79" fmla="*/ f61 1 f67"/>
                <a:gd name="f80" fmla="*/ 0 1 f68"/>
                <a:gd name="f81" fmla="*/ f62 1 f68"/>
                <a:gd name="f82" fmla="*/ f74 1 f67"/>
                <a:gd name="f83" fmla="*/ f75 1 f68"/>
                <a:gd name="f84" fmla="*/ f76 1 f67"/>
                <a:gd name="f85" fmla="*/ f77 1 f68"/>
                <a:gd name="f86" fmla="*/ f78 f58 1"/>
                <a:gd name="f87" fmla="*/ f79 f58 1"/>
                <a:gd name="f88" fmla="*/ f81 f59 1"/>
                <a:gd name="f89" fmla="*/ f80 f59 1"/>
                <a:gd name="f90" fmla="*/ f82 f58 1"/>
                <a:gd name="f91" fmla="*/ f83 f59 1"/>
                <a:gd name="f92" fmla="*/ f84 f58 1"/>
                <a:gd name="f93" fmla="*/ f85 f5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3">
                  <a:pos x="f90" y="f91"/>
                </a:cxn>
                <a:cxn ang="f73">
                  <a:pos x="f92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1"/>
                </a:cxn>
                <a:cxn ang="f73">
                  <a:pos x="f90" y="f93"/>
                </a:cxn>
                <a:cxn ang="f73">
                  <a:pos x="f90" y="f91"/>
                </a:cxn>
              </a:cxnLst>
              <a:rect l="f86" t="f89" r="f87" b="f88"/>
              <a:pathLst>
                <a:path w="107" h="190">
                  <a:moveTo>
                    <a:pt x="f8" y="f9"/>
                  </a:moveTo>
                  <a:lnTo>
                    <a:pt x="f5" y="f10"/>
                  </a:lnTo>
                  <a:lnTo>
                    <a:pt x="f11" y="f12"/>
                  </a:lnTo>
                  <a:lnTo>
                    <a:pt x="f11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0" y="f18"/>
                  </a:lnTo>
                  <a:lnTo>
                    <a:pt x="f19" y="f20"/>
                  </a:lnTo>
                  <a:lnTo>
                    <a:pt x="f16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28" y="f7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16" y="f38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48"/>
                  </a:lnTo>
                  <a:lnTo>
                    <a:pt x="f6" y="f50"/>
                  </a:lnTo>
                  <a:lnTo>
                    <a:pt x="f51" y="f52"/>
                  </a:lnTo>
                  <a:lnTo>
                    <a:pt x="f53" y="f54"/>
                  </a:lnTo>
                  <a:lnTo>
                    <a:pt x="f55" y="f36"/>
                  </a:lnTo>
                  <a:lnTo>
                    <a:pt x="f56" y="f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4" name="Freeform 329">
              <a:extLst>
                <a:ext uri="{FF2B5EF4-FFF2-40B4-BE49-F238E27FC236}">
                  <a16:creationId xmlns:a16="http://schemas.microsoft.com/office/drawing/2014/main" id="{007D2546-04C7-9924-A7DC-A7E200D590E3}"/>
                </a:ext>
              </a:extLst>
            </p:cNvPr>
            <p:cNvSpPr/>
            <p:nvPr/>
          </p:nvSpPr>
          <p:spPr>
            <a:xfrm>
              <a:off x="8355757" y="3839784"/>
              <a:ext cx="217279" cy="22574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8672"/>
                <a:gd name="f8" fmla="val 9830"/>
                <a:gd name="f9" fmla="val 7948"/>
                <a:gd name="f10" fmla="val 8696"/>
                <a:gd name="f11" fmla="val 6754"/>
                <a:gd name="f12" fmla="val 6957"/>
                <a:gd name="f13" fmla="val 4769"/>
                <a:gd name="f14" fmla="val 5652"/>
                <a:gd name="f15" fmla="val 3176"/>
                <a:gd name="f16" fmla="val 6087"/>
                <a:gd name="f17" fmla="val 2384"/>
                <a:gd name="f18" fmla="val 1590"/>
                <a:gd name="f19" fmla="val 4348"/>
                <a:gd name="f20" fmla="val 1191"/>
                <a:gd name="f21" fmla="val 3478"/>
                <a:gd name="f22" fmla="val 3043"/>
                <a:gd name="f23" fmla="val 870"/>
                <a:gd name="f24" fmla="val 396"/>
                <a:gd name="f25" fmla="val 435"/>
                <a:gd name="f26" fmla="val 3913"/>
                <a:gd name="f27" fmla="val 5217"/>
                <a:gd name="f28" fmla="val 5165"/>
                <a:gd name="f29" fmla="val 7391"/>
                <a:gd name="f30" fmla="val 8344"/>
                <a:gd name="f31" fmla="val 9602"/>
                <a:gd name="f32" fmla="+- 0 0 -90"/>
                <a:gd name="f33" fmla="*/ f3 1 10000"/>
                <a:gd name="f34" fmla="*/ f4 1 10000"/>
                <a:gd name="f35" fmla="val f5"/>
                <a:gd name="f36" fmla="val f6"/>
                <a:gd name="f37" fmla="*/ f32 f0 1"/>
                <a:gd name="f38" fmla="+- f36 0 f35"/>
                <a:gd name="f39" fmla="*/ f37 1 f2"/>
                <a:gd name="f40" fmla="*/ f38 1 10000"/>
                <a:gd name="f41" fmla="*/ 2147483646 f38 1"/>
                <a:gd name="f42" fmla="*/ 0 f38 1"/>
                <a:gd name="f43" fmla="*/ 1649038812 f38 1"/>
                <a:gd name="f44" fmla="+- f39 0 f1"/>
                <a:gd name="f45" fmla="*/ f41 1 10000"/>
                <a:gd name="f46" fmla="*/ f42 1 10000"/>
                <a:gd name="f47" fmla="*/ f43 1 10000"/>
                <a:gd name="f48" fmla="*/ 0 1 f40"/>
                <a:gd name="f49" fmla="*/ f36 1 f40"/>
                <a:gd name="f50" fmla="*/ f45 1 f40"/>
                <a:gd name="f51" fmla="*/ f46 1 f40"/>
                <a:gd name="f52" fmla="*/ f47 1 f40"/>
                <a:gd name="f53" fmla="*/ f48 f33 1"/>
                <a:gd name="f54" fmla="*/ f49 f33 1"/>
                <a:gd name="f55" fmla="*/ f49 f34 1"/>
                <a:gd name="f56" fmla="*/ f48 f34 1"/>
                <a:gd name="f57" fmla="*/ f50 f33 1"/>
                <a:gd name="f58" fmla="*/ f50 f34 1"/>
                <a:gd name="f59" fmla="*/ f51 f34 1"/>
                <a:gd name="f60" fmla="*/ f51 f33 1"/>
                <a:gd name="f61" fmla="*/ f52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9"/>
                </a:cxn>
                <a:cxn ang="f44">
                  <a:pos x="f57" y="f59"/>
                </a:cxn>
                <a:cxn ang="f44">
                  <a:pos x="f57" y="f58"/>
                </a:cxn>
                <a:cxn ang="f44">
                  <a:pos x="f60" y="f58"/>
                </a:cxn>
                <a:cxn ang="f44">
                  <a:pos x="f61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  <a:cxn ang="f44">
                  <a:pos x="f57" y="f58"/>
                </a:cxn>
              </a:cxnLst>
              <a:rect l="f53" t="f56" r="f54" b="f55"/>
              <a:pathLst>
                <a:path w="10000" h="10000">
                  <a:moveTo>
                    <a:pt x="f7" y="f8"/>
                  </a:moveTo>
                  <a:lnTo>
                    <a:pt x="f6" y="f6"/>
                  </a:lnTo>
                  <a:lnTo>
                    <a:pt x="f6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4" y="f18"/>
                  </a:lnTo>
                  <a:lnTo>
                    <a:pt x="f19" y="f20"/>
                  </a:lnTo>
                  <a:lnTo>
                    <a:pt x="f21" y="f5"/>
                  </a:lnTo>
                  <a:lnTo>
                    <a:pt x="f22" y="f5"/>
                  </a:lnTo>
                  <a:lnTo>
                    <a:pt x="f23" y="f24"/>
                  </a:lnTo>
                  <a:lnTo>
                    <a:pt x="f5" y="f18"/>
                  </a:lnTo>
                  <a:lnTo>
                    <a:pt x="f25" y="f17"/>
                  </a:lnTo>
                  <a:lnTo>
                    <a:pt x="f23" y="f13"/>
                  </a:lnTo>
                  <a:lnTo>
                    <a:pt x="f26" y="f13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12" y="f31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5" name="Freeform 329">
              <a:extLst>
                <a:ext uri="{FF2B5EF4-FFF2-40B4-BE49-F238E27FC236}">
                  <a16:creationId xmlns:a16="http://schemas.microsoft.com/office/drawing/2014/main" id="{97218EF1-25AF-D532-75AD-C40BBB9584EC}"/>
                </a:ext>
              </a:extLst>
            </p:cNvPr>
            <p:cNvSpPr/>
            <p:nvPr/>
          </p:nvSpPr>
          <p:spPr>
            <a:xfrm>
              <a:off x="8421109" y="4049968"/>
              <a:ext cx="151936" cy="11521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000"/>
                <a:gd name="f7" fmla="val 6448"/>
                <a:gd name="f8" fmla="val 8160"/>
                <a:gd name="f9" fmla="val 269"/>
                <a:gd name="f10" fmla="val 7722"/>
                <a:gd name="f11" fmla="val 211"/>
                <a:gd name="f12" fmla="val 7792"/>
                <a:gd name="f13" fmla="val 194"/>
                <a:gd name="f14" fmla="val 7370"/>
                <a:gd name="f15" fmla="val 149"/>
                <a:gd name="f16" fmla="val 5626"/>
                <a:gd name="f17" fmla="val 1875"/>
                <a:gd name="f18" fmla="val 496"/>
                <a:gd name="f19" fmla="val 1489"/>
                <a:gd name="f20" fmla="val 3473"/>
                <a:gd name="f21" fmla="val 3125"/>
                <a:gd name="f22" fmla="val 5951"/>
                <a:gd name="f23" fmla="val 4375"/>
                <a:gd name="f24" fmla="val 6249"/>
                <a:gd name="f25" fmla="val 4959"/>
                <a:gd name="f26" fmla="val 8126"/>
                <a:gd name="f27" fmla="val 4466"/>
                <a:gd name="f28" fmla="+- 0 0 -90"/>
                <a:gd name="f29" fmla="*/ f3 1 10000"/>
                <a:gd name="f30" fmla="*/ f4 1 6448"/>
                <a:gd name="f31" fmla="val f5"/>
                <a:gd name="f32" fmla="val f6"/>
                <a:gd name="f33" fmla="val f7"/>
                <a:gd name="f34" fmla="*/ f28 f0 1"/>
                <a:gd name="f35" fmla="+- f33 0 f31"/>
                <a:gd name="f36" fmla="+- f32 0 f31"/>
                <a:gd name="f37" fmla="*/ f34 1 f2"/>
                <a:gd name="f38" fmla="*/ f36 1 10000"/>
                <a:gd name="f39" fmla="*/ f35 1 6448"/>
                <a:gd name="f40" fmla="*/ 2147483646 f36 1"/>
                <a:gd name="f41" fmla="*/ 495727010 f35 1"/>
                <a:gd name="f42" fmla="*/ 274643943 f35 1"/>
                <a:gd name="f43" fmla="*/ 0 f35 1"/>
                <a:gd name="f44" fmla="*/ 1183506868 f36 1"/>
                <a:gd name="f45" fmla="*/ 914091121 f35 1"/>
                <a:gd name="f46" fmla="*/ 0 f36 1"/>
                <a:gd name="f47" fmla="*/ 2147483646 f35 1"/>
                <a:gd name="f48" fmla="*/ 1972543557 f36 1"/>
                <a:gd name="f49" fmla="+- f37 0 f1"/>
                <a:gd name="f50" fmla="*/ f40 1 10000"/>
                <a:gd name="f51" fmla="*/ f41 1 6448"/>
                <a:gd name="f52" fmla="*/ f42 1 6448"/>
                <a:gd name="f53" fmla="*/ f43 1 6448"/>
                <a:gd name="f54" fmla="*/ f44 1 10000"/>
                <a:gd name="f55" fmla="*/ f45 1 6448"/>
                <a:gd name="f56" fmla="*/ f46 1 10000"/>
                <a:gd name="f57" fmla="*/ f47 1 6448"/>
                <a:gd name="f58" fmla="*/ f48 1 10000"/>
                <a:gd name="f59" fmla="*/ 0 1 f38"/>
                <a:gd name="f60" fmla="*/ f32 1 f38"/>
                <a:gd name="f61" fmla="*/ 0 1 f39"/>
                <a:gd name="f62" fmla="*/ f33 1 f39"/>
                <a:gd name="f63" fmla="*/ f50 1 f38"/>
                <a:gd name="f64" fmla="*/ f51 1 f39"/>
                <a:gd name="f65" fmla="*/ f52 1 f39"/>
                <a:gd name="f66" fmla="*/ f53 1 f39"/>
                <a:gd name="f67" fmla="*/ f54 1 f38"/>
                <a:gd name="f68" fmla="*/ f55 1 f39"/>
                <a:gd name="f69" fmla="*/ f56 1 f38"/>
                <a:gd name="f70" fmla="*/ f57 1 f39"/>
                <a:gd name="f71" fmla="*/ f58 1 f38"/>
                <a:gd name="f72" fmla="*/ f59 f29 1"/>
                <a:gd name="f73" fmla="*/ f60 f29 1"/>
                <a:gd name="f74" fmla="*/ f62 f30 1"/>
                <a:gd name="f75" fmla="*/ f61 f30 1"/>
                <a:gd name="f76" fmla="*/ f63 f29 1"/>
                <a:gd name="f77" fmla="*/ f64 f30 1"/>
                <a:gd name="f78" fmla="*/ f65 f30 1"/>
                <a:gd name="f79" fmla="*/ f66 f30 1"/>
                <a:gd name="f80" fmla="*/ f67 f29 1"/>
                <a:gd name="f81" fmla="*/ f68 f30 1"/>
                <a:gd name="f82" fmla="*/ f69 f29 1"/>
                <a:gd name="f83" fmla="*/ f70 f30 1"/>
                <a:gd name="f84" fmla="*/ f71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9">
                  <a:pos x="f76" y="f77"/>
                </a:cxn>
                <a:cxn ang="f49">
                  <a:pos x="f76" y="f78"/>
                </a:cxn>
                <a:cxn ang="f49">
                  <a:pos x="f76" y="f79"/>
                </a:cxn>
                <a:cxn ang="f49">
                  <a:pos x="f80" y="f81"/>
                </a:cxn>
                <a:cxn ang="f49">
                  <a:pos x="f82" y="f83"/>
                </a:cxn>
                <a:cxn ang="f49">
                  <a:pos x="f82" y="f83"/>
                </a:cxn>
                <a:cxn ang="f49">
                  <a:pos x="f84" y="f83"/>
                </a:cxn>
                <a:cxn ang="f49">
                  <a:pos x="f76" y="f83"/>
                </a:cxn>
                <a:cxn ang="f49">
                  <a:pos x="f76" y="f83"/>
                </a:cxn>
                <a:cxn ang="f49">
                  <a:pos x="f76" y="f83"/>
                </a:cxn>
                <a:cxn ang="f49">
                  <a:pos x="f76" y="f83"/>
                </a:cxn>
                <a:cxn ang="f49">
                  <a:pos x="f76" y="f83"/>
                </a:cxn>
                <a:cxn ang="f49">
                  <a:pos x="f76" y="f81"/>
                </a:cxn>
                <a:cxn ang="f49">
                  <a:pos x="f76" y="f77"/>
                </a:cxn>
              </a:cxnLst>
              <a:rect l="f72" t="f75" r="f73" b="f74"/>
              <a:pathLst>
                <a:path w="10000" h="6448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lnTo>
                    <a:pt x="f16" y="f5"/>
                  </a:lnTo>
                  <a:lnTo>
                    <a:pt x="f17" y="f18"/>
                  </a:lnTo>
                  <a:lnTo>
                    <a:pt x="f5" y="f19"/>
                  </a:lnTo>
                  <a:lnTo>
                    <a:pt x="f5" y="f20"/>
                  </a:lnTo>
                  <a:lnTo>
                    <a:pt x="f21" y="f22"/>
                  </a:lnTo>
                  <a:lnTo>
                    <a:pt x="f23" y="f7"/>
                  </a:lnTo>
                  <a:lnTo>
                    <a:pt x="f16" y="f22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6" y="f20"/>
                  </a:lnTo>
                  <a:lnTo>
                    <a:pt x="f6" y="f1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6" name="Freeform 455">
              <a:extLst>
                <a:ext uri="{FF2B5EF4-FFF2-40B4-BE49-F238E27FC236}">
                  <a16:creationId xmlns:a16="http://schemas.microsoft.com/office/drawing/2014/main" id="{2AF2FAA7-1546-B739-EF28-1E53E3D3E321}"/>
                </a:ext>
              </a:extLst>
            </p:cNvPr>
            <p:cNvSpPr/>
            <p:nvPr/>
          </p:nvSpPr>
          <p:spPr>
            <a:xfrm>
              <a:off x="5464086" y="2742778"/>
              <a:ext cx="65983" cy="4117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22"/>
                <a:gd name="f8" fmla="val 24"/>
                <a:gd name="f9" fmla="val 18"/>
                <a:gd name="f10" fmla="val 13"/>
                <a:gd name="f11" fmla="val 27"/>
                <a:gd name="f12" fmla="val 3"/>
                <a:gd name="f13" fmla="val 15"/>
                <a:gd name="f14" fmla="+- 0 0 -90"/>
                <a:gd name="f15" fmla="*/ f3 1 34"/>
                <a:gd name="f16" fmla="*/ f4 1 22"/>
                <a:gd name="f17" fmla="val f5"/>
                <a:gd name="f18" fmla="val f6"/>
                <a:gd name="f19" fmla="val f7"/>
                <a:gd name="f20" fmla="*/ f14 f0 1"/>
                <a:gd name="f21" fmla="+- f19 0 f17"/>
                <a:gd name="f22" fmla="+- f18 0 f17"/>
                <a:gd name="f23" fmla="*/ f20 1 f2"/>
                <a:gd name="f24" fmla="*/ f22 1 34"/>
                <a:gd name="f25" fmla="*/ f21 1 22"/>
                <a:gd name="f26" fmla="*/ 24 f22 1"/>
                <a:gd name="f27" fmla="*/ 22 f21 1"/>
                <a:gd name="f28" fmla="*/ 0 f22 1"/>
                <a:gd name="f29" fmla="*/ 18 f21 1"/>
                <a:gd name="f30" fmla="*/ 13 f22 1"/>
                <a:gd name="f31" fmla="*/ 0 f21 1"/>
                <a:gd name="f32" fmla="*/ 27 f22 1"/>
                <a:gd name="f33" fmla="*/ 3 f21 1"/>
                <a:gd name="f34" fmla="*/ 34 f22 1"/>
                <a:gd name="f35" fmla="*/ 15 f21 1"/>
                <a:gd name="f36" fmla="+- f23 0 f1"/>
                <a:gd name="f37" fmla="*/ f26 1 34"/>
                <a:gd name="f38" fmla="*/ f27 1 22"/>
                <a:gd name="f39" fmla="*/ f28 1 34"/>
                <a:gd name="f40" fmla="*/ f29 1 22"/>
                <a:gd name="f41" fmla="*/ f30 1 34"/>
                <a:gd name="f42" fmla="*/ f31 1 22"/>
                <a:gd name="f43" fmla="*/ f32 1 34"/>
                <a:gd name="f44" fmla="*/ f33 1 22"/>
                <a:gd name="f45" fmla="*/ f34 1 34"/>
                <a:gd name="f46" fmla="*/ f35 1 22"/>
                <a:gd name="f47" fmla="*/ 0 1 f24"/>
                <a:gd name="f48" fmla="*/ f18 1 f24"/>
                <a:gd name="f49" fmla="*/ 0 1 f25"/>
                <a:gd name="f50" fmla="*/ f19 1 f25"/>
                <a:gd name="f51" fmla="*/ f37 1 f24"/>
                <a:gd name="f52" fmla="*/ f38 1 f25"/>
                <a:gd name="f53" fmla="*/ f39 1 f24"/>
                <a:gd name="f54" fmla="*/ f40 1 f25"/>
                <a:gd name="f55" fmla="*/ f41 1 f24"/>
                <a:gd name="f56" fmla="*/ f42 1 f25"/>
                <a:gd name="f57" fmla="*/ f43 1 f24"/>
                <a:gd name="f58" fmla="*/ f44 1 f25"/>
                <a:gd name="f59" fmla="*/ f45 1 f24"/>
                <a:gd name="f60" fmla="*/ f46 1 f25"/>
                <a:gd name="f61" fmla="*/ f47 f15 1"/>
                <a:gd name="f62" fmla="*/ f48 f15 1"/>
                <a:gd name="f63" fmla="*/ f50 f16 1"/>
                <a:gd name="f64" fmla="*/ f49 f16 1"/>
                <a:gd name="f65" fmla="*/ f51 f15 1"/>
                <a:gd name="f66" fmla="*/ f52 f16 1"/>
                <a:gd name="f67" fmla="*/ f53 f15 1"/>
                <a:gd name="f68" fmla="*/ f54 f16 1"/>
                <a:gd name="f69" fmla="*/ f55 f15 1"/>
                <a:gd name="f70" fmla="*/ f56 f16 1"/>
                <a:gd name="f71" fmla="*/ f57 f15 1"/>
                <a:gd name="f72" fmla="*/ f58 f16 1"/>
                <a:gd name="f73" fmla="*/ f59 f15 1"/>
                <a:gd name="f74" fmla="*/ f60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6">
                  <a:pos x="f65" y="f66"/>
                </a:cxn>
                <a:cxn ang="f36">
                  <a:pos x="f67" y="f68"/>
                </a:cxn>
                <a:cxn ang="f36">
                  <a:pos x="f69" y="f70"/>
                </a:cxn>
                <a:cxn ang="f36">
                  <a:pos x="f71" y="f72"/>
                </a:cxn>
                <a:cxn ang="f36">
                  <a:pos x="f73" y="f74"/>
                </a:cxn>
                <a:cxn ang="f36">
                  <a:pos x="f65" y="f66"/>
                </a:cxn>
              </a:cxnLst>
              <a:rect l="f61" t="f64" r="f62" b="f63"/>
              <a:pathLst>
                <a:path w="34" h="22">
                  <a:moveTo>
                    <a:pt x="f8" y="f7"/>
                  </a:moveTo>
                  <a:lnTo>
                    <a:pt x="f5" y="f9"/>
                  </a:lnTo>
                  <a:lnTo>
                    <a:pt x="f10" y="f5"/>
                  </a:lnTo>
                  <a:lnTo>
                    <a:pt x="f11" y="f12"/>
                  </a:lnTo>
                  <a:lnTo>
                    <a:pt x="f6" y="f13"/>
                  </a:lnTo>
                  <a:lnTo>
                    <a:pt x="f8" y="f7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91" name="Oval 213">
              <a:extLst>
                <a:ext uri="{FF2B5EF4-FFF2-40B4-BE49-F238E27FC236}">
                  <a16:creationId xmlns:a16="http://schemas.microsoft.com/office/drawing/2014/main" id="{D6A7A85B-5277-ED3A-E8B7-4F698B5FA186}"/>
                </a:ext>
              </a:extLst>
            </p:cNvPr>
            <p:cNvSpPr/>
            <p:nvPr/>
          </p:nvSpPr>
          <p:spPr>
            <a:xfrm>
              <a:off x="8743079" y="3966126"/>
              <a:ext cx="76032" cy="7765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EDF5F9"/>
            </a:solidFill>
            <a:ln w="6345" cap="flat">
              <a:solidFill>
                <a:srgbClr val="BAD8E8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8" name="Shape 5744">
              <a:extLst>
                <a:ext uri="{FF2B5EF4-FFF2-40B4-BE49-F238E27FC236}">
                  <a16:creationId xmlns:a16="http://schemas.microsoft.com/office/drawing/2014/main" id="{6808F863-8901-20AC-7EDB-ACB563779FA8}"/>
                </a:ext>
              </a:extLst>
            </p:cNvPr>
            <p:cNvSpPr/>
            <p:nvPr/>
          </p:nvSpPr>
          <p:spPr>
            <a:xfrm>
              <a:off x="2946057" y="3818113"/>
              <a:ext cx="79113" cy="3232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679"/>
                <a:gd name="f7" fmla="val 16796"/>
                <a:gd name="f8" fmla="val 2882"/>
                <a:gd name="f9" fmla="val 20639"/>
                <a:gd name="f10" fmla="val 6724"/>
                <a:gd name="f11" fmla="val 12954"/>
                <a:gd name="f12" fmla="val -961"/>
                <a:gd name="f13" fmla="+- 0 0 -90"/>
                <a:gd name="f14" fmla="+- 0 0 -180"/>
                <a:gd name="f15" fmla="+- 0 0 -270"/>
                <a:gd name="f16" fmla="+- 0 0 -360"/>
                <a:gd name="f17" fmla="*/ f3 1 19679"/>
                <a:gd name="f18" fmla="*/ f4 1 19679"/>
                <a:gd name="f19" fmla="val f5"/>
                <a:gd name="f20" fmla="val f6"/>
                <a:gd name="f21" fmla="*/ f13 f0 1"/>
                <a:gd name="f22" fmla="*/ f14 f0 1"/>
                <a:gd name="f23" fmla="*/ f15 f0 1"/>
                <a:gd name="f24" fmla="*/ f16 f0 1"/>
                <a:gd name="f25" fmla="+- f20 0 f19"/>
                <a:gd name="f26" fmla="*/ f21 1 f2"/>
                <a:gd name="f27" fmla="*/ f22 1 f2"/>
                <a:gd name="f28" fmla="*/ f23 1 f2"/>
                <a:gd name="f29" fmla="*/ f24 1 f2"/>
                <a:gd name="f30" fmla="*/ f25 1 2"/>
                <a:gd name="f31" fmla="*/ f25 1 19679"/>
                <a:gd name="f32" fmla="+- f26 0 f1"/>
                <a:gd name="f33" fmla="+- f27 0 f1"/>
                <a:gd name="f34" fmla="+- f28 0 f1"/>
                <a:gd name="f35" fmla="+- f29 0 f1"/>
                <a:gd name="f36" fmla="*/ f30 1 f31"/>
                <a:gd name="f37" fmla="*/ 0 1 f31"/>
                <a:gd name="f38" fmla="*/ f20 1 f31"/>
                <a:gd name="f39" fmla="*/ f37 f17 1"/>
                <a:gd name="f40" fmla="*/ f38 f17 1"/>
                <a:gd name="f41" fmla="*/ f38 f18 1"/>
                <a:gd name="f42" fmla="*/ f37 f18 1"/>
                <a:gd name="f43" fmla="*/ f36 f17 1"/>
                <a:gd name="f44" fmla="*/ f36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3" y="f44"/>
                </a:cxn>
                <a:cxn ang="f33">
                  <a:pos x="f43" y="f44"/>
                </a:cxn>
                <a:cxn ang="f34">
                  <a:pos x="f43" y="f44"/>
                </a:cxn>
                <a:cxn ang="f35">
                  <a:pos x="f43" y="f44"/>
                </a:cxn>
              </a:cxnLst>
              <a:rect l="f39" t="f42" r="f40" b="f41"/>
              <a:pathLst>
                <a:path w="19679" h="19679">
                  <a:moveTo>
                    <a:pt x="f7" y="f8"/>
                  </a:moveTo>
                  <a:cubicBezTo>
                    <a:pt x="f9" y="f10"/>
                    <a:pt x="f9" y="f11"/>
                    <a:pt x="f7" y="f7"/>
                  </a:cubicBezTo>
                  <a:cubicBezTo>
                    <a:pt x="f11" y="f9"/>
                    <a:pt x="f10" y="f9"/>
                    <a:pt x="f8" y="f7"/>
                  </a:cubicBezTo>
                  <a:cubicBezTo>
                    <a:pt x="f12" y="f11"/>
                    <a:pt x="f12" y="f10"/>
                    <a:pt x="f8" y="f8"/>
                  </a:cubicBezTo>
                  <a:cubicBezTo>
                    <a:pt x="f10" y="f12"/>
                    <a:pt x="f11" y="f12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12701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0" tIns="0" rIns="0" bIns="0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32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9" name="Shape 5744">
              <a:extLst>
                <a:ext uri="{FF2B5EF4-FFF2-40B4-BE49-F238E27FC236}">
                  <a16:creationId xmlns:a16="http://schemas.microsoft.com/office/drawing/2014/main" id="{0CC046E3-797D-E992-85A6-E258AB708FE5}"/>
                </a:ext>
              </a:extLst>
            </p:cNvPr>
            <p:cNvSpPr/>
            <p:nvPr/>
          </p:nvSpPr>
          <p:spPr>
            <a:xfrm>
              <a:off x="3393857" y="4069490"/>
              <a:ext cx="79113" cy="3232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679"/>
                <a:gd name="f7" fmla="val 16796"/>
                <a:gd name="f8" fmla="val 2882"/>
                <a:gd name="f9" fmla="val 20639"/>
                <a:gd name="f10" fmla="val 6724"/>
                <a:gd name="f11" fmla="val 12954"/>
                <a:gd name="f12" fmla="val -961"/>
                <a:gd name="f13" fmla="+- 0 0 -90"/>
                <a:gd name="f14" fmla="+- 0 0 -180"/>
                <a:gd name="f15" fmla="+- 0 0 -270"/>
                <a:gd name="f16" fmla="+- 0 0 -360"/>
                <a:gd name="f17" fmla="*/ f3 1 19679"/>
                <a:gd name="f18" fmla="*/ f4 1 19679"/>
                <a:gd name="f19" fmla="val f5"/>
                <a:gd name="f20" fmla="val f6"/>
                <a:gd name="f21" fmla="*/ f13 f0 1"/>
                <a:gd name="f22" fmla="*/ f14 f0 1"/>
                <a:gd name="f23" fmla="*/ f15 f0 1"/>
                <a:gd name="f24" fmla="*/ f16 f0 1"/>
                <a:gd name="f25" fmla="+- f20 0 f19"/>
                <a:gd name="f26" fmla="*/ f21 1 f2"/>
                <a:gd name="f27" fmla="*/ f22 1 f2"/>
                <a:gd name="f28" fmla="*/ f23 1 f2"/>
                <a:gd name="f29" fmla="*/ f24 1 f2"/>
                <a:gd name="f30" fmla="*/ f25 1 2"/>
                <a:gd name="f31" fmla="*/ f25 1 19679"/>
                <a:gd name="f32" fmla="+- f26 0 f1"/>
                <a:gd name="f33" fmla="+- f27 0 f1"/>
                <a:gd name="f34" fmla="+- f28 0 f1"/>
                <a:gd name="f35" fmla="+- f29 0 f1"/>
                <a:gd name="f36" fmla="*/ f30 1 f31"/>
                <a:gd name="f37" fmla="*/ 0 1 f31"/>
                <a:gd name="f38" fmla="*/ f20 1 f31"/>
                <a:gd name="f39" fmla="*/ f37 f17 1"/>
                <a:gd name="f40" fmla="*/ f38 f17 1"/>
                <a:gd name="f41" fmla="*/ f38 f18 1"/>
                <a:gd name="f42" fmla="*/ f37 f18 1"/>
                <a:gd name="f43" fmla="*/ f36 f17 1"/>
                <a:gd name="f44" fmla="*/ f36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3" y="f44"/>
                </a:cxn>
                <a:cxn ang="f33">
                  <a:pos x="f43" y="f44"/>
                </a:cxn>
                <a:cxn ang="f34">
                  <a:pos x="f43" y="f44"/>
                </a:cxn>
                <a:cxn ang="f35">
                  <a:pos x="f43" y="f44"/>
                </a:cxn>
              </a:cxnLst>
              <a:rect l="f39" t="f42" r="f40" b="f41"/>
              <a:pathLst>
                <a:path w="19679" h="19679">
                  <a:moveTo>
                    <a:pt x="f7" y="f8"/>
                  </a:moveTo>
                  <a:cubicBezTo>
                    <a:pt x="f9" y="f10"/>
                    <a:pt x="f9" y="f11"/>
                    <a:pt x="f7" y="f7"/>
                  </a:cubicBezTo>
                  <a:cubicBezTo>
                    <a:pt x="f11" y="f9"/>
                    <a:pt x="f10" y="f9"/>
                    <a:pt x="f8" y="f7"/>
                  </a:cubicBezTo>
                  <a:cubicBezTo>
                    <a:pt x="f12" y="f11"/>
                    <a:pt x="f12" y="f10"/>
                    <a:pt x="f8" y="f8"/>
                  </a:cubicBezTo>
                  <a:cubicBezTo>
                    <a:pt x="f10" y="f12"/>
                    <a:pt x="f11" y="f12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12701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0" tIns="0" rIns="0" bIns="0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32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0" name="Shape 5744">
              <a:extLst>
                <a:ext uri="{FF2B5EF4-FFF2-40B4-BE49-F238E27FC236}">
                  <a16:creationId xmlns:a16="http://schemas.microsoft.com/office/drawing/2014/main" id="{DE0EA736-25C7-05A0-9CBB-1CCBA60273BB}"/>
                </a:ext>
              </a:extLst>
            </p:cNvPr>
            <p:cNvSpPr/>
            <p:nvPr/>
          </p:nvSpPr>
          <p:spPr>
            <a:xfrm>
              <a:off x="8745877" y="3991071"/>
              <a:ext cx="79113" cy="3232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9679"/>
                <a:gd name="f7" fmla="val 16796"/>
                <a:gd name="f8" fmla="val 2882"/>
                <a:gd name="f9" fmla="val 20639"/>
                <a:gd name="f10" fmla="val 6724"/>
                <a:gd name="f11" fmla="val 12954"/>
                <a:gd name="f12" fmla="val -961"/>
                <a:gd name="f13" fmla="+- 0 0 -90"/>
                <a:gd name="f14" fmla="+- 0 0 -180"/>
                <a:gd name="f15" fmla="+- 0 0 -270"/>
                <a:gd name="f16" fmla="+- 0 0 -360"/>
                <a:gd name="f17" fmla="*/ f3 1 19679"/>
                <a:gd name="f18" fmla="*/ f4 1 19679"/>
                <a:gd name="f19" fmla="val f5"/>
                <a:gd name="f20" fmla="val f6"/>
                <a:gd name="f21" fmla="*/ f13 f0 1"/>
                <a:gd name="f22" fmla="*/ f14 f0 1"/>
                <a:gd name="f23" fmla="*/ f15 f0 1"/>
                <a:gd name="f24" fmla="*/ f16 f0 1"/>
                <a:gd name="f25" fmla="+- f20 0 f19"/>
                <a:gd name="f26" fmla="*/ f21 1 f2"/>
                <a:gd name="f27" fmla="*/ f22 1 f2"/>
                <a:gd name="f28" fmla="*/ f23 1 f2"/>
                <a:gd name="f29" fmla="*/ f24 1 f2"/>
                <a:gd name="f30" fmla="*/ f25 1 2"/>
                <a:gd name="f31" fmla="*/ f25 1 19679"/>
                <a:gd name="f32" fmla="+- f26 0 f1"/>
                <a:gd name="f33" fmla="+- f27 0 f1"/>
                <a:gd name="f34" fmla="+- f28 0 f1"/>
                <a:gd name="f35" fmla="+- f29 0 f1"/>
                <a:gd name="f36" fmla="*/ f30 1 f31"/>
                <a:gd name="f37" fmla="*/ 0 1 f31"/>
                <a:gd name="f38" fmla="*/ f20 1 f31"/>
                <a:gd name="f39" fmla="*/ f37 f17 1"/>
                <a:gd name="f40" fmla="*/ f38 f17 1"/>
                <a:gd name="f41" fmla="*/ f38 f18 1"/>
                <a:gd name="f42" fmla="*/ f37 f18 1"/>
                <a:gd name="f43" fmla="*/ f36 f17 1"/>
                <a:gd name="f44" fmla="*/ f36 f1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3" y="f44"/>
                </a:cxn>
                <a:cxn ang="f33">
                  <a:pos x="f43" y="f44"/>
                </a:cxn>
                <a:cxn ang="f34">
                  <a:pos x="f43" y="f44"/>
                </a:cxn>
                <a:cxn ang="f35">
                  <a:pos x="f43" y="f44"/>
                </a:cxn>
              </a:cxnLst>
              <a:rect l="f39" t="f42" r="f40" b="f41"/>
              <a:pathLst>
                <a:path w="19679" h="19679">
                  <a:moveTo>
                    <a:pt x="f7" y="f8"/>
                  </a:moveTo>
                  <a:cubicBezTo>
                    <a:pt x="f9" y="f10"/>
                    <a:pt x="f9" y="f11"/>
                    <a:pt x="f7" y="f7"/>
                  </a:cubicBezTo>
                  <a:cubicBezTo>
                    <a:pt x="f11" y="f9"/>
                    <a:pt x="f10" y="f9"/>
                    <a:pt x="f8" y="f7"/>
                  </a:cubicBezTo>
                  <a:cubicBezTo>
                    <a:pt x="f12" y="f11"/>
                    <a:pt x="f12" y="f10"/>
                    <a:pt x="f8" y="f8"/>
                  </a:cubicBezTo>
                  <a:cubicBezTo>
                    <a:pt x="f10" y="f12"/>
                    <a:pt x="f11" y="f12"/>
                    <a:pt x="f7" y="f8"/>
                  </a:cubicBezTo>
                  <a:close/>
                </a:path>
              </a:pathLst>
            </a:custGeom>
            <a:solidFill>
              <a:srgbClr val="EDF5F9"/>
            </a:solidFill>
            <a:ln w="12701" cap="flat">
              <a:solidFill>
                <a:srgbClr val="BAD8E8"/>
              </a:solidFill>
              <a:prstDash val="solid"/>
              <a:miter/>
            </a:ln>
          </p:spPr>
          <p:txBody>
            <a:bodyPr vert="horz" wrap="square" lIns="0" tIns="0" rIns="0" bIns="0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32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1" name="Freeform 429">
              <a:extLst>
                <a:ext uri="{FF2B5EF4-FFF2-40B4-BE49-F238E27FC236}">
                  <a16:creationId xmlns:a16="http://schemas.microsoft.com/office/drawing/2014/main" id="{96CEFCF2-062C-9C30-2C1D-DEC605D0A347}"/>
                </a:ext>
              </a:extLst>
            </p:cNvPr>
            <p:cNvSpPr/>
            <p:nvPr/>
          </p:nvSpPr>
          <p:spPr>
            <a:xfrm>
              <a:off x="993200" y="1749136"/>
              <a:ext cx="18653" cy="1698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"/>
                <a:gd name="f7" fmla="val 15"/>
                <a:gd name="f8" fmla="val 2"/>
                <a:gd name="f9" fmla="val 7"/>
                <a:gd name="f10" fmla="val 9"/>
                <a:gd name="f11" fmla="val 13"/>
                <a:gd name="f12" fmla="val 10"/>
                <a:gd name="f13" fmla="val 5"/>
                <a:gd name="f14" fmla="val 3"/>
                <a:gd name="f15" fmla="val 8"/>
                <a:gd name="f16" fmla="val 1"/>
                <a:gd name="f17" fmla="val 6"/>
                <a:gd name="f18" fmla="+- 0 0 -90"/>
                <a:gd name="f19" fmla="*/ f3 1 14"/>
                <a:gd name="f20" fmla="*/ f4 1 15"/>
                <a:gd name="f21" fmla="val f5"/>
                <a:gd name="f22" fmla="val f6"/>
                <a:gd name="f23" fmla="val f7"/>
                <a:gd name="f24" fmla="*/ f18 f0 1"/>
                <a:gd name="f25" fmla="+- f23 0 f21"/>
                <a:gd name="f26" fmla="+- f22 0 f21"/>
                <a:gd name="f27" fmla="*/ f24 1 f2"/>
                <a:gd name="f28" fmla="*/ f26 1 14"/>
                <a:gd name="f29" fmla="*/ f25 1 15"/>
                <a:gd name="f30" fmla="*/ 2147483646 f26 1"/>
                <a:gd name="f31" fmla="*/ 2147483646 f25 1"/>
                <a:gd name="f32" fmla="*/ 0 f25 1"/>
                <a:gd name="f33" fmla="*/ 0 f26 1"/>
                <a:gd name="f34" fmla="+- f27 0 f1"/>
                <a:gd name="f35" fmla="*/ f30 1 14"/>
                <a:gd name="f36" fmla="*/ f31 1 15"/>
                <a:gd name="f37" fmla="*/ f32 1 15"/>
                <a:gd name="f38" fmla="*/ f33 1 14"/>
                <a:gd name="f39" fmla="*/ 0 1 f28"/>
                <a:gd name="f40" fmla="*/ f22 1 f28"/>
                <a:gd name="f41" fmla="*/ 0 1 f29"/>
                <a:gd name="f42" fmla="*/ f23 1 f29"/>
                <a:gd name="f43" fmla="*/ f35 1 f28"/>
                <a:gd name="f44" fmla="*/ f36 1 f29"/>
                <a:gd name="f45" fmla="*/ f37 1 f29"/>
                <a:gd name="f46" fmla="*/ f38 1 f28"/>
                <a:gd name="f47" fmla="*/ f39 f19 1"/>
                <a:gd name="f48" fmla="*/ f40 f19 1"/>
                <a:gd name="f49" fmla="*/ f42 f20 1"/>
                <a:gd name="f50" fmla="*/ f41 f20 1"/>
                <a:gd name="f51" fmla="*/ f43 f19 1"/>
                <a:gd name="f52" fmla="*/ f44 f20 1"/>
                <a:gd name="f53" fmla="*/ f45 f20 1"/>
                <a:gd name="f54" fmla="*/ f46 f1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3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4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  <a:cxn ang="f34">
                  <a:pos x="f51" y="f52"/>
                </a:cxn>
              </a:cxnLst>
              <a:rect l="f47" t="f50" r="f48" b="f49"/>
              <a:pathLst>
                <a:path w="14" h="15">
                  <a:moveTo>
                    <a:pt x="f8" y="f9"/>
                  </a:moveTo>
                  <a:lnTo>
                    <a:pt x="f10" y="f11"/>
                  </a:lnTo>
                  <a:lnTo>
                    <a:pt x="f6" y="f7"/>
                  </a:lnTo>
                  <a:lnTo>
                    <a:pt x="f6" y="f6"/>
                  </a:lnTo>
                  <a:lnTo>
                    <a:pt x="f12" y="f9"/>
                  </a:lnTo>
                  <a:lnTo>
                    <a:pt x="f10" y="f13"/>
                  </a:lnTo>
                  <a:lnTo>
                    <a:pt x="f10" y="f14"/>
                  </a:lnTo>
                  <a:lnTo>
                    <a:pt x="f15" y="f16"/>
                  </a:lnTo>
                  <a:lnTo>
                    <a:pt x="f9" y="f5"/>
                  </a:lnTo>
                  <a:lnTo>
                    <a:pt x="f17" y="f16"/>
                  </a:lnTo>
                  <a:lnTo>
                    <a:pt x="f14" y="f8"/>
                  </a:lnTo>
                  <a:lnTo>
                    <a:pt x="f8" y="f14"/>
                  </a:lnTo>
                  <a:lnTo>
                    <a:pt x="f5" y="f13"/>
                  </a:lnTo>
                  <a:lnTo>
                    <a:pt x="f16" y="f1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2" name="Freeform 434">
              <a:extLst>
                <a:ext uri="{FF2B5EF4-FFF2-40B4-BE49-F238E27FC236}">
                  <a16:creationId xmlns:a16="http://schemas.microsoft.com/office/drawing/2014/main" id="{947192A1-30B6-C3F3-A430-A096087BD11E}"/>
                </a:ext>
              </a:extLst>
            </p:cNvPr>
            <p:cNvSpPr/>
            <p:nvPr/>
          </p:nvSpPr>
          <p:spPr>
            <a:xfrm>
              <a:off x="551774" y="1673680"/>
              <a:ext cx="142993" cy="7357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2"/>
                <a:gd name="f7" fmla="val 60"/>
                <a:gd name="f8" fmla="val 76"/>
                <a:gd name="f9" fmla="val 40"/>
                <a:gd name="f10" fmla="val 75"/>
                <a:gd name="f11" fmla="val 41"/>
                <a:gd name="f12" fmla="val 72"/>
                <a:gd name="f13" fmla="val 45"/>
                <a:gd name="f14" fmla="val 68"/>
                <a:gd name="f15" fmla="val 46"/>
                <a:gd name="f16" fmla="val 66"/>
                <a:gd name="f17" fmla="val 42"/>
                <a:gd name="f18" fmla="val 64"/>
                <a:gd name="f19" fmla="val 35"/>
                <a:gd name="f20" fmla="val 61"/>
                <a:gd name="f21" fmla="val 30"/>
                <a:gd name="f22" fmla="val 58"/>
                <a:gd name="f23" fmla="val 27"/>
                <a:gd name="f24" fmla="val 56"/>
                <a:gd name="f25" fmla="val 31"/>
                <a:gd name="f26" fmla="val 55"/>
                <a:gd name="f27" fmla="val 38"/>
                <a:gd name="f28" fmla="val 44"/>
                <a:gd name="f29" fmla="val 53"/>
                <a:gd name="f30" fmla="val 47"/>
                <a:gd name="f31" fmla="val 48"/>
                <a:gd name="f32" fmla="val 52"/>
                <a:gd name="f33" fmla="val 57"/>
                <a:gd name="f34" fmla="val 37"/>
                <a:gd name="f35" fmla="val 33"/>
                <a:gd name="f36" fmla="val 54"/>
                <a:gd name="f37" fmla="val 50"/>
                <a:gd name="f38" fmla="val 22"/>
                <a:gd name="f39" fmla="val 15"/>
                <a:gd name="f40" fmla="val 6"/>
                <a:gd name="f41" fmla="val 4"/>
                <a:gd name="f42" fmla="val 11"/>
                <a:gd name="f43" fmla="val 34"/>
                <a:gd name="f44" fmla="val 17"/>
                <a:gd name="f45" fmla="val 23"/>
                <a:gd name="f46" fmla="val 25"/>
                <a:gd name="f47" fmla="val 19"/>
                <a:gd name="f48" fmla="val 12"/>
                <a:gd name="f49" fmla="val 7"/>
                <a:gd name="f50" fmla="val 2"/>
                <a:gd name="f51" fmla="val 80"/>
                <a:gd name="f52" fmla="val 83"/>
                <a:gd name="f53" fmla="val 87"/>
                <a:gd name="f54" fmla="val 93"/>
                <a:gd name="f55" fmla="val 98"/>
                <a:gd name="f56" fmla="val 99"/>
                <a:gd name="f57" fmla="val 10"/>
                <a:gd name="f58" fmla="val 95"/>
                <a:gd name="f59" fmla="val 91"/>
                <a:gd name="f60" fmla="val 24"/>
                <a:gd name="f61" fmla="val 89"/>
                <a:gd name="f62" fmla="val 86"/>
                <a:gd name="f63" fmla="val 81"/>
                <a:gd name="f64" fmla="val 39"/>
                <a:gd name="f65" fmla="+- 0 0 -90"/>
                <a:gd name="f66" fmla="*/ f3 1 102"/>
                <a:gd name="f67" fmla="*/ f4 1 60"/>
                <a:gd name="f68" fmla="val f5"/>
                <a:gd name="f69" fmla="val f6"/>
                <a:gd name="f70" fmla="val f7"/>
                <a:gd name="f71" fmla="*/ f65 f0 1"/>
                <a:gd name="f72" fmla="+- f70 0 f68"/>
                <a:gd name="f73" fmla="+- f69 0 f68"/>
                <a:gd name="f74" fmla="*/ f71 1 f2"/>
                <a:gd name="f75" fmla="*/ f73 1 102"/>
                <a:gd name="f76" fmla="*/ f72 1 60"/>
                <a:gd name="f77" fmla="*/ 2147483646 f73 1"/>
                <a:gd name="f78" fmla="*/ 2147483646 f72 1"/>
                <a:gd name="f79" fmla="*/ 0 f73 1"/>
                <a:gd name="f80" fmla="*/ 0 f72 1"/>
                <a:gd name="f81" fmla="+- f74 0 f1"/>
                <a:gd name="f82" fmla="*/ f77 1 102"/>
                <a:gd name="f83" fmla="*/ f78 1 60"/>
                <a:gd name="f84" fmla="*/ f79 1 102"/>
                <a:gd name="f85" fmla="*/ f80 1 60"/>
                <a:gd name="f86" fmla="*/ 0 1 f75"/>
                <a:gd name="f87" fmla="*/ f69 1 f75"/>
                <a:gd name="f88" fmla="*/ 0 1 f76"/>
                <a:gd name="f89" fmla="*/ f70 1 f76"/>
                <a:gd name="f90" fmla="*/ f82 1 f75"/>
                <a:gd name="f91" fmla="*/ f83 1 f76"/>
                <a:gd name="f92" fmla="*/ f84 1 f75"/>
                <a:gd name="f93" fmla="*/ f85 1 f76"/>
                <a:gd name="f94" fmla="*/ f86 f66 1"/>
                <a:gd name="f95" fmla="*/ f87 f66 1"/>
                <a:gd name="f96" fmla="*/ f89 f67 1"/>
                <a:gd name="f97" fmla="*/ f88 f67 1"/>
                <a:gd name="f98" fmla="*/ f90 f66 1"/>
                <a:gd name="f99" fmla="*/ f91 f67 1"/>
                <a:gd name="f100" fmla="*/ f92 f66 1"/>
                <a:gd name="f101" fmla="*/ f93 f6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100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101"/>
                </a:cxn>
                <a:cxn ang="f81">
                  <a:pos x="f98" y="f101"/>
                </a:cxn>
                <a:cxn ang="f81">
                  <a:pos x="f98" y="f101"/>
                </a:cxn>
                <a:cxn ang="f81">
                  <a:pos x="f98" y="f101"/>
                </a:cxn>
                <a:cxn ang="f81">
                  <a:pos x="f98" y="f101"/>
                </a:cxn>
                <a:cxn ang="f81">
                  <a:pos x="f98" y="f101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  <a:cxn ang="f81">
                  <a:pos x="f98" y="f99"/>
                </a:cxn>
              </a:cxnLst>
              <a:rect l="f94" t="f97" r="f95" b="f96"/>
              <a:pathLst>
                <a:path w="102" h="60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6" y="f28"/>
                  </a:lnTo>
                  <a:lnTo>
                    <a:pt x="f29" y="f30"/>
                  </a:lnTo>
                  <a:lnTo>
                    <a:pt x="f31" y="f30"/>
                  </a:lnTo>
                  <a:lnTo>
                    <a:pt x="f17" y="f30"/>
                  </a:lnTo>
                  <a:lnTo>
                    <a:pt x="f27" y="f32"/>
                  </a:lnTo>
                  <a:lnTo>
                    <a:pt x="f27" y="f33"/>
                  </a:lnTo>
                  <a:lnTo>
                    <a:pt x="f27" y="f7"/>
                  </a:lnTo>
                  <a:lnTo>
                    <a:pt x="f34" y="f33"/>
                  </a:lnTo>
                  <a:lnTo>
                    <a:pt x="f35" y="f36"/>
                  </a:lnTo>
                  <a:lnTo>
                    <a:pt x="f23" y="f37"/>
                  </a:lnTo>
                  <a:lnTo>
                    <a:pt x="f38" y="f31"/>
                  </a:lnTo>
                  <a:lnTo>
                    <a:pt x="f39" y="f31"/>
                  </a:lnTo>
                  <a:lnTo>
                    <a:pt x="f40" y="f31"/>
                  </a:lnTo>
                  <a:lnTo>
                    <a:pt x="f5" y="f15"/>
                  </a:lnTo>
                  <a:lnTo>
                    <a:pt x="f41" y="f9"/>
                  </a:lnTo>
                  <a:lnTo>
                    <a:pt x="f42" y="f43"/>
                  </a:lnTo>
                  <a:lnTo>
                    <a:pt x="f44" y="f21"/>
                  </a:lnTo>
                  <a:lnTo>
                    <a:pt x="f45" y="f46"/>
                  </a:lnTo>
                  <a:lnTo>
                    <a:pt x="f19" y="f47"/>
                  </a:lnTo>
                  <a:lnTo>
                    <a:pt x="f15" y="f48"/>
                  </a:lnTo>
                  <a:lnTo>
                    <a:pt x="f26" y="f49"/>
                  </a:lnTo>
                  <a:lnTo>
                    <a:pt x="f7" y="f50"/>
                  </a:lnTo>
                  <a:lnTo>
                    <a:pt x="f14" y="f5"/>
                  </a:lnTo>
                  <a:lnTo>
                    <a:pt x="f8" y="f5"/>
                  </a:lnTo>
                  <a:lnTo>
                    <a:pt x="f51" y="f5"/>
                  </a:lnTo>
                  <a:lnTo>
                    <a:pt x="f52" y="f5"/>
                  </a:lnTo>
                  <a:lnTo>
                    <a:pt x="f53" y="f5"/>
                  </a:lnTo>
                  <a:lnTo>
                    <a:pt x="f54" y="f5"/>
                  </a:lnTo>
                  <a:lnTo>
                    <a:pt x="f55" y="f50"/>
                  </a:lnTo>
                  <a:lnTo>
                    <a:pt x="f6" y="f40"/>
                  </a:lnTo>
                  <a:lnTo>
                    <a:pt x="f56" y="f57"/>
                  </a:lnTo>
                  <a:lnTo>
                    <a:pt x="f58" y="f39"/>
                  </a:lnTo>
                  <a:lnTo>
                    <a:pt x="f54" y="f44"/>
                  </a:lnTo>
                  <a:lnTo>
                    <a:pt x="f54" y="f47"/>
                  </a:lnTo>
                  <a:lnTo>
                    <a:pt x="f59" y="f60"/>
                  </a:lnTo>
                  <a:lnTo>
                    <a:pt x="f61" y="f25"/>
                  </a:lnTo>
                  <a:lnTo>
                    <a:pt x="f62" y="f19"/>
                  </a:lnTo>
                  <a:lnTo>
                    <a:pt x="f63" y="f6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3" name="Freeform 438">
              <a:extLst>
                <a:ext uri="{FF2B5EF4-FFF2-40B4-BE49-F238E27FC236}">
                  <a16:creationId xmlns:a16="http://schemas.microsoft.com/office/drawing/2014/main" id="{3B8D6081-CA49-46D1-E06D-A0A8E2BC564A}"/>
                </a:ext>
              </a:extLst>
            </p:cNvPr>
            <p:cNvSpPr/>
            <p:nvPr/>
          </p:nvSpPr>
          <p:spPr>
            <a:xfrm>
              <a:off x="721715" y="1652923"/>
              <a:ext cx="58027" cy="4527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0"/>
                <a:gd name="f7" fmla="val 37"/>
                <a:gd name="f8" fmla="val 38"/>
                <a:gd name="f9" fmla="val 20"/>
                <a:gd name="f10" fmla="val 21"/>
                <a:gd name="f11" fmla="val 35"/>
                <a:gd name="f12" fmla="val 26"/>
                <a:gd name="f13" fmla="val 32"/>
                <a:gd name="f14" fmla="val 30"/>
                <a:gd name="f15" fmla="val 28"/>
                <a:gd name="f16" fmla="val 34"/>
                <a:gd name="f17" fmla="val 24"/>
                <a:gd name="f18" fmla="val 36"/>
                <a:gd name="f19" fmla="val 19"/>
                <a:gd name="f20" fmla="val 14"/>
                <a:gd name="f21" fmla="val 13"/>
                <a:gd name="f22" fmla="val 12"/>
                <a:gd name="f23" fmla="val 11"/>
                <a:gd name="f24" fmla="val 9"/>
                <a:gd name="f25" fmla="val 5"/>
                <a:gd name="f26" fmla="val 2"/>
                <a:gd name="f27" fmla="val 17"/>
                <a:gd name="f28" fmla="val 6"/>
                <a:gd name="f29" fmla="val 7"/>
                <a:gd name="f30" fmla="val 3"/>
                <a:gd name="f31" fmla="val 25"/>
                <a:gd name="f32" fmla="val 4"/>
                <a:gd name="f33" fmla="+- 0 0 -90"/>
                <a:gd name="f34" fmla="*/ f3 1 40"/>
                <a:gd name="f35" fmla="*/ f4 1 37"/>
                <a:gd name="f36" fmla="val f5"/>
                <a:gd name="f37" fmla="val f6"/>
                <a:gd name="f38" fmla="val f7"/>
                <a:gd name="f39" fmla="*/ f33 f0 1"/>
                <a:gd name="f40" fmla="+- f38 0 f36"/>
                <a:gd name="f41" fmla="+- f37 0 f36"/>
                <a:gd name="f42" fmla="*/ f39 1 f2"/>
                <a:gd name="f43" fmla="*/ f41 1 40"/>
                <a:gd name="f44" fmla="*/ f40 1 37"/>
                <a:gd name="f45" fmla="*/ 2147483646 f41 1"/>
                <a:gd name="f46" fmla="*/ 2147483646 f40 1"/>
                <a:gd name="f47" fmla="*/ 0 f41 1"/>
                <a:gd name="f48" fmla="*/ 0 f40 1"/>
                <a:gd name="f49" fmla="+- f42 0 f1"/>
                <a:gd name="f50" fmla="*/ f45 1 40"/>
                <a:gd name="f51" fmla="*/ f46 1 37"/>
                <a:gd name="f52" fmla="*/ f47 1 40"/>
                <a:gd name="f53" fmla="*/ f48 1 37"/>
                <a:gd name="f54" fmla="*/ 0 1 f43"/>
                <a:gd name="f55" fmla="*/ f37 1 f43"/>
                <a:gd name="f56" fmla="*/ 0 1 f44"/>
                <a:gd name="f57" fmla="*/ f38 1 f44"/>
                <a:gd name="f58" fmla="*/ f50 1 f43"/>
                <a:gd name="f59" fmla="*/ f51 1 f44"/>
                <a:gd name="f60" fmla="*/ f52 1 f43"/>
                <a:gd name="f61" fmla="*/ f53 1 f44"/>
                <a:gd name="f62" fmla="*/ f54 f34 1"/>
                <a:gd name="f63" fmla="*/ f55 f34 1"/>
                <a:gd name="f64" fmla="*/ f57 f35 1"/>
                <a:gd name="f65" fmla="*/ f56 f35 1"/>
                <a:gd name="f66" fmla="*/ f58 f34 1"/>
                <a:gd name="f67" fmla="*/ f59 f35 1"/>
                <a:gd name="f68" fmla="*/ f60 f34 1"/>
                <a:gd name="f69" fmla="*/ f61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8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9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  <a:cxn ang="f49">
                  <a:pos x="f66" y="f67"/>
                </a:cxn>
              </a:cxnLst>
              <a:rect l="f62" t="f65" r="f63" b="f64"/>
              <a:pathLst>
                <a:path w="40" h="37">
                  <a:moveTo>
                    <a:pt x="f8" y="f9"/>
                  </a:moveTo>
                  <a:lnTo>
                    <a:pt x="f7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7"/>
                  </a:lnTo>
                  <a:lnTo>
                    <a:pt x="f20" y="f7"/>
                  </a:lnTo>
                  <a:lnTo>
                    <a:pt x="f21" y="f7"/>
                  </a:lnTo>
                  <a:lnTo>
                    <a:pt x="f22" y="f18"/>
                  </a:lnTo>
                  <a:lnTo>
                    <a:pt x="f23" y="f16"/>
                  </a:lnTo>
                  <a:lnTo>
                    <a:pt x="f24" y="f13"/>
                  </a:lnTo>
                  <a:lnTo>
                    <a:pt x="f25" y="f15"/>
                  </a:lnTo>
                  <a:lnTo>
                    <a:pt x="f26" y="f17"/>
                  </a:lnTo>
                  <a:lnTo>
                    <a:pt x="f5" y="f9"/>
                  </a:lnTo>
                  <a:lnTo>
                    <a:pt x="f26" y="f27"/>
                  </a:lnTo>
                  <a:lnTo>
                    <a:pt x="f28" y="f22"/>
                  </a:lnTo>
                  <a:lnTo>
                    <a:pt x="f22" y="f29"/>
                  </a:lnTo>
                  <a:lnTo>
                    <a:pt x="f27" y="f30"/>
                  </a:lnTo>
                  <a:lnTo>
                    <a:pt x="f9" y="f5"/>
                  </a:lnTo>
                  <a:lnTo>
                    <a:pt x="f31" y="f26"/>
                  </a:lnTo>
                  <a:lnTo>
                    <a:pt x="f13" y="f32"/>
                  </a:lnTo>
                  <a:lnTo>
                    <a:pt x="f7" y="f29"/>
                  </a:lnTo>
                  <a:lnTo>
                    <a:pt x="f6" y="f22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4" name="Freeform 439">
              <a:extLst>
                <a:ext uri="{FF2B5EF4-FFF2-40B4-BE49-F238E27FC236}">
                  <a16:creationId xmlns:a16="http://schemas.microsoft.com/office/drawing/2014/main" id="{69079D75-904A-AF6D-2745-208FE5F82BFF}"/>
                </a:ext>
              </a:extLst>
            </p:cNvPr>
            <p:cNvSpPr/>
            <p:nvPr/>
          </p:nvSpPr>
          <p:spPr>
            <a:xfrm flipV="1">
              <a:off x="943466" y="1366186"/>
              <a:ext cx="281845" cy="38484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01"/>
                <a:gd name="f7" fmla="val 319"/>
                <a:gd name="f8" fmla="val 84"/>
                <a:gd name="f9" fmla="val 267"/>
                <a:gd name="f10" fmla="val 88"/>
                <a:gd name="f11" fmla="val 270"/>
                <a:gd name="f12" fmla="val 93"/>
                <a:gd name="f13" fmla="val 277"/>
                <a:gd name="f14" fmla="val 97"/>
                <a:gd name="f15" fmla="val 283"/>
                <a:gd name="f16" fmla="val 95"/>
                <a:gd name="f17" fmla="val 290"/>
                <a:gd name="f18" fmla="val 294"/>
                <a:gd name="f19" fmla="val 82"/>
                <a:gd name="f20" fmla="val 296"/>
                <a:gd name="f21" fmla="val 78"/>
                <a:gd name="f22" fmla="val 301"/>
                <a:gd name="f23" fmla="val 80"/>
                <a:gd name="f24" fmla="val 308"/>
                <a:gd name="f25" fmla="val 315"/>
                <a:gd name="f26" fmla="val 85"/>
                <a:gd name="f27" fmla="val 318"/>
                <a:gd name="f28" fmla="val 92"/>
                <a:gd name="f29" fmla="val 104"/>
                <a:gd name="f30" fmla="val 116"/>
                <a:gd name="f31" fmla="val 123"/>
                <a:gd name="f32" fmla="val 129"/>
                <a:gd name="f33" fmla="val 316"/>
                <a:gd name="f34" fmla="val 136"/>
                <a:gd name="f35" fmla="val 312"/>
                <a:gd name="f36" fmla="val 144"/>
                <a:gd name="f37" fmla="val 309"/>
                <a:gd name="f38" fmla="val 151"/>
                <a:gd name="f39" fmla="val 305"/>
                <a:gd name="f40" fmla="val 158"/>
                <a:gd name="f41" fmla="val 304"/>
                <a:gd name="f42" fmla="val 164"/>
                <a:gd name="f43" fmla="val 171"/>
                <a:gd name="f44" fmla="val 306"/>
                <a:gd name="f45" fmla="val 176"/>
                <a:gd name="f46" fmla="val 182"/>
                <a:gd name="f47" fmla="val 187"/>
                <a:gd name="f48" fmla="val 300"/>
                <a:gd name="f49" fmla="val 191"/>
                <a:gd name="f50" fmla="val 197"/>
                <a:gd name="f51" fmla="val 289"/>
                <a:gd name="f52" fmla="val 198"/>
                <a:gd name="f53" fmla="val 285"/>
                <a:gd name="f54" fmla="val 279"/>
                <a:gd name="f55" fmla="val 273"/>
                <a:gd name="f56" fmla="val 173"/>
                <a:gd name="f57" fmla="val 169"/>
                <a:gd name="f58" fmla="val 266"/>
                <a:gd name="f59" fmla="val 172"/>
                <a:gd name="f60" fmla="val 263"/>
                <a:gd name="f61" fmla="val 177"/>
                <a:gd name="f62" fmla="val 259"/>
                <a:gd name="f63" fmla="val 181"/>
                <a:gd name="f64" fmla="val 256"/>
                <a:gd name="f65" fmla="val 251"/>
                <a:gd name="f66" fmla="val 244"/>
                <a:gd name="f67" fmla="val 238"/>
                <a:gd name="f68" fmla="val 179"/>
                <a:gd name="f69" fmla="val 235"/>
                <a:gd name="f70" fmla="val 232"/>
                <a:gd name="f71" fmla="val 227"/>
                <a:gd name="f72" fmla="val 188"/>
                <a:gd name="f73" fmla="val 219"/>
                <a:gd name="f74" fmla="val 195"/>
                <a:gd name="f75" fmla="val 209"/>
                <a:gd name="f76" fmla="val 190"/>
                <a:gd name="f77" fmla="val 168"/>
                <a:gd name="f78" fmla="val 165"/>
                <a:gd name="f79" fmla="val 162"/>
                <a:gd name="f80" fmla="val 156"/>
                <a:gd name="f81" fmla="val 149"/>
                <a:gd name="f82" fmla="val 139"/>
                <a:gd name="f83" fmla="val 130"/>
                <a:gd name="f84" fmla="val 192"/>
                <a:gd name="f85" fmla="val 120"/>
                <a:gd name="f86" fmla="val 194"/>
                <a:gd name="f87" fmla="val 109"/>
                <a:gd name="f88" fmla="val 100"/>
                <a:gd name="f89" fmla="val 196"/>
                <a:gd name="f90" fmla="val 90"/>
                <a:gd name="f91" fmla="val 77"/>
                <a:gd name="f92" fmla="val 199"/>
                <a:gd name="f93" fmla="val 65"/>
                <a:gd name="f94" fmla="val 55"/>
                <a:gd name="f95" fmla="val 52"/>
                <a:gd name="f96" fmla="val 189"/>
                <a:gd name="f97" fmla="val 54"/>
                <a:gd name="f98" fmla="val 183"/>
                <a:gd name="f99" fmla="val 51"/>
                <a:gd name="f100" fmla="val 40"/>
                <a:gd name="f101" fmla="val 29"/>
                <a:gd name="f102" fmla="val 18"/>
                <a:gd name="f103" fmla="val 10"/>
                <a:gd name="f104" fmla="val 6"/>
                <a:gd name="f105" fmla="val 5"/>
                <a:gd name="f106" fmla="val 3"/>
                <a:gd name="f107" fmla="val 1"/>
                <a:gd name="f108" fmla="val 163"/>
                <a:gd name="f109" fmla="val 161"/>
                <a:gd name="f110" fmla="val 160"/>
                <a:gd name="f111" fmla="val 159"/>
                <a:gd name="f112" fmla="val 2"/>
                <a:gd name="f113" fmla="val 145"/>
                <a:gd name="f114" fmla="val 7"/>
                <a:gd name="f115" fmla="val 135"/>
                <a:gd name="f116" fmla="val 8"/>
                <a:gd name="f117" fmla="val 9"/>
                <a:gd name="f118" fmla="val 126"/>
                <a:gd name="f119" fmla="val 14"/>
                <a:gd name="f120" fmla="val 121"/>
                <a:gd name="f121" fmla="val 17"/>
                <a:gd name="f122" fmla="val 119"/>
                <a:gd name="f123" fmla="val 115"/>
                <a:gd name="f124" fmla="val 108"/>
                <a:gd name="f125" fmla="val 20"/>
                <a:gd name="f126" fmla="val 23"/>
                <a:gd name="f127" fmla="val 26"/>
                <a:gd name="f128" fmla="val 87"/>
                <a:gd name="f129" fmla="val 31"/>
                <a:gd name="f130" fmla="val 39"/>
                <a:gd name="f131" fmla="val 47"/>
                <a:gd name="f132" fmla="val 81"/>
                <a:gd name="f133" fmla="val 59"/>
                <a:gd name="f134" fmla="val 60"/>
                <a:gd name="f135" fmla="val 74"/>
                <a:gd name="f136" fmla="val 61"/>
                <a:gd name="f137" fmla="val 67"/>
                <a:gd name="f138" fmla="val 62"/>
                <a:gd name="f139" fmla="val 66"/>
                <a:gd name="f140" fmla="val 70"/>
                <a:gd name="f141" fmla="val 57"/>
                <a:gd name="f142" fmla="val 46"/>
                <a:gd name="f143" fmla="val 43"/>
                <a:gd name="f144" fmla="val 89"/>
                <a:gd name="f145" fmla="val 37"/>
                <a:gd name="f146" fmla="val 35"/>
                <a:gd name="f147" fmla="val 99"/>
                <a:gd name="f148" fmla="val 38"/>
                <a:gd name="f149" fmla="val 107"/>
                <a:gd name="f150" fmla="val 44"/>
                <a:gd name="f151" fmla="val 122"/>
                <a:gd name="f152" fmla="val 49"/>
                <a:gd name="f153" fmla="val 128"/>
                <a:gd name="f154" fmla="val 132"/>
                <a:gd name="f155" fmla="val 45"/>
                <a:gd name="f156" fmla="val 138"/>
                <a:gd name="f157" fmla="val 143"/>
                <a:gd name="f158" fmla="val 34"/>
                <a:gd name="f159" fmla="val 118"/>
                <a:gd name="f160" fmla="val 28"/>
                <a:gd name="f161" fmla="val 113"/>
                <a:gd name="f162" fmla="val 24"/>
                <a:gd name="f163" fmla="val 114"/>
                <a:gd name="f164" fmla="val 21"/>
                <a:gd name="f165" fmla="val 16"/>
                <a:gd name="f166" fmla="val 12"/>
                <a:gd name="f167" fmla="val 141"/>
                <a:gd name="f168" fmla="val 4"/>
                <a:gd name="f169" fmla="val 153"/>
                <a:gd name="f170" fmla="val 166"/>
                <a:gd name="f171" fmla="val 184"/>
                <a:gd name="f172" fmla="val 19"/>
                <a:gd name="f173" fmla="val 200"/>
                <a:gd name="f174" fmla="val 27"/>
                <a:gd name="f175" fmla="val 30"/>
                <a:gd name="f176" fmla="val 205"/>
                <a:gd name="f177" fmla="val 211"/>
                <a:gd name="f178" fmla="val 215"/>
                <a:gd name="f179" fmla="val 224"/>
                <a:gd name="f180" fmla="val 229"/>
                <a:gd name="f181" fmla="val 234"/>
                <a:gd name="f182" fmla="val 36"/>
                <a:gd name="f183" fmla="val 245"/>
                <a:gd name="f184" fmla="val 248"/>
                <a:gd name="f185" fmla="val 63"/>
                <a:gd name="f186" fmla="val 237"/>
                <a:gd name="f187" fmla="val 75"/>
                <a:gd name="f188" fmla="val 230"/>
                <a:gd name="f189" fmla="val 96"/>
                <a:gd name="f190" fmla="val 240"/>
                <a:gd name="f191" fmla="val 247"/>
                <a:gd name="f192" fmla="val 111"/>
                <a:gd name="f193" fmla="val 264"/>
                <a:gd name="f194" fmla="val 110"/>
                <a:gd name="f195" fmla="val 262"/>
                <a:gd name="f196" fmla="val 103"/>
                <a:gd name="f197" fmla="val 252"/>
                <a:gd name="f198" fmla="val 258"/>
                <a:gd name="f199" fmla="+- 0 0 -90"/>
                <a:gd name="f200" fmla="*/ f3 1 201"/>
                <a:gd name="f201" fmla="*/ f4 1 319"/>
                <a:gd name="f202" fmla="val f5"/>
                <a:gd name="f203" fmla="val f6"/>
                <a:gd name="f204" fmla="val f7"/>
                <a:gd name="f205" fmla="*/ f199 f0 1"/>
                <a:gd name="f206" fmla="+- f204 0 f202"/>
                <a:gd name="f207" fmla="+- f203 0 f202"/>
                <a:gd name="f208" fmla="*/ f205 1 f2"/>
                <a:gd name="f209" fmla="*/ f207 1 201"/>
                <a:gd name="f210" fmla="*/ f206 1 319"/>
                <a:gd name="f211" fmla="*/ 2147483646 f207 1"/>
                <a:gd name="f212" fmla="*/ 2147483646 f206 1"/>
                <a:gd name="f213" fmla="*/ 0 f206 1"/>
                <a:gd name="f214" fmla="*/ 0 f207 1"/>
                <a:gd name="f215" fmla="+- f208 0 f1"/>
                <a:gd name="f216" fmla="*/ f211 1 201"/>
                <a:gd name="f217" fmla="*/ f212 1 319"/>
                <a:gd name="f218" fmla="*/ f213 1 319"/>
                <a:gd name="f219" fmla="*/ f214 1 201"/>
                <a:gd name="f220" fmla="*/ 0 1 f209"/>
                <a:gd name="f221" fmla="*/ f203 1 f209"/>
                <a:gd name="f222" fmla="*/ 0 1 f210"/>
                <a:gd name="f223" fmla="*/ f204 1 f210"/>
                <a:gd name="f224" fmla="*/ f216 1 f209"/>
                <a:gd name="f225" fmla="*/ f217 1 f210"/>
                <a:gd name="f226" fmla="*/ f218 1 f210"/>
                <a:gd name="f227" fmla="*/ f219 1 f209"/>
                <a:gd name="f228" fmla="*/ f220 f200 1"/>
                <a:gd name="f229" fmla="*/ f221 f200 1"/>
                <a:gd name="f230" fmla="*/ f223 f201 1"/>
                <a:gd name="f231" fmla="*/ f222 f201 1"/>
                <a:gd name="f232" fmla="*/ f224 f200 1"/>
                <a:gd name="f233" fmla="*/ f225 f201 1"/>
                <a:gd name="f234" fmla="*/ f226 f201 1"/>
                <a:gd name="f235" fmla="*/ f227 f20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4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5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  <a:cxn ang="f215">
                  <a:pos x="f232" y="f233"/>
                </a:cxn>
              </a:cxnLst>
              <a:rect l="f228" t="f231" r="f229" b="f230"/>
              <a:pathLst>
                <a:path w="201" h="319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0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19" y="f25"/>
                  </a:lnTo>
                  <a:lnTo>
                    <a:pt x="f26" y="f27"/>
                  </a:lnTo>
                  <a:lnTo>
                    <a:pt x="f28" y="f7"/>
                  </a:lnTo>
                  <a:lnTo>
                    <a:pt x="f29" y="f7"/>
                  </a:lnTo>
                  <a:lnTo>
                    <a:pt x="f30" y="f7"/>
                  </a:lnTo>
                  <a:lnTo>
                    <a:pt x="f31" y="f27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1"/>
                  </a:lnTo>
                  <a:lnTo>
                    <a:pt x="f43" y="f44"/>
                  </a:lnTo>
                  <a:lnTo>
                    <a:pt x="f45" y="f44"/>
                  </a:lnTo>
                  <a:lnTo>
                    <a:pt x="f46" y="f39"/>
                  </a:lnTo>
                  <a:lnTo>
                    <a:pt x="f47" y="f48"/>
                  </a:lnTo>
                  <a:lnTo>
                    <a:pt x="f49" y="f18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49" y="f54"/>
                  </a:lnTo>
                  <a:lnTo>
                    <a:pt x="f2" y="f55"/>
                  </a:lnTo>
                  <a:lnTo>
                    <a:pt x="f56" y="f11"/>
                  </a:lnTo>
                  <a:lnTo>
                    <a:pt x="f57" y="f58"/>
                  </a:lnTo>
                  <a:lnTo>
                    <a:pt x="f59" y="f60"/>
                  </a:lnTo>
                  <a:lnTo>
                    <a:pt x="f61" y="f62"/>
                  </a:lnTo>
                  <a:lnTo>
                    <a:pt x="f63" y="f64"/>
                  </a:lnTo>
                  <a:lnTo>
                    <a:pt x="f46" y="f65"/>
                  </a:lnTo>
                  <a:lnTo>
                    <a:pt x="f46" y="f66"/>
                  </a:lnTo>
                  <a:lnTo>
                    <a:pt x="f2" y="f67"/>
                  </a:lnTo>
                  <a:lnTo>
                    <a:pt x="f68" y="f69"/>
                  </a:lnTo>
                  <a:lnTo>
                    <a:pt x="f68" y="f70"/>
                  </a:lnTo>
                  <a:lnTo>
                    <a:pt x="f46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50" y="f50"/>
                  </a:lnTo>
                  <a:lnTo>
                    <a:pt x="f76" y="f47"/>
                  </a:lnTo>
                  <a:lnTo>
                    <a:pt x="f61" y="f68"/>
                  </a:lnTo>
                  <a:lnTo>
                    <a:pt x="f77" y="f56"/>
                  </a:lnTo>
                  <a:lnTo>
                    <a:pt x="f78" y="f77"/>
                  </a:lnTo>
                  <a:lnTo>
                    <a:pt x="f77" y="f79"/>
                  </a:lnTo>
                  <a:lnTo>
                    <a:pt x="f61" y="f80"/>
                  </a:lnTo>
                  <a:lnTo>
                    <a:pt x="f72" y="f81"/>
                  </a:lnTo>
                  <a:lnTo>
                    <a:pt x="f74" y="f82"/>
                  </a:lnTo>
                  <a:lnTo>
                    <a:pt x="f74" y="f83"/>
                  </a:lnTo>
                  <a:lnTo>
                    <a:pt x="f84" y="f85"/>
                  </a:lnTo>
                  <a:lnTo>
                    <a:pt x="f86" y="f87"/>
                  </a:lnTo>
                  <a:lnTo>
                    <a:pt x="f74" y="f88"/>
                  </a:lnTo>
                  <a:lnTo>
                    <a:pt x="f89" y="f90"/>
                  </a:lnTo>
                  <a:lnTo>
                    <a:pt x="f50" y="f91"/>
                  </a:lnTo>
                  <a:lnTo>
                    <a:pt x="f92" y="f93"/>
                  </a:lnTo>
                  <a:lnTo>
                    <a:pt x="f6" y="f94"/>
                  </a:lnTo>
                  <a:lnTo>
                    <a:pt x="f89" y="f95"/>
                  </a:lnTo>
                  <a:lnTo>
                    <a:pt x="f96" y="f97"/>
                  </a:lnTo>
                  <a:lnTo>
                    <a:pt x="f98" y="f97"/>
                  </a:lnTo>
                  <a:lnTo>
                    <a:pt x="f98" y="f99"/>
                  </a:lnTo>
                  <a:lnTo>
                    <a:pt x="f76" y="f100"/>
                  </a:lnTo>
                  <a:lnTo>
                    <a:pt x="f50" y="f101"/>
                  </a:lnTo>
                  <a:lnTo>
                    <a:pt x="f92" y="f102"/>
                  </a:lnTo>
                  <a:lnTo>
                    <a:pt x="f52" y="f103"/>
                  </a:lnTo>
                  <a:lnTo>
                    <a:pt x="f86" y="f104"/>
                  </a:lnTo>
                  <a:lnTo>
                    <a:pt x="f84" y="f105"/>
                  </a:lnTo>
                  <a:lnTo>
                    <a:pt x="f76" y="f105"/>
                  </a:lnTo>
                  <a:lnTo>
                    <a:pt x="f96" y="f105"/>
                  </a:lnTo>
                  <a:lnTo>
                    <a:pt x="f47" y="f105"/>
                  </a:lnTo>
                  <a:lnTo>
                    <a:pt x="f68" y="f104"/>
                  </a:lnTo>
                  <a:lnTo>
                    <a:pt x="f56" y="f106"/>
                  </a:lnTo>
                  <a:lnTo>
                    <a:pt x="f77" y="f107"/>
                  </a:lnTo>
                  <a:lnTo>
                    <a:pt x="f42" y="f5"/>
                  </a:lnTo>
                  <a:lnTo>
                    <a:pt x="f108" y="f5"/>
                  </a:lnTo>
                  <a:lnTo>
                    <a:pt x="f109" y="f5"/>
                  </a:lnTo>
                  <a:lnTo>
                    <a:pt x="f110" y="f107"/>
                  </a:lnTo>
                  <a:lnTo>
                    <a:pt x="f111" y="f112"/>
                  </a:lnTo>
                  <a:lnTo>
                    <a:pt x="f80" y="f105"/>
                  </a:lnTo>
                  <a:lnTo>
                    <a:pt x="f38" y="f104"/>
                  </a:lnTo>
                  <a:lnTo>
                    <a:pt x="f113" y="f104"/>
                  </a:lnTo>
                  <a:lnTo>
                    <a:pt x="f82" y="f114"/>
                  </a:lnTo>
                  <a:lnTo>
                    <a:pt x="f115" y="f116"/>
                  </a:lnTo>
                  <a:lnTo>
                    <a:pt x="f32" y="f117"/>
                  </a:lnTo>
                  <a:lnTo>
                    <a:pt x="f118" y="f103"/>
                  </a:lnTo>
                  <a:lnTo>
                    <a:pt x="f31" y="f119"/>
                  </a:lnTo>
                  <a:lnTo>
                    <a:pt x="f120" y="f121"/>
                  </a:lnTo>
                  <a:lnTo>
                    <a:pt x="f122" y="f102"/>
                  </a:lnTo>
                  <a:lnTo>
                    <a:pt x="f123" y="f102"/>
                  </a:lnTo>
                  <a:lnTo>
                    <a:pt x="f124" y="f125"/>
                  </a:lnTo>
                  <a:lnTo>
                    <a:pt x="f88" y="f126"/>
                  </a:lnTo>
                  <a:lnTo>
                    <a:pt x="f12" y="f127"/>
                  </a:lnTo>
                  <a:lnTo>
                    <a:pt x="f128" y="f129"/>
                  </a:lnTo>
                  <a:lnTo>
                    <a:pt x="f19" y="f130"/>
                  </a:lnTo>
                  <a:lnTo>
                    <a:pt x="f23" y="f131"/>
                  </a:lnTo>
                  <a:lnTo>
                    <a:pt x="f132" y="f97"/>
                  </a:lnTo>
                  <a:lnTo>
                    <a:pt x="f132" y="f133"/>
                  </a:lnTo>
                  <a:lnTo>
                    <a:pt x="f23" y="f134"/>
                  </a:lnTo>
                  <a:lnTo>
                    <a:pt x="f135" y="f136"/>
                  </a:lnTo>
                  <a:lnTo>
                    <a:pt x="f137" y="f138"/>
                  </a:lnTo>
                  <a:lnTo>
                    <a:pt x="f134" y="f139"/>
                  </a:lnTo>
                  <a:lnTo>
                    <a:pt x="f133" y="f140"/>
                  </a:lnTo>
                  <a:lnTo>
                    <a:pt x="f141" y="f135"/>
                  </a:lnTo>
                  <a:lnTo>
                    <a:pt x="f95" y="f91"/>
                  </a:lnTo>
                  <a:lnTo>
                    <a:pt x="f142" y="f132"/>
                  </a:lnTo>
                  <a:lnTo>
                    <a:pt x="f143" y="f8"/>
                  </a:lnTo>
                  <a:lnTo>
                    <a:pt x="f100" y="f144"/>
                  </a:lnTo>
                  <a:lnTo>
                    <a:pt x="f145" y="f12"/>
                  </a:lnTo>
                  <a:lnTo>
                    <a:pt x="f146" y="f147"/>
                  </a:lnTo>
                  <a:lnTo>
                    <a:pt x="f148" y="f149"/>
                  </a:lnTo>
                  <a:lnTo>
                    <a:pt x="f150" y="f123"/>
                  </a:lnTo>
                  <a:lnTo>
                    <a:pt x="f131" y="f151"/>
                  </a:lnTo>
                  <a:lnTo>
                    <a:pt x="f152" y="f153"/>
                  </a:lnTo>
                  <a:lnTo>
                    <a:pt x="f131" y="f154"/>
                  </a:lnTo>
                  <a:lnTo>
                    <a:pt x="f155" y="f156"/>
                  </a:lnTo>
                  <a:lnTo>
                    <a:pt x="f150" y="f157"/>
                  </a:lnTo>
                  <a:lnTo>
                    <a:pt x="f143" y="f157"/>
                  </a:lnTo>
                  <a:lnTo>
                    <a:pt x="f148" y="f34"/>
                  </a:lnTo>
                  <a:lnTo>
                    <a:pt x="f158" y="f118"/>
                  </a:lnTo>
                  <a:lnTo>
                    <a:pt x="f129" y="f159"/>
                  </a:lnTo>
                  <a:lnTo>
                    <a:pt x="f160" y="f161"/>
                  </a:lnTo>
                  <a:lnTo>
                    <a:pt x="f162" y="f163"/>
                  </a:lnTo>
                  <a:lnTo>
                    <a:pt x="f164" y="f159"/>
                  </a:lnTo>
                  <a:lnTo>
                    <a:pt x="f165" y="f31"/>
                  </a:lnTo>
                  <a:lnTo>
                    <a:pt x="f166" y="f153"/>
                  </a:lnTo>
                  <a:lnTo>
                    <a:pt x="f117" y="f154"/>
                  </a:lnTo>
                  <a:lnTo>
                    <a:pt x="f114" y="f167"/>
                  </a:lnTo>
                  <a:lnTo>
                    <a:pt x="f168" y="f169"/>
                  </a:lnTo>
                  <a:lnTo>
                    <a:pt x="f5" y="f170"/>
                  </a:lnTo>
                  <a:lnTo>
                    <a:pt x="f5" y="f45"/>
                  </a:lnTo>
                  <a:lnTo>
                    <a:pt x="f107" y="f171"/>
                  </a:lnTo>
                  <a:lnTo>
                    <a:pt x="f112" y="f76"/>
                  </a:lnTo>
                  <a:lnTo>
                    <a:pt x="f104" y="f74"/>
                  </a:lnTo>
                  <a:lnTo>
                    <a:pt x="f166" y="f52"/>
                  </a:lnTo>
                  <a:lnTo>
                    <a:pt x="f172" y="f92"/>
                  </a:lnTo>
                  <a:lnTo>
                    <a:pt x="f126" y="f173"/>
                  </a:lnTo>
                  <a:lnTo>
                    <a:pt x="f174" y="f173"/>
                  </a:lnTo>
                  <a:lnTo>
                    <a:pt x="f175" y="f92"/>
                  </a:lnTo>
                  <a:lnTo>
                    <a:pt x="f129" y="f173"/>
                  </a:lnTo>
                  <a:lnTo>
                    <a:pt x="f175" y="f176"/>
                  </a:lnTo>
                  <a:lnTo>
                    <a:pt x="f160" y="f177"/>
                  </a:lnTo>
                  <a:lnTo>
                    <a:pt x="f162" y="f178"/>
                  </a:lnTo>
                  <a:lnTo>
                    <a:pt x="f126" y="f73"/>
                  </a:lnTo>
                  <a:lnTo>
                    <a:pt x="f162" y="f179"/>
                  </a:lnTo>
                  <a:lnTo>
                    <a:pt x="f160" y="f180"/>
                  </a:lnTo>
                  <a:lnTo>
                    <a:pt x="f129" y="f181"/>
                  </a:lnTo>
                  <a:lnTo>
                    <a:pt x="f182" y="f67"/>
                  </a:lnTo>
                  <a:lnTo>
                    <a:pt x="f150" y="f183"/>
                  </a:lnTo>
                  <a:lnTo>
                    <a:pt x="f97" y="f184"/>
                  </a:lnTo>
                  <a:lnTo>
                    <a:pt x="f185" y="f66"/>
                  </a:lnTo>
                  <a:lnTo>
                    <a:pt x="f140" y="f186"/>
                  </a:lnTo>
                  <a:lnTo>
                    <a:pt x="f187" y="f70"/>
                  </a:lnTo>
                  <a:lnTo>
                    <a:pt x="f91" y="f180"/>
                  </a:lnTo>
                  <a:lnTo>
                    <a:pt x="f19" y="f188"/>
                  </a:lnTo>
                  <a:lnTo>
                    <a:pt x="f10" y="f181"/>
                  </a:lnTo>
                  <a:lnTo>
                    <a:pt x="f189" y="f190"/>
                  </a:lnTo>
                  <a:lnTo>
                    <a:pt x="f29" y="f191"/>
                  </a:lnTo>
                  <a:lnTo>
                    <a:pt x="f192" y="f64"/>
                  </a:lnTo>
                  <a:lnTo>
                    <a:pt x="f161" y="f60"/>
                  </a:lnTo>
                  <a:lnTo>
                    <a:pt x="f161" y="f193"/>
                  </a:lnTo>
                  <a:lnTo>
                    <a:pt x="f194" y="f195"/>
                  </a:lnTo>
                  <a:lnTo>
                    <a:pt x="f196" y="f64"/>
                  </a:lnTo>
                  <a:lnTo>
                    <a:pt x="f12" y="f197"/>
                  </a:lnTo>
                  <a:lnTo>
                    <a:pt x="f26" y="f197"/>
                  </a:lnTo>
                  <a:lnTo>
                    <a:pt x="f19" y="f198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5" name="Freeform 440">
              <a:extLst>
                <a:ext uri="{FF2B5EF4-FFF2-40B4-BE49-F238E27FC236}">
                  <a16:creationId xmlns:a16="http://schemas.microsoft.com/office/drawing/2014/main" id="{65296E44-D580-9A8A-D716-4238076D8EE7}"/>
                </a:ext>
              </a:extLst>
            </p:cNvPr>
            <p:cNvSpPr/>
            <p:nvPr/>
          </p:nvSpPr>
          <p:spPr>
            <a:xfrm>
              <a:off x="949684" y="1684991"/>
              <a:ext cx="47667" cy="2074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18"/>
                <a:gd name="f8" fmla="val 31"/>
                <a:gd name="f9" fmla="val 32"/>
                <a:gd name="f10" fmla="val 1"/>
                <a:gd name="f11" fmla="val 3"/>
                <a:gd name="f12" fmla="val 6"/>
                <a:gd name="f13" fmla="val 30"/>
                <a:gd name="f14" fmla="val 10"/>
                <a:gd name="f15" fmla="val 24"/>
                <a:gd name="f16" fmla="val 14"/>
                <a:gd name="f17" fmla="val 22"/>
                <a:gd name="f18" fmla="val 16"/>
                <a:gd name="f19" fmla="val 19"/>
                <a:gd name="f20" fmla="val 12"/>
                <a:gd name="f21" fmla="val 4"/>
                <a:gd name="f22" fmla="val 13"/>
                <a:gd name="f23" fmla="val 9"/>
                <a:gd name="f24" fmla="val 7"/>
                <a:gd name="f25" fmla="val 2"/>
                <a:gd name="f26" fmla="val 29"/>
                <a:gd name="f27" fmla="+- 0 0 -90"/>
                <a:gd name="f28" fmla="*/ f3 1 34"/>
                <a:gd name="f29" fmla="*/ f4 1 18"/>
                <a:gd name="f30" fmla="val f5"/>
                <a:gd name="f31" fmla="val f6"/>
                <a:gd name="f32" fmla="val f7"/>
                <a:gd name="f33" fmla="*/ f27 f0 1"/>
                <a:gd name="f34" fmla="+- f32 0 f30"/>
                <a:gd name="f35" fmla="+- f31 0 f30"/>
                <a:gd name="f36" fmla="*/ f33 1 f2"/>
                <a:gd name="f37" fmla="*/ f35 1 34"/>
                <a:gd name="f38" fmla="*/ f34 1 18"/>
                <a:gd name="f39" fmla="*/ 2147483646 f35 1"/>
                <a:gd name="f40" fmla="*/ 0 f34 1"/>
                <a:gd name="f41" fmla="*/ 2147483646 f34 1"/>
                <a:gd name="f42" fmla="*/ 0 f35 1"/>
                <a:gd name="f43" fmla="+- f36 0 f1"/>
                <a:gd name="f44" fmla="*/ f39 1 34"/>
                <a:gd name="f45" fmla="*/ f40 1 18"/>
                <a:gd name="f46" fmla="*/ f41 1 18"/>
                <a:gd name="f47" fmla="*/ f42 1 34"/>
                <a:gd name="f48" fmla="*/ 0 1 f37"/>
                <a:gd name="f49" fmla="*/ f31 1 f37"/>
                <a:gd name="f50" fmla="*/ 0 1 f38"/>
                <a:gd name="f51" fmla="*/ f32 1 f38"/>
                <a:gd name="f52" fmla="*/ f44 1 f37"/>
                <a:gd name="f53" fmla="*/ f45 1 f38"/>
                <a:gd name="f54" fmla="*/ f46 1 f38"/>
                <a:gd name="f55" fmla="*/ f47 1 f37"/>
                <a:gd name="f56" fmla="*/ f48 f28 1"/>
                <a:gd name="f57" fmla="*/ f49 f28 1"/>
                <a:gd name="f58" fmla="*/ f51 f29 1"/>
                <a:gd name="f59" fmla="*/ f50 f29 1"/>
                <a:gd name="f60" fmla="*/ f52 f28 1"/>
                <a:gd name="f61" fmla="*/ f53 f29 1"/>
                <a:gd name="f62" fmla="*/ f54 f29 1"/>
                <a:gd name="f63" fmla="*/ f55 f2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3">
                  <a:pos x="f60" y="f61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3" y="f62"/>
                </a:cxn>
                <a:cxn ang="f43">
                  <a:pos x="f63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2"/>
                </a:cxn>
                <a:cxn ang="f43">
                  <a:pos x="f60" y="f61"/>
                </a:cxn>
              </a:cxnLst>
              <a:rect l="f56" t="f59" r="f57" b="f58"/>
              <a:pathLst>
                <a:path w="34" h="18">
                  <a:moveTo>
                    <a:pt x="f8" y="f5"/>
                  </a:moveTo>
                  <a:lnTo>
                    <a:pt x="f9" y="f10"/>
                  </a:lnTo>
                  <a:lnTo>
                    <a:pt x="f6" y="f11"/>
                  </a:lnTo>
                  <a:lnTo>
                    <a:pt x="f6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7"/>
                  </a:lnTo>
                  <a:lnTo>
                    <a:pt x="f20" y="f7"/>
                  </a:lnTo>
                  <a:lnTo>
                    <a:pt x="f21" y="f18"/>
                  </a:lnTo>
                  <a:lnTo>
                    <a:pt x="f5" y="f22"/>
                  </a:lnTo>
                  <a:lnTo>
                    <a:pt x="f5" y="f23"/>
                  </a:lnTo>
                  <a:lnTo>
                    <a:pt x="f21" y="f24"/>
                  </a:lnTo>
                  <a:lnTo>
                    <a:pt x="f16" y="f21"/>
                  </a:lnTo>
                  <a:lnTo>
                    <a:pt x="f17" y="f25"/>
                  </a:lnTo>
                  <a:lnTo>
                    <a:pt x="f26" y="f10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6" name="Freeform 441">
              <a:extLst>
                <a:ext uri="{FF2B5EF4-FFF2-40B4-BE49-F238E27FC236}">
                  <a16:creationId xmlns:a16="http://schemas.microsoft.com/office/drawing/2014/main" id="{62172944-CEC6-F3D3-09F3-2E9247B958DD}"/>
                </a:ext>
              </a:extLst>
            </p:cNvPr>
            <p:cNvSpPr/>
            <p:nvPr/>
          </p:nvSpPr>
          <p:spPr>
            <a:xfrm>
              <a:off x="924812" y="1630292"/>
              <a:ext cx="43525" cy="5659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4"/>
                <a:gd name="f7" fmla="val 46"/>
                <a:gd name="f8" fmla="val 22"/>
                <a:gd name="f9" fmla="val 14"/>
                <a:gd name="f10" fmla="val 20"/>
                <a:gd name="f11" fmla="val 10"/>
                <a:gd name="f12" fmla="val 5"/>
                <a:gd name="f13" fmla="val 7"/>
                <a:gd name="f14" fmla="val 3"/>
                <a:gd name="f15" fmla="val 1"/>
                <a:gd name="f16" fmla="val 15"/>
                <a:gd name="f17" fmla="val 27"/>
                <a:gd name="f18" fmla="val 4"/>
                <a:gd name="f19" fmla="val 36"/>
                <a:gd name="f20" fmla="val 43"/>
                <a:gd name="f21" fmla="val 11"/>
                <a:gd name="f22" fmla="val 16"/>
                <a:gd name="f23" fmla="val 21"/>
                <a:gd name="f24" fmla="val 44"/>
                <a:gd name="f25" fmla="val 26"/>
                <a:gd name="f26" fmla="val 42"/>
                <a:gd name="f27" fmla="val 29"/>
                <a:gd name="f28" fmla="val 38"/>
                <a:gd name="f29" fmla="val 31"/>
                <a:gd name="f30" fmla="val 33"/>
                <a:gd name="f31" fmla="val 30"/>
                <a:gd name="f32" fmla="val 17"/>
                <a:gd name="f33" fmla="val 23"/>
                <a:gd name="f34" fmla="+- 0 0 -90"/>
                <a:gd name="f35" fmla="*/ f3 1 34"/>
                <a:gd name="f36" fmla="*/ f4 1 46"/>
                <a:gd name="f37" fmla="val f5"/>
                <a:gd name="f38" fmla="val f6"/>
                <a:gd name="f39" fmla="val f7"/>
                <a:gd name="f40" fmla="*/ f34 f0 1"/>
                <a:gd name="f41" fmla="+- f39 0 f37"/>
                <a:gd name="f42" fmla="+- f38 0 f37"/>
                <a:gd name="f43" fmla="*/ f40 1 f2"/>
                <a:gd name="f44" fmla="*/ f42 1 34"/>
                <a:gd name="f45" fmla="*/ f41 1 46"/>
                <a:gd name="f46" fmla="*/ 2147483646 f42 1"/>
                <a:gd name="f47" fmla="*/ 2147483646 f41 1"/>
                <a:gd name="f48" fmla="*/ 0 f41 1"/>
                <a:gd name="f49" fmla="*/ 0 f42 1"/>
                <a:gd name="f50" fmla="+- f43 0 f1"/>
                <a:gd name="f51" fmla="*/ f46 1 34"/>
                <a:gd name="f52" fmla="*/ f47 1 46"/>
                <a:gd name="f53" fmla="*/ f48 1 46"/>
                <a:gd name="f54" fmla="*/ f49 1 34"/>
                <a:gd name="f55" fmla="*/ 0 1 f44"/>
                <a:gd name="f56" fmla="*/ f38 1 f44"/>
                <a:gd name="f57" fmla="*/ 0 1 f45"/>
                <a:gd name="f58" fmla="*/ f39 1 f45"/>
                <a:gd name="f59" fmla="*/ f51 1 f44"/>
                <a:gd name="f60" fmla="*/ f52 1 f45"/>
                <a:gd name="f61" fmla="*/ f53 1 f45"/>
                <a:gd name="f62" fmla="*/ f54 1 f44"/>
                <a:gd name="f63" fmla="*/ f55 f35 1"/>
                <a:gd name="f64" fmla="*/ f56 f35 1"/>
                <a:gd name="f65" fmla="*/ f58 f36 1"/>
                <a:gd name="f66" fmla="*/ f57 f36 1"/>
                <a:gd name="f67" fmla="*/ f59 f35 1"/>
                <a:gd name="f68" fmla="*/ f60 f36 1"/>
                <a:gd name="f69" fmla="*/ f61 f36 1"/>
                <a:gd name="f70" fmla="*/ f62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9"/>
                </a:cxn>
                <a:cxn ang="f50">
                  <a:pos x="f67" y="f69"/>
                </a:cxn>
                <a:cxn ang="f50">
                  <a:pos x="f67" y="f68"/>
                </a:cxn>
                <a:cxn ang="f50">
                  <a:pos x="f70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  <a:cxn ang="f50">
                  <a:pos x="f67" y="f68"/>
                </a:cxn>
              </a:cxnLst>
              <a:rect l="f63" t="f66" r="f64" b="f65"/>
              <a:pathLst>
                <a:path w="34" h="46">
                  <a:moveTo>
                    <a:pt x="f8" y="f9"/>
                  </a:moveTo>
                  <a:lnTo>
                    <a:pt x="f10" y="f11"/>
                  </a:lnTo>
                  <a:lnTo>
                    <a:pt x="f9" y="f12"/>
                  </a:lnTo>
                  <a:lnTo>
                    <a:pt x="f13" y="f5"/>
                  </a:lnTo>
                  <a:lnTo>
                    <a:pt x="f14" y="f5"/>
                  </a:lnTo>
                  <a:lnTo>
                    <a:pt x="f15" y="f12"/>
                  </a:lnTo>
                  <a:lnTo>
                    <a:pt x="f5" y="f11"/>
                  </a:lnTo>
                  <a:lnTo>
                    <a:pt x="f15" y="f16"/>
                  </a:lnTo>
                  <a:lnTo>
                    <a:pt x="f15" y="f10"/>
                  </a:lnTo>
                  <a:lnTo>
                    <a:pt x="f14" y="f17"/>
                  </a:lnTo>
                  <a:lnTo>
                    <a:pt x="f18" y="f19"/>
                  </a:lnTo>
                  <a:lnTo>
                    <a:pt x="f13" y="f20"/>
                  </a:lnTo>
                  <a:lnTo>
                    <a:pt x="f21" y="f7"/>
                  </a:lnTo>
                  <a:lnTo>
                    <a:pt x="f22" y="f7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6" y="f31"/>
                  </a:lnTo>
                  <a:lnTo>
                    <a:pt x="f6" y="f17"/>
                  </a:lnTo>
                  <a:lnTo>
                    <a:pt x="f31" y="f8"/>
                  </a:lnTo>
                  <a:lnTo>
                    <a:pt x="f25" y="f32"/>
                  </a:lnTo>
                  <a:lnTo>
                    <a:pt x="f33" y="f1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7" name="Freeform 442">
              <a:extLst>
                <a:ext uri="{FF2B5EF4-FFF2-40B4-BE49-F238E27FC236}">
                  <a16:creationId xmlns:a16="http://schemas.microsoft.com/office/drawing/2014/main" id="{4ED4955F-A18F-C108-F442-491BB2DA9397}"/>
                </a:ext>
              </a:extLst>
            </p:cNvPr>
            <p:cNvSpPr/>
            <p:nvPr/>
          </p:nvSpPr>
          <p:spPr>
            <a:xfrm>
              <a:off x="837771" y="1603884"/>
              <a:ext cx="78748" cy="8111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8"/>
                <a:gd name="f7" fmla="val 67"/>
                <a:gd name="f8" fmla="val 53"/>
                <a:gd name="f9" fmla="val 34"/>
                <a:gd name="f10" fmla="val 54"/>
                <a:gd name="f11" fmla="val 37"/>
                <a:gd name="f12" fmla="val 57"/>
                <a:gd name="f13" fmla="val 44"/>
                <a:gd name="f14" fmla="val 60"/>
                <a:gd name="f15" fmla="val 64"/>
                <a:gd name="f16" fmla="val 52"/>
                <a:gd name="f17" fmla="val 66"/>
                <a:gd name="f18" fmla="val 48"/>
                <a:gd name="f19" fmla="val 65"/>
                <a:gd name="f20" fmla="val 39"/>
                <a:gd name="f21" fmla="val 62"/>
                <a:gd name="f22" fmla="val 35"/>
                <a:gd name="f23" fmla="val 32"/>
                <a:gd name="f24" fmla="val 29"/>
                <a:gd name="f25" fmla="val 24"/>
                <a:gd name="f26" fmla="val 50"/>
                <a:gd name="f27" fmla="val 17"/>
                <a:gd name="f28" fmla="val 49"/>
                <a:gd name="f29" fmla="val 12"/>
                <a:gd name="f30" fmla="val 47"/>
                <a:gd name="f31" fmla="val 8"/>
                <a:gd name="f32" fmla="val 42"/>
                <a:gd name="f33" fmla="val 9"/>
                <a:gd name="f34" fmla="val 13"/>
                <a:gd name="f35" fmla="val 15"/>
                <a:gd name="f36" fmla="val 36"/>
                <a:gd name="f37" fmla="val 30"/>
                <a:gd name="f38" fmla="val 7"/>
                <a:gd name="f39" fmla="val 20"/>
                <a:gd name="f40" fmla="val 2"/>
                <a:gd name="f41" fmla="val 11"/>
                <a:gd name="f42" fmla="val 4"/>
                <a:gd name="f43" fmla="val 14"/>
                <a:gd name="f44" fmla="val 19"/>
                <a:gd name="f45" fmla="val 23"/>
                <a:gd name="f46" fmla="val 28"/>
                <a:gd name="f47" fmla="val 38"/>
                <a:gd name="f48" fmla="val 16"/>
                <a:gd name="f49" fmla="val 40"/>
                <a:gd name="f50" fmla="val 43"/>
                <a:gd name="f51" fmla="val 51"/>
                <a:gd name="f52" fmla="+- 0 0 -90"/>
                <a:gd name="f53" fmla="*/ f3 1 58"/>
                <a:gd name="f54" fmla="*/ f4 1 67"/>
                <a:gd name="f55" fmla="val f5"/>
                <a:gd name="f56" fmla="val f6"/>
                <a:gd name="f57" fmla="val f7"/>
                <a:gd name="f58" fmla="*/ f52 f0 1"/>
                <a:gd name="f59" fmla="+- f57 0 f55"/>
                <a:gd name="f60" fmla="+- f56 0 f55"/>
                <a:gd name="f61" fmla="*/ f58 1 f2"/>
                <a:gd name="f62" fmla="*/ f60 1 58"/>
                <a:gd name="f63" fmla="*/ f59 1 67"/>
                <a:gd name="f64" fmla="*/ 2147483646 f60 1"/>
                <a:gd name="f65" fmla="*/ 2147483646 f59 1"/>
                <a:gd name="f66" fmla="*/ 0 f60 1"/>
                <a:gd name="f67" fmla="*/ 0 f59 1"/>
                <a:gd name="f68" fmla="+- f61 0 f1"/>
                <a:gd name="f69" fmla="*/ f64 1 58"/>
                <a:gd name="f70" fmla="*/ f65 1 67"/>
                <a:gd name="f71" fmla="*/ f66 1 58"/>
                <a:gd name="f72" fmla="*/ f67 1 67"/>
                <a:gd name="f73" fmla="*/ 0 1 f62"/>
                <a:gd name="f74" fmla="*/ f56 1 f62"/>
                <a:gd name="f75" fmla="*/ 0 1 f63"/>
                <a:gd name="f76" fmla="*/ f57 1 f63"/>
                <a:gd name="f77" fmla="*/ f69 1 f62"/>
                <a:gd name="f78" fmla="*/ f70 1 f63"/>
                <a:gd name="f79" fmla="*/ f71 1 f62"/>
                <a:gd name="f80" fmla="*/ f72 1 f63"/>
                <a:gd name="f81" fmla="*/ f73 f53 1"/>
                <a:gd name="f82" fmla="*/ f74 f53 1"/>
                <a:gd name="f83" fmla="*/ f76 f54 1"/>
                <a:gd name="f84" fmla="*/ f75 f54 1"/>
                <a:gd name="f85" fmla="*/ f77 f53 1"/>
                <a:gd name="f86" fmla="*/ f78 f54 1"/>
                <a:gd name="f87" fmla="*/ f79 f53 1"/>
                <a:gd name="f88" fmla="*/ f80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7" y="f86"/>
                </a:cxn>
                <a:cxn ang="f68">
                  <a:pos x="f85" y="f88"/>
                </a:cxn>
                <a:cxn ang="f68">
                  <a:pos x="f85" y="f88"/>
                </a:cxn>
                <a:cxn ang="f68">
                  <a:pos x="f85" y="f88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  <a:cxn ang="f68">
                  <a:pos x="f85" y="f86"/>
                </a:cxn>
              </a:cxnLst>
              <a:rect l="f81" t="f84" r="f82" b="f83"/>
              <a:pathLst>
                <a:path w="58" h="67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6" y="f8"/>
                  </a:lnTo>
                  <a:lnTo>
                    <a:pt x="f12" y="f14"/>
                  </a:lnTo>
                  <a:lnTo>
                    <a:pt x="f10" y="f15"/>
                  </a:lnTo>
                  <a:lnTo>
                    <a:pt x="f16" y="f17"/>
                  </a:lnTo>
                  <a:lnTo>
                    <a:pt x="f18" y="f7"/>
                  </a:lnTo>
                  <a:lnTo>
                    <a:pt x="f13" y="f19"/>
                  </a:lnTo>
                  <a:lnTo>
                    <a:pt x="f20" y="f21"/>
                  </a:lnTo>
                  <a:lnTo>
                    <a:pt x="f22" y="f14"/>
                  </a:lnTo>
                  <a:lnTo>
                    <a:pt x="f23" y="f6"/>
                  </a:lnTo>
                  <a:lnTo>
                    <a:pt x="f24" y="f8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11"/>
                  </a:lnTo>
                  <a:lnTo>
                    <a:pt x="f34" y="f11"/>
                  </a:lnTo>
                  <a:lnTo>
                    <a:pt x="f35" y="f36"/>
                  </a:lnTo>
                  <a:lnTo>
                    <a:pt x="f34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5" y="f42"/>
                  </a:lnTo>
                  <a:lnTo>
                    <a:pt x="f42" y="f5"/>
                  </a:lnTo>
                  <a:lnTo>
                    <a:pt x="f33" y="f5"/>
                  </a:lnTo>
                  <a:lnTo>
                    <a:pt x="f43" y="f5"/>
                  </a:lnTo>
                  <a:lnTo>
                    <a:pt x="f44" y="f40"/>
                  </a:lnTo>
                  <a:lnTo>
                    <a:pt x="f45" y="f31"/>
                  </a:lnTo>
                  <a:lnTo>
                    <a:pt x="f46" y="f34"/>
                  </a:lnTo>
                  <a:lnTo>
                    <a:pt x="f9" y="f35"/>
                  </a:lnTo>
                  <a:lnTo>
                    <a:pt x="f47" y="f48"/>
                  </a:lnTo>
                  <a:lnTo>
                    <a:pt x="f49" y="f44"/>
                  </a:lnTo>
                  <a:lnTo>
                    <a:pt x="f50" y="f25"/>
                  </a:lnTo>
                  <a:lnTo>
                    <a:pt x="f30" y="f24"/>
                  </a:lnTo>
                  <a:lnTo>
                    <a:pt x="f51" y="f23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EDF5F9"/>
            </a:solidFill>
            <a:ln w="9528" cap="flat">
              <a:solidFill>
                <a:srgbClr val="BAD8E8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268" name="Group 1267">
              <a:extLst>
                <a:ext uri="{FF2B5EF4-FFF2-40B4-BE49-F238E27FC236}">
                  <a16:creationId xmlns:a16="http://schemas.microsoft.com/office/drawing/2014/main" id="{87484917-3C4A-CA30-F316-B3800BD9615D}"/>
                </a:ext>
              </a:extLst>
            </p:cNvPr>
            <p:cNvGrpSpPr/>
            <p:nvPr/>
          </p:nvGrpSpPr>
          <p:grpSpPr>
            <a:xfrm>
              <a:off x="2330629" y="2312552"/>
              <a:ext cx="7822756" cy="3039893"/>
              <a:chOff x="2330622" y="2216431"/>
              <a:chExt cx="7822756" cy="3039893"/>
            </a:xfrm>
          </p:grpSpPr>
          <p:grpSp>
            <p:nvGrpSpPr>
              <p:cNvPr id="1360" name="Group 1359">
                <a:extLst>
                  <a:ext uri="{FF2B5EF4-FFF2-40B4-BE49-F238E27FC236}">
                    <a16:creationId xmlns:a16="http://schemas.microsoft.com/office/drawing/2014/main" id="{56174B31-4C6D-6FB2-63D9-030F4DC3BE83}"/>
                  </a:ext>
                </a:extLst>
              </p:cNvPr>
              <p:cNvGrpSpPr/>
              <p:nvPr/>
            </p:nvGrpSpPr>
            <p:grpSpPr>
              <a:xfrm>
                <a:off x="2330622" y="2216431"/>
                <a:ext cx="7822756" cy="3039893"/>
                <a:chOff x="2330622" y="2216431"/>
                <a:chExt cx="7822756" cy="3039893"/>
              </a:xfrm>
            </p:grpSpPr>
            <p:sp>
              <p:nvSpPr>
                <p:cNvPr id="1367" name="Rectangle 1366">
                  <a:extLst>
                    <a:ext uri="{FF2B5EF4-FFF2-40B4-BE49-F238E27FC236}">
                      <a16:creationId xmlns:a16="http://schemas.microsoft.com/office/drawing/2014/main" id="{D1441557-6887-8D90-093F-B4C997120D3C}"/>
                    </a:ext>
                  </a:extLst>
                </p:cNvPr>
                <p:cNvSpPr/>
                <p:nvPr/>
              </p:nvSpPr>
              <p:spPr>
                <a:xfrm>
                  <a:off x="7493082" y="3430149"/>
                  <a:ext cx="536131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India</a:t>
                  </a:r>
                </a:p>
              </p:txBody>
            </p:sp>
            <p:sp>
              <p:nvSpPr>
                <p:cNvPr id="1368" name="Rectangle 1367">
                  <a:extLst>
                    <a:ext uri="{FF2B5EF4-FFF2-40B4-BE49-F238E27FC236}">
                      <a16:creationId xmlns:a16="http://schemas.microsoft.com/office/drawing/2014/main" id="{F4DB4B65-1004-8320-CC8F-3D7ACA9018E8}"/>
                    </a:ext>
                  </a:extLst>
                </p:cNvPr>
                <p:cNvSpPr/>
                <p:nvPr/>
              </p:nvSpPr>
              <p:spPr>
                <a:xfrm>
                  <a:off x="2528997" y="2967649"/>
                  <a:ext cx="536131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1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USA</a:t>
                  </a:r>
                </a:p>
              </p:txBody>
            </p:sp>
            <p:sp>
              <p:nvSpPr>
                <p:cNvPr id="1369" name="Rectangle 1368">
                  <a:extLst>
                    <a:ext uri="{FF2B5EF4-FFF2-40B4-BE49-F238E27FC236}">
                      <a16:creationId xmlns:a16="http://schemas.microsoft.com/office/drawing/2014/main" id="{91AFAC0D-C69E-C2D2-A85F-4F1CF155C689}"/>
                    </a:ext>
                  </a:extLst>
                </p:cNvPr>
                <p:cNvSpPr/>
                <p:nvPr/>
              </p:nvSpPr>
              <p:spPr>
                <a:xfrm>
                  <a:off x="7846059" y="4050773"/>
                  <a:ext cx="589742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Chennai</a:t>
                  </a:r>
                </a:p>
              </p:txBody>
            </p:sp>
            <p:sp>
              <p:nvSpPr>
                <p:cNvPr id="1370" name="Rectangle 1369">
                  <a:extLst>
                    <a:ext uri="{FF2B5EF4-FFF2-40B4-BE49-F238E27FC236}">
                      <a16:creationId xmlns:a16="http://schemas.microsoft.com/office/drawing/2014/main" id="{10B6AA9E-E25B-3899-93B2-A11327086169}"/>
                    </a:ext>
                  </a:extLst>
                </p:cNvPr>
                <p:cNvSpPr/>
                <p:nvPr/>
              </p:nvSpPr>
              <p:spPr>
                <a:xfrm>
                  <a:off x="7815733" y="3939463"/>
                  <a:ext cx="690152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Bengaluru</a:t>
                  </a:r>
                </a:p>
              </p:txBody>
            </p:sp>
            <p:sp>
              <p:nvSpPr>
                <p:cNvPr id="1372" name="Rectangle 1371">
                  <a:extLst>
                    <a:ext uri="{FF2B5EF4-FFF2-40B4-BE49-F238E27FC236}">
                      <a16:creationId xmlns:a16="http://schemas.microsoft.com/office/drawing/2014/main" id="{92111D8D-B688-EA5B-C945-3DC24EE1B8DB}"/>
                    </a:ext>
                  </a:extLst>
                </p:cNvPr>
                <p:cNvSpPr/>
                <p:nvPr/>
              </p:nvSpPr>
              <p:spPr>
                <a:xfrm>
                  <a:off x="2363316" y="2216431"/>
                  <a:ext cx="502061" cy="21544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none" lIns="91440" tIns="45720" rIns="91440" bIns="4572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Canada</a:t>
                  </a:r>
                </a:p>
              </p:txBody>
            </p:sp>
            <p:sp>
              <p:nvSpPr>
                <p:cNvPr id="1373" name="Rectangle 1372">
                  <a:extLst>
                    <a:ext uri="{FF2B5EF4-FFF2-40B4-BE49-F238E27FC236}">
                      <a16:creationId xmlns:a16="http://schemas.microsoft.com/office/drawing/2014/main" id="{87F6B322-78A3-9123-4D51-BDAF5759919D}"/>
                    </a:ext>
                  </a:extLst>
                </p:cNvPr>
                <p:cNvSpPr/>
                <p:nvPr/>
              </p:nvSpPr>
              <p:spPr>
                <a:xfrm>
                  <a:off x="8845530" y="4612389"/>
                  <a:ext cx="881179" cy="138499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Australia</a:t>
                  </a:r>
                </a:p>
              </p:txBody>
            </p:sp>
            <p:sp>
              <p:nvSpPr>
                <p:cNvPr id="1374" name="Rectangle 1373">
                  <a:extLst>
                    <a:ext uri="{FF2B5EF4-FFF2-40B4-BE49-F238E27FC236}">
                      <a16:creationId xmlns:a16="http://schemas.microsoft.com/office/drawing/2014/main" id="{C837FC2B-9BA1-B371-E625-81D5F6D8493F}"/>
                    </a:ext>
                  </a:extLst>
                </p:cNvPr>
                <p:cNvSpPr/>
                <p:nvPr/>
              </p:nvSpPr>
              <p:spPr>
                <a:xfrm>
                  <a:off x="8868546" y="3843332"/>
                  <a:ext cx="748701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Philippines</a:t>
                  </a:r>
                </a:p>
              </p:txBody>
            </p:sp>
            <p:sp>
              <p:nvSpPr>
                <p:cNvPr id="1375" name="Rectangle 1374">
                  <a:extLst>
                    <a:ext uri="{FF2B5EF4-FFF2-40B4-BE49-F238E27FC236}">
                      <a16:creationId xmlns:a16="http://schemas.microsoft.com/office/drawing/2014/main" id="{F20EED47-FCC6-E649-C2B1-BC6AF41DF118}"/>
                    </a:ext>
                  </a:extLst>
                </p:cNvPr>
                <p:cNvSpPr/>
                <p:nvPr/>
              </p:nvSpPr>
              <p:spPr>
                <a:xfrm>
                  <a:off x="8515008" y="4309834"/>
                  <a:ext cx="672257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ingapore</a:t>
                  </a:r>
                </a:p>
              </p:txBody>
            </p:sp>
            <p:sp>
              <p:nvSpPr>
                <p:cNvPr id="1376" name="Rectangle 1375">
                  <a:extLst>
                    <a:ext uri="{FF2B5EF4-FFF2-40B4-BE49-F238E27FC236}">
                      <a16:creationId xmlns:a16="http://schemas.microsoft.com/office/drawing/2014/main" id="{4F3DF740-6EA2-DE98-6BF2-66445A2F62C9}"/>
                    </a:ext>
                  </a:extLst>
                </p:cNvPr>
                <p:cNvSpPr/>
                <p:nvPr/>
              </p:nvSpPr>
              <p:spPr>
                <a:xfrm>
                  <a:off x="6557546" y="4481704"/>
                  <a:ext cx="789730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Johannesburg</a:t>
                  </a:r>
                </a:p>
              </p:txBody>
            </p:sp>
            <p:sp>
              <p:nvSpPr>
                <p:cNvPr id="1378" name="Rectangle 1377">
                  <a:extLst>
                    <a:ext uri="{FF2B5EF4-FFF2-40B4-BE49-F238E27FC236}">
                      <a16:creationId xmlns:a16="http://schemas.microsoft.com/office/drawing/2014/main" id="{59879A72-03ED-32A5-2245-FB12E35E6D0A}"/>
                    </a:ext>
                  </a:extLst>
                </p:cNvPr>
                <p:cNvSpPr/>
                <p:nvPr/>
              </p:nvSpPr>
              <p:spPr>
                <a:xfrm>
                  <a:off x="9279551" y="3186875"/>
                  <a:ext cx="536131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Japan</a:t>
                  </a:r>
                </a:p>
              </p:txBody>
            </p:sp>
            <p:sp>
              <p:nvSpPr>
                <p:cNvPr id="1379" name="Rectangle 1378">
                  <a:extLst>
                    <a:ext uri="{FF2B5EF4-FFF2-40B4-BE49-F238E27FC236}">
                      <a16:creationId xmlns:a16="http://schemas.microsoft.com/office/drawing/2014/main" id="{80488077-9B5E-76B1-8A00-FDC45FFE9263}"/>
                    </a:ext>
                  </a:extLst>
                </p:cNvPr>
                <p:cNvSpPr/>
                <p:nvPr/>
              </p:nvSpPr>
              <p:spPr>
                <a:xfrm>
                  <a:off x="8989186" y="3185226"/>
                  <a:ext cx="694266" cy="90987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IN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E2841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eoul</a:t>
                  </a:r>
                  <a:endParaRPr kumimoji="0" lang="en-US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0E2841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380" name="Rectangle 1379">
                  <a:extLst>
                    <a:ext uri="{FF2B5EF4-FFF2-40B4-BE49-F238E27FC236}">
                      <a16:creationId xmlns:a16="http://schemas.microsoft.com/office/drawing/2014/main" id="{2F7E7E58-336E-6254-BC8C-7F28391EF64A}"/>
                    </a:ext>
                  </a:extLst>
                </p:cNvPr>
                <p:cNvSpPr/>
                <p:nvPr/>
              </p:nvSpPr>
              <p:spPr>
                <a:xfrm>
                  <a:off x="8819973" y="3504641"/>
                  <a:ext cx="602790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Taiwan</a:t>
                  </a:r>
                </a:p>
              </p:txBody>
            </p:sp>
            <p:sp>
              <p:nvSpPr>
                <p:cNvPr id="1381" name="Rectangle 1380">
                  <a:extLst>
                    <a:ext uri="{FF2B5EF4-FFF2-40B4-BE49-F238E27FC236}">
                      <a16:creationId xmlns:a16="http://schemas.microsoft.com/office/drawing/2014/main" id="{94375BA0-ACA9-47B7-0941-5995914E059C}"/>
                    </a:ext>
                  </a:extLst>
                </p:cNvPr>
                <p:cNvSpPr/>
                <p:nvPr/>
              </p:nvSpPr>
              <p:spPr>
                <a:xfrm>
                  <a:off x="3984443" y="2957096"/>
                  <a:ext cx="919785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Hartford</a:t>
                  </a:r>
                </a:p>
              </p:txBody>
            </p:sp>
            <p:sp>
              <p:nvSpPr>
                <p:cNvPr id="1382" name="Rectangle 1381">
                  <a:extLst>
                    <a:ext uri="{FF2B5EF4-FFF2-40B4-BE49-F238E27FC236}">
                      <a16:creationId xmlns:a16="http://schemas.microsoft.com/office/drawing/2014/main" id="{E88A4991-6E70-7E0F-BDE3-94E6424916F9}"/>
                    </a:ext>
                  </a:extLst>
                </p:cNvPr>
                <p:cNvSpPr/>
                <p:nvPr/>
              </p:nvSpPr>
              <p:spPr>
                <a:xfrm>
                  <a:off x="7784927" y="3821972"/>
                  <a:ext cx="792766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C2C2C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Hyderabad</a:t>
                  </a:r>
                </a:p>
              </p:txBody>
            </p:sp>
            <p:sp>
              <p:nvSpPr>
                <p:cNvPr id="1383" name="Rectangle 1382">
                  <a:extLst>
                    <a:ext uri="{FF2B5EF4-FFF2-40B4-BE49-F238E27FC236}">
                      <a16:creationId xmlns:a16="http://schemas.microsoft.com/office/drawing/2014/main" id="{83304932-925B-1B91-45F5-E1785FEDEDD5}"/>
                    </a:ext>
                  </a:extLst>
                </p:cNvPr>
                <p:cNvSpPr/>
                <p:nvPr/>
              </p:nvSpPr>
              <p:spPr>
                <a:xfrm>
                  <a:off x="6255823" y="2639782"/>
                  <a:ext cx="582299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Poland</a:t>
                  </a:r>
                  <a:endParaRPr kumimoji="0" lang="en-US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384" name="Rectangle 1383">
                  <a:extLst>
                    <a:ext uri="{FF2B5EF4-FFF2-40B4-BE49-F238E27FC236}">
                      <a16:creationId xmlns:a16="http://schemas.microsoft.com/office/drawing/2014/main" id="{CB708938-1D34-D123-5080-42D2195498B5}"/>
                    </a:ext>
                  </a:extLst>
                </p:cNvPr>
                <p:cNvSpPr/>
                <p:nvPr/>
              </p:nvSpPr>
              <p:spPr>
                <a:xfrm>
                  <a:off x="6267352" y="5133213"/>
                  <a:ext cx="816915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outh Africa</a:t>
                  </a:r>
                </a:p>
              </p:txBody>
            </p:sp>
            <p:sp>
              <p:nvSpPr>
                <p:cNvPr id="1385" name="Rectangle 1384">
                  <a:extLst>
                    <a:ext uri="{FF2B5EF4-FFF2-40B4-BE49-F238E27FC236}">
                      <a16:creationId xmlns:a16="http://schemas.microsoft.com/office/drawing/2014/main" id="{86FBE11D-3F13-AED6-812E-DA9B5BC7F3AF}"/>
                    </a:ext>
                  </a:extLst>
                </p:cNvPr>
                <p:cNvSpPr/>
                <p:nvPr/>
              </p:nvSpPr>
              <p:spPr>
                <a:xfrm>
                  <a:off x="9617247" y="5011579"/>
                  <a:ext cx="536131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ydney</a:t>
                  </a:r>
                </a:p>
              </p:txBody>
            </p:sp>
            <p:sp>
              <p:nvSpPr>
                <p:cNvPr id="1386" name="Rectangle 1385">
                  <a:extLst>
                    <a:ext uri="{FF2B5EF4-FFF2-40B4-BE49-F238E27FC236}">
                      <a16:creationId xmlns:a16="http://schemas.microsoft.com/office/drawing/2014/main" id="{D1CAD2E2-7F0E-5C0E-E7F9-00FC4355E4F8}"/>
                    </a:ext>
                  </a:extLst>
                </p:cNvPr>
                <p:cNvSpPr/>
                <p:nvPr/>
              </p:nvSpPr>
              <p:spPr>
                <a:xfrm>
                  <a:off x="6163824" y="2368755"/>
                  <a:ext cx="822402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weden</a:t>
                  </a:r>
                  <a:endParaRPr kumimoji="0" lang="en-US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387" name="Rectangle 1386">
                  <a:extLst>
                    <a:ext uri="{FF2B5EF4-FFF2-40B4-BE49-F238E27FC236}">
                      <a16:creationId xmlns:a16="http://schemas.microsoft.com/office/drawing/2014/main" id="{8DDF4CED-D322-AA0C-8E40-F561BB26624F}"/>
                    </a:ext>
                  </a:extLst>
                </p:cNvPr>
                <p:cNvSpPr/>
                <p:nvPr/>
              </p:nvSpPr>
              <p:spPr>
                <a:xfrm>
                  <a:off x="6093076" y="2508974"/>
                  <a:ext cx="822402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Denmark</a:t>
                  </a:r>
                </a:p>
              </p:txBody>
            </p:sp>
            <p:sp>
              <p:nvSpPr>
                <p:cNvPr id="1388" name="Rectangle 1387">
                  <a:extLst>
                    <a:ext uri="{FF2B5EF4-FFF2-40B4-BE49-F238E27FC236}">
                      <a16:creationId xmlns:a16="http://schemas.microsoft.com/office/drawing/2014/main" id="{95C6A7A3-B59D-3804-264C-46644F9E93B4}"/>
                    </a:ext>
                  </a:extLst>
                </p:cNvPr>
                <p:cNvSpPr/>
                <p:nvPr/>
              </p:nvSpPr>
              <p:spPr>
                <a:xfrm>
                  <a:off x="2330622" y="3623187"/>
                  <a:ext cx="790251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Mexico</a:t>
                  </a:r>
                </a:p>
              </p:txBody>
            </p:sp>
            <p:sp>
              <p:nvSpPr>
                <p:cNvPr id="1389" name="Rectangle 1388">
                  <a:extLst>
                    <a:ext uri="{FF2B5EF4-FFF2-40B4-BE49-F238E27FC236}">
                      <a16:creationId xmlns:a16="http://schemas.microsoft.com/office/drawing/2014/main" id="{E7D693BD-4792-F4F8-4E19-D3D62B06B9A8}"/>
                    </a:ext>
                  </a:extLst>
                </p:cNvPr>
                <p:cNvSpPr/>
                <p:nvPr/>
              </p:nvSpPr>
              <p:spPr>
                <a:xfrm>
                  <a:off x="7239861" y="3723138"/>
                  <a:ext cx="589742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Mumbai</a:t>
                  </a:r>
                </a:p>
              </p:txBody>
            </p:sp>
          </p:grpSp>
          <p:grpSp>
            <p:nvGrpSpPr>
              <p:cNvPr id="1361" name="Group 1360">
                <a:extLst>
                  <a:ext uri="{FF2B5EF4-FFF2-40B4-BE49-F238E27FC236}">
                    <a16:creationId xmlns:a16="http://schemas.microsoft.com/office/drawing/2014/main" id="{2908DA3C-FD76-037C-9673-B339D37C9627}"/>
                  </a:ext>
                </a:extLst>
              </p:cNvPr>
              <p:cNvGrpSpPr/>
              <p:nvPr/>
            </p:nvGrpSpPr>
            <p:grpSpPr>
              <a:xfrm>
                <a:off x="4848256" y="2439449"/>
                <a:ext cx="1600113" cy="444392"/>
                <a:chOff x="4848256" y="2439449"/>
                <a:chExt cx="1600113" cy="444392"/>
              </a:xfrm>
            </p:grpSpPr>
            <p:sp>
              <p:nvSpPr>
                <p:cNvPr id="1362" name="Rectangle 1361">
                  <a:extLst>
                    <a:ext uri="{FF2B5EF4-FFF2-40B4-BE49-F238E27FC236}">
                      <a16:creationId xmlns:a16="http://schemas.microsoft.com/office/drawing/2014/main" id="{646448E7-B8E0-A11C-3759-BFBB65F80F5D}"/>
                    </a:ext>
                  </a:extLst>
                </p:cNvPr>
                <p:cNvSpPr/>
                <p:nvPr/>
              </p:nvSpPr>
              <p:spPr>
                <a:xfrm>
                  <a:off x="4848256" y="2707603"/>
                  <a:ext cx="774542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1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Ireland</a:t>
                  </a:r>
                </a:p>
              </p:txBody>
            </p:sp>
            <p:sp>
              <p:nvSpPr>
                <p:cNvPr id="1363" name="Rectangle 1362">
                  <a:extLst>
                    <a:ext uri="{FF2B5EF4-FFF2-40B4-BE49-F238E27FC236}">
                      <a16:creationId xmlns:a16="http://schemas.microsoft.com/office/drawing/2014/main" id="{4F340C92-F9CD-1EB9-6538-D8B87AD699B8}"/>
                    </a:ext>
                  </a:extLst>
                </p:cNvPr>
                <p:cNvSpPr/>
                <p:nvPr/>
              </p:nvSpPr>
              <p:spPr>
                <a:xfrm>
                  <a:off x="5329621" y="2439449"/>
                  <a:ext cx="456294" cy="138499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1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UK</a:t>
                  </a:r>
                </a:p>
              </p:txBody>
            </p:sp>
            <p:sp>
              <p:nvSpPr>
                <p:cNvPr id="1364" name="Rectangle 1363">
                  <a:extLst>
                    <a:ext uri="{FF2B5EF4-FFF2-40B4-BE49-F238E27FC236}">
                      <a16:creationId xmlns:a16="http://schemas.microsoft.com/office/drawing/2014/main" id="{969C6627-2271-CC8F-74A2-A845AC3B8257}"/>
                    </a:ext>
                  </a:extLst>
                </p:cNvPr>
                <p:cNvSpPr/>
                <p:nvPr/>
              </p:nvSpPr>
              <p:spPr>
                <a:xfrm>
                  <a:off x="5458593" y="2760730"/>
                  <a:ext cx="404717" cy="123111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E2841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Belgium</a:t>
                  </a:r>
                </a:p>
              </p:txBody>
            </p:sp>
            <p:sp>
              <p:nvSpPr>
                <p:cNvPr id="1365" name="Rectangle 1364">
                  <a:extLst>
                    <a:ext uri="{FF2B5EF4-FFF2-40B4-BE49-F238E27FC236}">
                      <a16:creationId xmlns:a16="http://schemas.microsoft.com/office/drawing/2014/main" id="{0297FEA0-BAEC-308C-5105-D6A1DDC38005}"/>
                    </a:ext>
                  </a:extLst>
                </p:cNvPr>
                <p:cNvSpPr/>
                <p:nvPr/>
              </p:nvSpPr>
              <p:spPr>
                <a:xfrm>
                  <a:off x="5946446" y="2735362"/>
                  <a:ext cx="501923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Germany</a:t>
                  </a:r>
                  <a:endParaRPr kumimoji="0" lang="en-US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366" name="Rectangle 1365">
                  <a:extLst>
                    <a:ext uri="{FF2B5EF4-FFF2-40B4-BE49-F238E27FC236}">
                      <a16:creationId xmlns:a16="http://schemas.microsoft.com/office/drawing/2014/main" id="{E9BF9E7D-298C-4867-B3CA-7C2245FA04E5}"/>
                    </a:ext>
                  </a:extLst>
                </p:cNvPr>
                <p:cNvSpPr/>
                <p:nvPr/>
              </p:nvSpPr>
              <p:spPr>
                <a:xfrm>
                  <a:off x="5358395" y="2630448"/>
                  <a:ext cx="579007" cy="123114"/>
                </a:xfrm>
                <a:prstGeom prst="rect">
                  <a:avLst/>
                </a:prstGeom>
                <a:noFill/>
                <a:ln cap="flat">
                  <a:noFill/>
                  <a:prstDash val="solid"/>
                </a:ln>
              </p:spPr>
              <p:txBody>
                <a:bodyPr vert="horz" wrap="square" lIns="0" tIns="0" rIns="0" bIns="0" anchor="t" anchorCtr="0" compatLnSpc="1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219105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r>
                    <a:rPr kumimoji="0" lang="en-U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London</a:t>
                  </a:r>
                </a:p>
              </p:txBody>
            </p:sp>
          </p:grpSp>
        </p:grpSp>
        <p:sp>
          <p:nvSpPr>
            <p:cNvPr id="1281" name="Oval 267">
              <a:extLst>
                <a:ext uri="{FF2B5EF4-FFF2-40B4-BE49-F238E27FC236}">
                  <a16:creationId xmlns:a16="http://schemas.microsoft.com/office/drawing/2014/main" id="{4FC982AE-0A50-611A-8933-E43FE5ED9ED9}"/>
                </a:ext>
              </a:extLst>
            </p:cNvPr>
            <p:cNvSpPr/>
            <p:nvPr/>
          </p:nvSpPr>
          <p:spPr>
            <a:xfrm>
              <a:off x="9092965" y="1037578"/>
              <a:ext cx="122154" cy="9695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82" name="TextBox 223">
              <a:extLst>
                <a:ext uri="{FF2B5EF4-FFF2-40B4-BE49-F238E27FC236}">
                  <a16:creationId xmlns:a16="http://schemas.microsoft.com/office/drawing/2014/main" id="{8F4D3FD7-3643-C8D4-FB2B-66204D446F0E}"/>
                </a:ext>
              </a:extLst>
            </p:cNvPr>
            <p:cNvSpPr txBox="1"/>
            <p:nvPr/>
          </p:nvSpPr>
          <p:spPr>
            <a:xfrm>
              <a:off x="1301381" y="4901521"/>
              <a:ext cx="1617975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entral America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4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office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 Delivery center</a:t>
              </a:r>
            </a:p>
          </p:txBody>
        </p:sp>
        <p:sp>
          <p:nvSpPr>
            <p:cNvPr id="1283" name="TextBox 225">
              <a:extLst>
                <a:ext uri="{FF2B5EF4-FFF2-40B4-BE49-F238E27FC236}">
                  <a16:creationId xmlns:a16="http://schemas.microsoft.com/office/drawing/2014/main" id="{D7A57B93-A059-2B6C-1EF0-7057446A168C}"/>
                </a:ext>
              </a:extLst>
            </p:cNvPr>
            <p:cNvSpPr txBox="1"/>
            <p:nvPr/>
          </p:nvSpPr>
          <p:spPr>
            <a:xfrm>
              <a:off x="6368016" y="1051906"/>
              <a:ext cx="2075002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urope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7 offices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4 Delivery centers</a:t>
              </a:r>
            </a:p>
          </p:txBody>
        </p:sp>
        <p:sp>
          <p:nvSpPr>
            <p:cNvPr id="1284" name="TextBox 226">
              <a:extLst>
                <a:ext uri="{FF2B5EF4-FFF2-40B4-BE49-F238E27FC236}">
                  <a16:creationId xmlns:a16="http://schemas.microsoft.com/office/drawing/2014/main" id="{09ED83E6-715D-061B-C92C-DA721674B1C6}"/>
                </a:ext>
              </a:extLst>
            </p:cNvPr>
            <p:cNvSpPr txBox="1"/>
            <p:nvPr/>
          </p:nvSpPr>
          <p:spPr>
            <a:xfrm>
              <a:off x="3983453" y="5059264"/>
              <a:ext cx="2014880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iddle East &amp; South Africa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1 offices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 Delivery center</a:t>
              </a:r>
            </a:p>
          </p:txBody>
        </p:sp>
        <p:sp>
          <p:nvSpPr>
            <p:cNvPr id="1285" name="TextBox 227">
              <a:extLst>
                <a:ext uri="{FF2B5EF4-FFF2-40B4-BE49-F238E27FC236}">
                  <a16:creationId xmlns:a16="http://schemas.microsoft.com/office/drawing/2014/main" id="{084E77D6-EE6C-3F0C-917E-43C61DB1EF35}"/>
                </a:ext>
              </a:extLst>
            </p:cNvPr>
            <p:cNvSpPr txBox="1"/>
            <p:nvPr/>
          </p:nvSpPr>
          <p:spPr>
            <a:xfrm>
              <a:off x="7281465" y="5166697"/>
              <a:ext cx="1684846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dia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9 offices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4 Delivery centers</a:t>
              </a:r>
            </a:p>
          </p:txBody>
        </p:sp>
        <p:sp>
          <p:nvSpPr>
            <p:cNvPr id="1286" name="TextBox 228">
              <a:extLst>
                <a:ext uri="{FF2B5EF4-FFF2-40B4-BE49-F238E27FC236}">
                  <a16:creationId xmlns:a16="http://schemas.microsoft.com/office/drawing/2014/main" id="{DD45F150-DED7-6DB9-736A-EDC20CBC1A79}"/>
                </a:ext>
              </a:extLst>
            </p:cNvPr>
            <p:cNvSpPr txBox="1"/>
            <p:nvPr/>
          </p:nvSpPr>
          <p:spPr>
            <a:xfrm>
              <a:off x="9981999" y="3468528"/>
              <a:ext cx="1671788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AC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4 offices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 Delivery centers</a:t>
              </a:r>
            </a:p>
          </p:txBody>
        </p:sp>
        <p:sp>
          <p:nvSpPr>
            <p:cNvPr id="1287" name="TextBox 229">
              <a:extLst>
                <a:ext uri="{FF2B5EF4-FFF2-40B4-BE49-F238E27FC236}">
                  <a16:creationId xmlns:a16="http://schemas.microsoft.com/office/drawing/2014/main" id="{BDE90A84-39B1-FC5A-D059-7BCBF07E29DF}"/>
                </a:ext>
              </a:extLst>
            </p:cNvPr>
            <p:cNvSpPr txBox="1"/>
            <p:nvPr/>
          </p:nvSpPr>
          <p:spPr>
            <a:xfrm>
              <a:off x="9293566" y="984524"/>
              <a:ext cx="2472336" cy="21189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5999" tIns="35999" rIns="35999" bIns="35999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ey Global LTIMindtree Offices</a:t>
              </a:r>
            </a:p>
          </p:txBody>
        </p:sp>
        <p:cxnSp>
          <p:nvCxnSpPr>
            <p:cNvPr id="1288" name="Connector: Elbow 1287">
              <a:extLst>
                <a:ext uri="{FF2B5EF4-FFF2-40B4-BE49-F238E27FC236}">
                  <a16:creationId xmlns:a16="http://schemas.microsoft.com/office/drawing/2014/main" id="{CFC08CA9-389D-46C6-944C-705F09CD735C}"/>
                </a:ext>
              </a:extLst>
            </p:cNvPr>
            <p:cNvCxnSpPr>
              <a:endCxn id="1284" idx="0"/>
            </p:cNvCxnSpPr>
            <p:nvPr/>
          </p:nvCxnSpPr>
          <p:spPr>
            <a:xfrm rot="10800009" flipV="1">
              <a:off x="4990885" y="3792986"/>
              <a:ext cx="1716996" cy="1266270"/>
            </a:xfrm>
            <a:prstGeom prst="bentConnector3">
              <a:avLst>
                <a:gd name="adj1" fmla="val 98340"/>
              </a:avLst>
            </a:pr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1289" name="Connector: Elbow 1288">
              <a:extLst>
                <a:ext uri="{FF2B5EF4-FFF2-40B4-BE49-F238E27FC236}">
                  <a16:creationId xmlns:a16="http://schemas.microsoft.com/office/drawing/2014/main" id="{AD0F49C9-9243-E2DE-88C3-04E5831AF115}"/>
                </a:ext>
              </a:extLst>
            </p:cNvPr>
            <p:cNvCxnSpPr>
              <a:cxnSpLocks/>
              <a:stCxn id="1329" idx="1"/>
              <a:endCxn id="1286" idx="1"/>
            </p:cNvCxnSpPr>
            <p:nvPr/>
          </p:nvCxnSpPr>
          <p:spPr>
            <a:xfrm flipV="1">
              <a:off x="9311461" y="3732703"/>
              <a:ext cx="670538" cy="1290967"/>
            </a:xfrm>
            <a:prstGeom prst="bentConnector3">
              <a:avLst/>
            </a:pr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1290" name="Connector: Elbow 1289">
              <a:extLst>
                <a:ext uri="{FF2B5EF4-FFF2-40B4-BE49-F238E27FC236}">
                  <a16:creationId xmlns:a16="http://schemas.microsoft.com/office/drawing/2014/main" id="{69BF4248-A6F4-128A-4FCD-5D677F41326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446360" y="4196442"/>
              <a:ext cx="973877" cy="430163"/>
            </a:xfrm>
            <a:prstGeom prst="bentConnector3">
              <a:avLst/>
            </a:pr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1291" name="Connector: Elbow 1290">
              <a:extLst>
                <a:ext uri="{FF2B5EF4-FFF2-40B4-BE49-F238E27FC236}">
                  <a16:creationId xmlns:a16="http://schemas.microsoft.com/office/drawing/2014/main" id="{9E1B4F45-13DF-867A-F388-D64EACA979DE}"/>
                </a:ext>
              </a:extLst>
            </p:cNvPr>
            <p:cNvCxnSpPr>
              <a:cxnSpLocks/>
              <a:stCxn id="1297" idx="0"/>
            </p:cNvCxnSpPr>
            <p:nvPr/>
          </p:nvCxnSpPr>
          <p:spPr>
            <a:xfrm rot="5400000" flipH="1" flipV="1">
              <a:off x="1600547" y="2429231"/>
              <a:ext cx="902140" cy="1482561"/>
            </a:xfrm>
            <a:prstGeom prst="bentConnector2">
              <a:avLst/>
            </a:pr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1292" name="Connector: Elbow 1291">
              <a:extLst>
                <a:ext uri="{FF2B5EF4-FFF2-40B4-BE49-F238E27FC236}">
                  <a16:creationId xmlns:a16="http://schemas.microsoft.com/office/drawing/2014/main" id="{AD2F7355-C2C7-3F32-E0FB-69B94EAC1D2B}"/>
                </a:ext>
              </a:extLst>
            </p:cNvPr>
            <p:cNvCxnSpPr>
              <a:cxnSpLocks/>
              <a:stCxn id="1337" idx="0"/>
              <a:endCxn id="1283" idx="1"/>
            </p:cNvCxnSpPr>
            <p:nvPr/>
          </p:nvCxnSpPr>
          <p:spPr>
            <a:xfrm rot="5400000" flipH="1" flipV="1">
              <a:off x="5711797" y="1522337"/>
              <a:ext cx="862474" cy="449963"/>
            </a:xfrm>
            <a:prstGeom prst="bentConnector2">
              <a:avLst/>
            </a:pr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</p:cxn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438293E-F35A-A512-3684-9F762D5DA16F}"/>
                </a:ext>
              </a:extLst>
            </p:cNvPr>
            <p:cNvSpPr/>
            <p:nvPr/>
          </p:nvSpPr>
          <p:spPr>
            <a:xfrm>
              <a:off x="7883113" y="3772091"/>
              <a:ext cx="441216" cy="135040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12652"/>
                <a:gd name="f7" fmla="val 1495865"/>
                <a:gd name="f8" fmla="+- 0 0 -90"/>
                <a:gd name="f9" fmla="*/ f3 1 412652"/>
                <a:gd name="f10" fmla="*/ f4 1 1495865"/>
                <a:gd name="f11" fmla="val f5"/>
                <a:gd name="f12" fmla="val f6"/>
                <a:gd name="f13" fmla="val f7"/>
                <a:gd name="f14" fmla="*/ f8 f0 1"/>
                <a:gd name="f15" fmla="+- f13 0 f11"/>
                <a:gd name="f16" fmla="+- f12 0 f11"/>
                <a:gd name="f17" fmla="*/ f14 1 f2"/>
                <a:gd name="f18" fmla="*/ f16 1 412652"/>
                <a:gd name="f19" fmla="*/ f15 1 1495865"/>
                <a:gd name="f20" fmla="*/ 0 f16 1"/>
                <a:gd name="f21" fmla="*/ 0 f15 1"/>
                <a:gd name="f22" fmla="*/ 412652 f16 1"/>
                <a:gd name="f23" fmla="*/ 1495865 f15 1"/>
                <a:gd name="f24" fmla="+- f17 0 f1"/>
                <a:gd name="f25" fmla="*/ f20 1 412652"/>
                <a:gd name="f26" fmla="*/ f21 1 1495865"/>
                <a:gd name="f27" fmla="*/ f22 1 412652"/>
                <a:gd name="f28" fmla="*/ f23 1 1495865"/>
                <a:gd name="f29" fmla="*/ f11 1 f18"/>
                <a:gd name="f30" fmla="*/ f12 1 f18"/>
                <a:gd name="f31" fmla="*/ f11 1 f19"/>
                <a:gd name="f32" fmla="*/ f13 1 f19"/>
                <a:gd name="f33" fmla="*/ f25 1 f18"/>
                <a:gd name="f34" fmla="*/ f26 1 f19"/>
                <a:gd name="f35" fmla="*/ f27 1 f18"/>
                <a:gd name="f36" fmla="*/ f28 1 f19"/>
                <a:gd name="f37" fmla="*/ f29 f9 1"/>
                <a:gd name="f38" fmla="*/ f30 f9 1"/>
                <a:gd name="f39" fmla="*/ f32 f10 1"/>
                <a:gd name="f40" fmla="*/ f31 f10 1"/>
                <a:gd name="f41" fmla="*/ f33 f9 1"/>
                <a:gd name="f42" fmla="*/ f34 f10 1"/>
                <a:gd name="f43" fmla="*/ f35 f9 1"/>
                <a:gd name="f44" fmla="*/ f36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">
                  <a:pos x="f41" y="f42"/>
                </a:cxn>
                <a:cxn ang="f24">
                  <a:pos x="f43" y="f42"/>
                </a:cxn>
                <a:cxn ang="f24">
                  <a:pos x="f43" y="f44"/>
                </a:cxn>
              </a:cxnLst>
              <a:rect l="f37" t="f40" r="f38" b="f39"/>
              <a:pathLst>
                <a:path w="412652" h="1495865">
                  <a:moveTo>
                    <a:pt x="f5" y="f5"/>
                  </a:moveTo>
                  <a:lnTo>
                    <a:pt x="f6" y="f5"/>
                  </a:lnTo>
                  <a:lnTo>
                    <a:pt x="f6" y="f7"/>
                  </a:lnTo>
                </a:path>
              </a:pathLst>
            </a:custGeom>
            <a:noFill/>
            <a:ln w="19046" cap="flat">
              <a:solidFill>
                <a:srgbClr val="004B86"/>
              </a:solidFill>
              <a:custDash>
                <a:ds d="100000" sp="100000"/>
              </a:custDash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95" name="Oval 282">
              <a:extLst>
                <a:ext uri="{FF2B5EF4-FFF2-40B4-BE49-F238E27FC236}">
                  <a16:creationId xmlns:a16="http://schemas.microsoft.com/office/drawing/2014/main" id="{4AD8B08D-11F7-48DF-A702-B8DF0FBB713D}"/>
                </a:ext>
              </a:extLst>
            </p:cNvPr>
            <p:cNvSpPr/>
            <p:nvPr/>
          </p:nvSpPr>
          <p:spPr>
            <a:xfrm>
              <a:off x="5610207" y="2834831"/>
              <a:ext cx="61601" cy="52595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065288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96" name="Rectangle 1295">
              <a:extLst>
                <a:ext uri="{FF2B5EF4-FFF2-40B4-BE49-F238E27FC236}">
                  <a16:creationId xmlns:a16="http://schemas.microsoft.com/office/drawing/2014/main" id="{EFE16070-1696-6792-DAD4-1D058648E576}"/>
                </a:ext>
              </a:extLst>
            </p:cNvPr>
            <p:cNvSpPr/>
            <p:nvPr/>
          </p:nvSpPr>
          <p:spPr>
            <a:xfrm>
              <a:off x="1304599" y="5476651"/>
              <a:ext cx="1614748" cy="252000"/>
            </a:xfrm>
            <a:prstGeom prst="rect">
              <a:avLst/>
            </a:prstGeom>
            <a:solidFill>
              <a:srgbClr val="163E64"/>
            </a:solidFill>
            <a:ln w="12701" cap="flat">
              <a:solidFill>
                <a:srgbClr val="014B8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50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+ Associates</a:t>
              </a:r>
            </a:p>
          </p:txBody>
        </p:sp>
        <p:sp>
          <p:nvSpPr>
            <p:cNvPr id="1297" name="TextBox 284">
              <a:extLst>
                <a:ext uri="{FF2B5EF4-FFF2-40B4-BE49-F238E27FC236}">
                  <a16:creationId xmlns:a16="http://schemas.microsoft.com/office/drawing/2014/main" id="{A878F629-B681-DA36-50FD-FBD2523C4227}"/>
                </a:ext>
              </a:extLst>
            </p:cNvPr>
            <p:cNvSpPr txBox="1"/>
            <p:nvPr/>
          </p:nvSpPr>
          <p:spPr>
            <a:xfrm>
              <a:off x="433231" y="3621581"/>
              <a:ext cx="1754212" cy="528349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rgbClr val="D6DEE9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orth America 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7 offices</a:t>
              </a:r>
            </a:p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4 Delivery centers</a:t>
              </a:r>
            </a:p>
          </p:txBody>
        </p:sp>
        <p:sp>
          <p:nvSpPr>
            <p:cNvPr id="1298" name="Rectangle 1297">
              <a:extLst>
                <a:ext uri="{FF2B5EF4-FFF2-40B4-BE49-F238E27FC236}">
                  <a16:creationId xmlns:a16="http://schemas.microsoft.com/office/drawing/2014/main" id="{5BC028F8-3829-EA69-1CCF-FDB849A5E913}"/>
                </a:ext>
              </a:extLst>
            </p:cNvPr>
            <p:cNvSpPr/>
            <p:nvPr/>
          </p:nvSpPr>
          <p:spPr>
            <a:xfrm>
              <a:off x="426099" y="4191032"/>
              <a:ext cx="1768559" cy="252000"/>
            </a:xfrm>
            <a:prstGeom prst="rect">
              <a:avLst/>
            </a:prstGeom>
            <a:solidFill>
              <a:srgbClr val="163E64"/>
            </a:solidFill>
            <a:ln w="6345" cap="flat">
              <a:solidFill>
                <a:srgbClr val="014B8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7,700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+ Associates</a:t>
              </a:r>
            </a:p>
          </p:txBody>
        </p:sp>
        <p:sp>
          <p:nvSpPr>
            <p:cNvPr id="1299" name="Rectangle 1298">
              <a:extLst>
                <a:ext uri="{FF2B5EF4-FFF2-40B4-BE49-F238E27FC236}">
                  <a16:creationId xmlns:a16="http://schemas.microsoft.com/office/drawing/2014/main" id="{3AFC3F37-306A-004A-BBC1-2C2AF6E09A40}"/>
                </a:ext>
              </a:extLst>
            </p:cNvPr>
            <p:cNvSpPr/>
            <p:nvPr/>
          </p:nvSpPr>
          <p:spPr>
            <a:xfrm>
              <a:off x="3983453" y="5631221"/>
              <a:ext cx="2007693" cy="252000"/>
            </a:xfrm>
            <a:prstGeom prst="rect">
              <a:avLst/>
            </a:prstGeom>
            <a:solidFill>
              <a:srgbClr val="163E64"/>
            </a:solidFill>
            <a:ln w="12701" cap="flat">
              <a:solidFill>
                <a:srgbClr val="014B8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850+ Associates</a:t>
              </a:r>
            </a:p>
          </p:txBody>
        </p:sp>
        <p:sp>
          <p:nvSpPr>
            <p:cNvPr id="1300" name="Rectangle 1299">
              <a:extLst>
                <a:ext uri="{FF2B5EF4-FFF2-40B4-BE49-F238E27FC236}">
                  <a16:creationId xmlns:a16="http://schemas.microsoft.com/office/drawing/2014/main" id="{A47ABB79-0A65-0CE2-F10A-A4256548E3D7}"/>
                </a:ext>
              </a:extLst>
            </p:cNvPr>
            <p:cNvSpPr/>
            <p:nvPr/>
          </p:nvSpPr>
          <p:spPr>
            <a:xfrm>
              <a:off x="7279444" y="5734055"/>
              <a:ext cx="1688887" cy="252000"/>
            </a:xfrm>
            <a:prstGeom prst="rect">
              <a:avLst/>
            </a:prstGeom>
            <a:solidFill>
              <a:srgbClr val="163E64"/>
            </a:solidFill>
            <a:ln w="12701" cap="flat">
              <a:solidFill>
                <a:srgbClr val="144885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72,500+ Associates</a:t>
              </a:r>
            </a:p>
          </p:txBody>
        </p:sp>
        <p:sp>
          <p:nvSpPr>
            <p:cNvPr id="1301" name="Rectangle 1300">
              <a:extLst>
                <a:ext uri="{FF2B5EF4-FFF2-40B4-BE49-F238E27FC236}">
                  <a16:creationId xmlns:a16="http://schemas.microsoft.com/office/drawing/2014/main" id="{FA05A892-FE4E-8BC7-B202-90991E3E9AF0}"/>
                </a:ext>
              </a:extLst>
            </p:cNvPr>
            <p:cNvSpPr/>
            <p:nvPr/>
          </p:nvSpPr>
          <p:spPr>
            <a:xfrm>
              <a:off x="9981999" y="4040193"/>
              <a:ext cx="1671788" cy="252000"/>
            </a:xfrm>
            <a:prstGeom prst="rect">
              <a:avLst/>
            </a:prstGeom>
            <a:solidFill>
              <a:srgbClr val="163E64"/>
            </a:solidFill>
            <a:ln w="12701" cap="flat">
              <a:solidFill>
                <a:srgbClr val="014B8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00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+ Associates</a:t>
              </a:r>
            </a:p>
          </p:txBody>
        </p:sp>
        <p:sp>
          <p:nvSpPr>
            <p:cNvPr id="1302" name="Rectangle 1301">
              <a:extLst>
                <a:ext uri="{FF2B5EF4-FFF2-40B4-BE49-F238E27FC236}">
                  <a16:creationId xmlns:a16="http://schemas.microsoft.com/office/drawing/2014/main" id="{5A7A0C67-7465-99DE-F6E4-678655E0BC20}"/>
                </a:ext>
              </a:extLst>
            </p:cNvPr>
            <p:cNvSpPr/>
            <p:nvPr/>
          </p:nvSpPr>
          <p:spPr>
            <a:xfrm>
              <a:off x="6367769" y="1617463"/>
              <a:ext cx="2072725" cy="252000"/>
            </a:xfrm>
            <a:prstGeom prst="rect">
              <a:avLst/>
            </a:prstGeom>
            <a:solidFill>
              <a:srgbClr val="163E64"/>
            </a:solidFill>
            <a:ln w="12701" cap="flat">
              <a:solidFill>
                <a:srgbClr val="014B8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6</a:t>
              </a: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00+ Associates</a:t>
              </a:r>
            </a:p>
          </p:txBody>
        </p:sp>
        <p:sp>
          <p:nvSpPr>
            <p:cNvPr id="1303" name="Rectangle 1302">
              <a:extLst>
                <a:ext uri="{FF2B5EF4-FFF2-40B4-BE49-F238E27FC236}">
                  <a16:creationId xmlns:a16="http://schemas.microsoft.com/office/drawing/2014/main" id="{AA5D56A3-A080-996A-4321-D4405FF783CC}"/>
                </a:ext>
              </a:extLst>
            </p:cNvPr>
            <p:cNvSpPr/>
            <p:nvPr/>
          </p:nvSpPr>
          <p:spPr>
            <a:xfrm>
              <a:off x="1604422" y="3140213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dmond</a:t>
              </a:r>
            </a:p>
          </p:txBody>
        </p:sp>
        <p:sp>
          <p:nvSpPr>
            <p:cNvPr id="1304" name="Rectangle 1303">
              <a:extLst>
                <a:ext uri="{FF2B5EF4-FFF2-40B4-BE49-F238E27FC236}">
                  <a16:creationId xmlns:a16="http://schemas.microsoft.com/office/drawing/2014/main" id="{2A8C8226-870B-8A60-FB48-ACFC5E66EA9B}"/>
                </a:ext>
              </a:extLst>
            </p:cNvPr>
            <p:cNvSpPr/>
            <p:nvPr/>
          </p:nvSpPr>
          <p:spPr>
            <a:xfrm>
              <a:off x="3292061" y="3425965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pharetta</a:t>
              </a:r>
            </a:p>
          </p:txBody>
        </p:sp>
        <p:sp>
          <p:nvSpPr>
            <p:cNvPr id="1306" name="Rectangle 1305">
              <a:extLst>
                <a:ext uri="{FF2B5EF4-FFF2-40B4-BE49-F238E27FC236}">
                  <a16:creationId xmlns:a16="http://schemas.microsoft.com/office/drawing/2014/main" id="{AC4D0FFF-FC66-2259-8E4B-2C39408EECB7}"/>
                </a:ext>
              </a:extLst>
            </p:cNvPr>
            <p:cNvSpPr/>
            <p:nvPr/>
          </p:nvSpPr>
          <p:spPr>
            <a:xfrm>
              <a:off x="1860198" y="3422113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lendale</a:t>
              </a:r>
            </a:p>
          </p:txBody>
        </p:sp>
        <p:sp>
          <p:nvSpPr>
            <p:cNvPr id="1309" name="Rectangle 1308">
              <a:extLst>
                <a:ext uri="{FF2B5EF4-FFF2-40B4-BE49-F238E27FC236}">
                  <a16:creationId xmlns:a16="http://schemas.microsoft.com/office/drawing/2014/main" id="{85DBE483-D90A-5E75-5D0B-9AD1D63CFA4E}"/>
                </a:ext>
              </a:extLst>
            </p:cNvPr>
            <p:cNvSpPr/>
            <p:nvPr/>
          </p:nvSpPr>
          <p:spPr>
            <a:xfrm>
              <a:off x="2840115" y="3057076"/>
              <a:ext cx="788331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int Louis Parks</a:t>
              </a:r>
            </a:p>
          </p:txBody>
        </p:sp>
        <p:sp>
          <p:nvSpPr>
            <p:cNvPr id="1310" name="Rectangle 1309">
              <a:extLst>
                <a:ext uri="{FF2B5EF4-FFF2-40B4-BE49-F238E27FC236}">
                  <a16:creationId xmlns:a16="http://schemas.microsoft.com/office/drawing/2014/main" id="{8EA29C0E-1CED-B938-6815-95373327FD7B}"/>
                </a:ext>
              </a:extLst>
            </p:cNvPr>
            <p:cNvSpPr/>
            <p:nvPr/>
          </p:nvSpPr>
          <p:spPr>
            <a:xfrm>
              <a:off x="2370880" y="3546243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llas, TX</a:t>
              </a:r>
            </a:p>
          </p:txBody>
        </p:sp>
        <p:sp>
          <p:nvSpPr>
            <p:cNvPr id="1312" name="Oval 299">
              <a:extLst>
                <a:ext uri="{FF2B5EF4-FFF2-40B4-BE49-F238E27FC236}">
                  <a16:creationId xmlns:a16="http://schemas.microsoft.com/office/drawing/2014/main" id="{0AC69E4C-35FD-698C-AD73-78C5BABC9E78}"/>
                </a:ext>
              </a:extLst>
            </p:cNvPr>
            <p:cNvSpPr/>
            <p:nvPr/>
          </p:nvSpPr>
          <p:spPr>
            <a:xfrm>
              <a:off x="3620802" y="3267635"/>
              <a:ext cx="85862" cy="75904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065288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13" name="Rectangle 1312">
              <a:extLst>
                <a:ext uri="{FF2B5EF4-FFF2-40B4-BE49-F238E27FC236}">
                  <a16:creationId xmlns:a16="http://schemas.microsoft.com/office/drawing/2014/main" id="{FF2EBC63-EBF8-8A5C-6D37-064CA340A54E}"/>
                </a:ext>
              </a:extLst>
            </p:cNvPr>
            <p:cNvSpPr/>
            <p:nvPr/>
          </p:nvSpPr>
          <p:spPr>
            <a:xfrm>
              <a:off x="3736565" y="3255144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dison, NJ</a:t>
              </a:r>
            </a:p>
          </p:txBody>
        </p:sp>
        <p:sp>
          <p:nvSpPr>
            <p:cNvPr id="1314" name="Oval 301">
              <a:extLst>
                <a:ext uri="{FF2B5EF4-FFF2-40B4-BE49-F238E27FC236}">
                  <a16:creationId xmlns:a16="http://schemas.microsoft.com/office/drawing/2014/main" id="{B40DF8A7-35AB-8355-A282-367550708D8F}"/>
                </a:ext>
              </a:extLst>
            </p:cNvPr>
            <p:cNvSpPr/>
            <p:nvPr/>
          </p:nvSpPr>
          <p:spPr>
            <a:xfrm>
              <a:off x="7582309" y="3941076"/>
              <a:ext cx="85862" cy="75904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065288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16" name="Rectangle 1315">
              <a:extLst>
                <a:ext uri="{FF2B5EF4-FFF2-40B4-BE49-F238E27FC236}">
                  <a16:creationId xmlns:a16="http://schemas.microsoft.com/office/drawing/2014/main" id="{AE1E6AD0-D2C0-253F-2F4E-8E674C97CD93}"/>
                </a:ext>
              </a:extLst>
            </p:cNvPr>
            <p:cNvSpPr/>
            <p:nvPr/>
          </p:nvSpPr>
          <p:spPr>
            <a:xfrm>
              <a:off x="3467292" y="2906547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ronto</a:t>
              </a:r>
            </a:p>
          </p:txBody>
        </p:sp>
        <p:sp>
          <p:nvSpPr>
            <p:cNvPr id="1320" name="Rectangle 1319">
              <a:extLst>
                <a:ext uri="{FF2B5EF4-FFF2-40B4-BE49-F238E27FC236}">
                  <a16:creationId xmlns:a16="http://schemas.microsoft.com/office/drawing/2014/main" id="{45BF2701-DF2F-44ED-0FD2-11BACEBC1578}"/>
                </a:ext>
              </a:extLst>
            </p:cNvPr>
            <p:cNvSpPr/>
            <p:nvPr/>
          </p:nvSpPr>
          <p:spPr>
            <a:xfrm>
              <a:off x="1994686" y="3004525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ellevue</a:t>
              </a:r>
            </a:p>
          </p:txBody>
        </p:sp>
        <p:sp>
          <p:nvSpPr>
            <p:cNvPr id="1322" name="Rectangle 1321">
              <a:extLst>
                <a:ext uri="{FF2B5EF4-FFF2-40B4-BE49-F238E27FC236}">
                  <a16:creationId xmlns:a16="http://schemas.microsoft.com/office/drawing/2014/main" id="{D9700327-1F85-23DA-9852-E51674F049FC}"/>
                </a:ext>
              </a:extLst>
            </p:cNvPr>
            <p:cNvSpPr/>
            <p:nvPr/>
          </p:nvSpPr>
          <p:spPr>
            <a:xfrm>
              <a:off x="3751351" y="3154020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arren, NJ</a:t>
              </a:r>
            </a:p>
          </p:txBody>
        </p:sp>
        <p:sp>
          <p:nvSpPr>
            <p:cNvPr id="1324" name="Rectangle 1323">
              <a:extLst>
                <a:ext uri="{FF2B5EF4-FFF2-40B4-BE49-F238E27FC236}">
                  <a16:creationId xmlns:a16="http://schemas.microsoft.com/office/drawing/2014/main" id="{9F500F19-83D2-24BC-183E-F34463C7249F}"/>
                </a:ext>
              </a:extLst>
            </p:cNvPr>
            <p:cNvSpPr/>
            <p:nvPr/>
          </p:nvSpPr>
          <p:spPr>
            <a:xfrm>
              <a:off x="2445953" y="3274858"/>
              <a:ext cx="788331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incinnati</a:t>
              </a:r>
            </a:p>
          </p:txBody>
        </p:sp>
        <p:grpSp>
          <p:nvGrpSpPr>
            <p:cNvPr id="1325" name="Group 1324">
              <a:extLst>
                <a:ext uri="{FF2B5EF4-FFF2-40B4-BE49-F238E27FC236}">
                  <a16:creationId xmlns:a16="http://schemas.microsoft.com/office/drawing/2014/main" id="{81FBA5AC-08FC-D18A-6AC9-83C5B838EFAB}"/>
                </a:ext>
              </a:extLst>
            </p:cNvPr>
            <p:cNvGrpSpPr/>
            <p:nvPr/>
          </p:nvGrpSpPr>
          <p:grpSpPr>
            <a:xfrm>
              <a:off x="9102116" y="4910105"/>
              <a:ext cx="254824" cy="373452"/>
              <a:chOff x="9102109" y="4813984"/>
              <a:chExt cx="254824" cy="373452"/>
            </a:xfrm>
          </p:grpSpPr>
          <p:sp>
            <p:nvSpPr>
              <p:cNvPr id="1357" name="Teardrop 333">
                <a:extLst>
                  <a:ext uri="{FF2B5EF4-FFF2-40B4-BE49-F238E27FC236}">
                    <a16:creationId xmlns:a16="http://schemas.microsoft.com/office/drawing/2014/main" id="{5535B952-C45D-D112-37B1-D95A2F9913DF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58" name="Shape 5744">
                <a:extLst>
                  <a:ext uri="{FF2B5EF4-FFF2-40B4-BE49-F238E27FC236}">
                    <a16:creationId xmlns:a16="http://schemas.microsoft.com/office/drawing/2014/main" id="{9909BA02-073D-AEB5-7765-22DEED796B3E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26" name="AutoShape 6" descr="Shrikrishna Tirodkar">
              <a:extLst>
                <a:ext uri="{FF2B5EF4-FFF2-40B4-BE49-F238E27FC236}">
                  <a16:creationId xmlns:a16="http://schemas.microsoft.com/office/drawing/2014/main" id="{0F2B93DA-FEC9-22B9-D7BE-23F43F9AE597}"/>
                </a:ext>
              </a:extLst>
            </p:cNvPr>
            <p:cNvSpPr/>
            <p:nvPr/>
          </p:nvSpPr>
          <p:spPr>
            <a:xfrm>
              <a:off x="4440168" y="3156023"/>
              <a:ext cx="376193" cy="332576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27" name="Oval 344">
              <a:extLst>
                <a:ext uri="{FF2B5EF4-FFF2-40B4-BE49-F238E27FC236}">
                  <a16:creationId xmlns:a16="http://schemas.microsoft.com/office/drawing/2014/main" id="{D8D95568-A258-5DA2-A5DD-8E2D5014A5D5}"/>
                </a:ext>
              </a:extLst>
            </p:cNvPr>
            <p:cNvSpPr/>
            <p:nvPr/>
          </p:nvSpPr>
          <p:spPr>
            <a:xfrm>
              <a:off x="9093934" y="1278019"/>
              <a:ext cx="122154" cy="9695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004880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28" name="TextBox 345">
              <a:extLst>
                <a:ext uri="{FF2B5EF4-FFF2-40B4-BE49-F238E27FC236}">
                  <a16:creationId xmlns:a16="http://schemas.microsoft.com/office/drawing/2014/main" id="{28D2FBF4-82E1-5118-7A32-02AE09525996}"/>
                </a:ext>
              </a:extLst>
            </p:cNvPr>
            <p:cNvSpPr txBox="1"/>
            <p:nvPr/>
          </p:nvSpPr>
          <p:spPr>
            <a:xfrm>
              <a:off x="9287339" y="1237913"/>
              <a:ext cx="1900882" cy="21189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5999" tIns="35999" rIns="35999" bIns="35999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perience studio</a:t>
              </a:r>
            </a:p>
          </p:txBody>
        </p:sp>
        <p:sp>
          <p:nvSpPr>
            <p:cNvPr id="1329" name="Oval 355">
              <a:extLst>
                <a:ext uri="{FF2B5EF4-FFF2-40B4-BE49-F238E27FC236}">
                  <a16:creationId xmlns:a16="http://schemas.microsoft.com/office/drawing/2014/main" id="{A4058B6A-7E41-2425-507F-C0506693DE70}"/>
                </a:ext>
              </a:extLst>
            </p:cNvPr>
            <p:cNvSpPr/>
            <p:nvPr/>
          </p:nvSpPr>
          <p:spPr>
            <a:xfrm>
              <a:off x="9128581" y="4932230"/>
              <a:ext cx="182880" cy="18288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0" name="TextBox 357">
              <a:extLst>
                <a:ext uri="{FF2B5EF4-FFF2-40B4-BE49-F238E27FC236}">
                  <a16:creationId xmlns:a16="http://schemas.microsoft.com/office/drawing/2014/main" id="{5AC16F1E-D4C2-2F31-BCD2-9B0B07BAB94A}"/>
                </a:ext>
              </a:extLst>
            </p:cNvPr>
            <p:cNvSpPr txBox="1"/>
            <p:nvPr/>
          </p:nvSpPr>
          <p:spPr>
            <a:xfrm>
              <a:off x="1871440" y="6168677"/>
              <a:ext cx="8694874" cy="234555"/>
            </a:xfrm>
            <a:prstGeom prst="rect">
              <a:avLst/>
            </a:prstGeom>
            <a:solidFill>
              <a:srgbClr val="FFFFFF"/>
            </a:solidFill>
            <a:ln w="9528" cap="flat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2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" name="TextBox 358">
              <a:extLst>
                <a:ext uri="{FF2B5EF4-FFF2-40B4-BE49-F238E27FC236}">
                  <a16:creationId xmlns:a16="http://schemas.microsoft.com/office/drawing/2014/main" id="{71419723-8F41-3BFE-5ED9-EC0EAD22DE51}"/>
                </a:ext>
              </a:extLst>
            </p:cNvPr>
            <p:cNvSpPr txBox="1"/>
            <p:nvPr/>
          </p:nvSpPr>
          <p:spPr>
            <a:xfrm>
              <a:off x="3036363" y="6106335"/>
              <a:ext cx="6508577" cy="33855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4B86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livery centers 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 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orth America | Europe | Central America | Middle East &amp; S Africa | India | APAC</a:t>
              </a:r>
            </a:p>
          </p:txBody>
        </p:sp>
        <p:grpSp>
          <p:nvGrpSpPr>
            <p:cNvPr id="1332" name="Group 1331">
              <a:extLst>
                <a:ext uri="{FF2B5EF4-FFF2-40B4-BE49-F238E27FC236}">
                  <a16:creationId xmlns:a16="http://schemas.microsoft.com/office/drawing/2014/main" id="{7D4AA09F-0B62-D1B2-A078-F5A8D7719969}"/>
                </a:ext>
              </a:extLst>
            </p:cNvPr>
            <p:cNvGrpSpPr/>
            <p:nvPr/>
          </p:nvGrpSpPr>
          <p:grpSpPr>
            <a:xfrm>
              <a:off x="7694235" y="3445624"/>
              <a:ext cx="254824" cy="373452"/>
              <a:chOff x="9102109" y="4813984"/>
              <a:chExt cx="254824" cy="373452"/>
            </a:xfrm>
          </p:grpSpPr>
          <p:sp>
            <p:nvSpPr>
              <p:cNvPr id="1354" name="Teardrop 333">
                <a:extLst>
                  <a:ext uri="{FF2B5EF4-FFF2-40B4-BE49-F238E27FC236}">
                    <a16:creationId xmlns:a16="http://schemas.microsoft.com/office/drawing/2014/main" id="{499A675F-5890-6F08-7187-A2697FE147EE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55" name="Shape 5744">
                <a:extLst>
                  <a:ext uri="{FF2B5EF4-FFF2-40B4-BE49-F238E27FC236}">
                    <a16:creationId xmlns:a16="http://schemas.microsoft.com/office/drawing/2014/main" id="{B906FA7E-F96D-2DD7-DAD6-4DDC0F69EF91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33" name="Oval 355">
              <a:extLst>
                <a:ext uri="{FF2B5EF4-FFF2-40B4-BE49-F238E27FC236}">
                  <a16:creationId xmlns:a16="http://schemas.microsoft.com/office/drawing/2014/main" id="{67DF0CB2-9E20-BDB2-604C-7BCD5B34622E}"/>
                </a:ext>
              </a:extLst>
            </p:cNvPr>
            <p:cNvSpPr/>
            <p:nvPr/>
          </p:nvSpPr>
          <p:spPr>
            <a:xfrm>
              <a:off x="7720121" y="3467209"/>
              <a:ext cx="182880" cy="18288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334" name="Group 1333">
              <a:extLst>
                <a:ext uri="{FF2B5EF4-FFF2-40B4-BE49-F238E27FC236}">
                  <a16:creationId xmlns:a16="http://schemas.microsoft.com/office/drawing/2014/main" id="{1AC6D492-CEED-E2A5-F268-DFBAE96D00AA}"/>
                </a:ext>
              </a:extLst>
            </p:cNvPr>
            <p:cNvGrpSpPr/>
            <p:nvPr/>
          </p:nvGrpSpPr>
          <p:grpSpPr>
            <a:xfrm>
              <a:off x="6596474" y="3445624"/>
              <a:ext cx="254824" cy="373452"/>
              <a:chOff x="9102109" y="4813984"/>
              <a:chExt cx="254824" cy="373452"/>
            </a:xfrm>
          </p:grpSpPr>
          <p:sp>
            <p:nvSpPr>
              <p:cNvPr id="1351" name="Teardrop 333">
                <a:extLst>
                  <a:ext uri="{FF2B5EF4-FFF2-40B4-BE49-F238E27FC236}">
                    <a16:creationId xmlns:a16="http://schemas.microsoft.com/office/drawing/2014/main" id="{96B6570C-FE92-16D3-D1C9-49599B941CE3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52" name="Shape 5744">
                <a:extLst>
                  <a:ext uri="{FF2B5EF4-FFF2-40B4-BE49-F238E27FC236}">
                    <a16:creationId xmlns:a16="http://schemas.microsoft.com/office/drawing/2014/main" id="{D6BFE0B4-29A3-14A8-0184-564ABCE799FF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35" name="Oval 355">
              <a:extLst>
                <a:ext uri="{FF2B5EF4-FFF2-40B4-BE49-F238E27FC236}">
                  <a16:creationId xmlns:a16="http://schemas.microsoft.com/office/drawing/2014/main" id="{67688484-5453-14E4-D75C-8A390B4CBF10}"/>
                </a:ext>
              </a:extLst>
            </p:cNvPr>
            <p:cNvSpPr/>
            <p:nvPr/>
          </p:nvSpPr>
          <p:spPr>
            <a:xfrm>
              <a:off x="6622360" y="3467209"/>
              <a:ext cx="182880" cy="18288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336" name="Group 1335">
              <a:extLst>
                <a:ext uri="{FF2B5EF4-FFF2-40B4-BE49-F238E27FC236}">
                  <a16:creationId xmlns:a16="http://schemas.microsoft.com/office/drawing/2014/main" id="{AF109FF3-2E66-6D64-7E36-AC4502F145C6}"/>
                </a:ext>
              </a:extLst>
            </p:cNvPr>
            <p:cNvGrpSpPr/>
            <p:nvPr/>
          </p:nvGrpSpPr>
          <p:grpSpPr>
            <a:xfrm>
              <a:off x="5824829" y="2145514"/>
              <a:ext cx="208766" cy="351183"/>
              <a:chOff x="9102109" y="4813984"/>
              <a:chExt cx="254824" cy="373452"/>
            </a:xfrm>
          </p:grpSpPr>
          <p:sp>
            <p:nvSpPr>
              <p:cNvPr id="1348" name="Teardrop 333">
                <a:extLst>
                  <a:ext uri="{FF2B5EF4-FFF2-40B4-BE49-F238E27FC236}">
                    <a16:creationId xmlns:a16="http://schemas.microsoft.com/office/drawing/2014/main" id="{192E1A3E-98B7-7EC1-A385-C6488284BAFB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49" name="Shape 5744">
                <a:extLst>
                  <a:ext uri="{FF2B5EF4-FFF2-40B4-BE49-F238E27FC236}">
                    <a16:creationId xmlns:a16="http://schemas.microsoft.com/office/drawing/2014/main" id="{2C63A3C9-DAC0-3D82-1CCD-33A135BBAE87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37" name="Oval 355">
              <a:extLst>
                <a:ext uri="{FF2B5EF4-FFF2-40B4-BE49-F238E27FC236}">
                  <a16:creationId xmlns:a16="http://schemas.microsoft.com/office/drawing/2014/main" id="{FEDAC660-858B-9CB7-B259-789603FAF1F1}"/>
                </a:ext>
              </a:extLst>
            </p:cNvPr>
            <p:cNvSpPr/>
            <p:nvPr/>
          </p:nvSpPr>
          <p:spPr>
            <a:xfrm>
              <a:off x="5837773" y="2178555"/>
              <a:ext cx="160560" cy="15444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338" name="Group 1337">
              <a:extLst>
                <a:ext uri="{FF2B5EF4-FFF2-40B4-BE49-F238E27FC236}">
                  <a16:creationId xmlns:a16="http://schemas.microsoft.com/office/drawing/2014/main" id="{17C2624B-BD34-6F6F-F39F-8D3862378C19}"/>
                </a:ext>
              </a:extLst>
            </p:cNvPr>
            <p:cNvGrpSpPr/>
            <p:nvPr/>
          </p:nvGrpSpPr>
          <p:grpSpPr>
            <a:xfrm>
              <a:off x="2756288" y="2502045"/>
              <a:ext cx="254824" cy="373452"/>
              <a:chOff x="9102109" y="4813984"/>
              <a:chExt cx="254824" cy="373452"/>
            </a:xfrm>
          </p:grpSpPr>
          <p:sp>
            <p:nvSpPr>
              <p:cNvPr id="1345" name="Teardrop 333">
                <a:extLst>
                  <a:ext uri="{FF2B5EF4-FFF2-40B4-BE49-F238E27FC236}">
                    <a16:creationId xmlns:a16="http://schemas.microsoft.com/office/drawing/2014/main" id="{3953FB7F-D7F9-BD65-8EB0-D0CEE22939B7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46" name="Shape 5744">
                <a:extLst>
                  <a:ext uri="{FF2B5EF4-FFF2-40B4-BE49-F238E27FC236}">
                    <a16:creationId xmlns:a16="http://schemas.microsoft.com/office/drawing/2014/main" id="{F0D0C86A-FC45-B55B-2C52-1BC8948E4CD0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39" name="Oval 355">
              <a:extLst>
                <a:ext uri="{FF2B5EF4-FFF2-40B4-BE49-F238E27FC236}">
                  <a16:creationId xmlns:a16="http://schemas.microsoft.com/office/drawing/2014/main" id="{0FFB0D12-320A-E613-B865-FDE4C47FEB27}"/>
                </a:ext>
              </a:extLst>
            </p:cNvPr>
            <p:cNvSpPr/>
            <p:nvPr/>
          </p:nvSpPr>
          <p:spPr>
            <a:xfrm>
              <a:off x="2782174" y="2523630"/>
              <a:ext cx="182880" cy="18288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340" name="Group 1339">
              <a:extLst>
                <a:ext uri="{FF2B5EF4-FFF2-40B4-BE49-F238E27FC236}">
                  <a16:creationId xmlns:a16="http://schemas.microsoft.com/office/drawing/2014/main" id="{E965AF87-3359-FC7A-60E0-2BCDF1DB81CD}"/>
                </a:ext>
              </a:extLst>
            </p:cNvPr>
            <p:cNvGrpSpPr/>
            <p:nvPr/>
          </p:nvGrpSpPr>
          <p:grpSpPr>
            <a:xfrm>
              <a:off x="3065057" y="3557236"/>
              <a:ext cx="254824" cy="373452"/>
              <a:chOff x="9102109" y="4813984"/>
              <a:chExt cx="254824" cy="373452"/>
            </a:xfrm>
          </p:grpSpPr>
          <p:sp>
            <p:nvSpPr>
              <p:cNvPr id="1343" name="Teardrop 333">
                <a:extLst>
                  <a:ext uri="{FF2B5EF4-FFF2-40B4-BE49-F238E27FC236}">
                    <a16:creationId xmlns:a16="http://schemas.microsoft.com/office/drawing/2014/main" id="{3C5ADE2B-20B8-A543-0800-C1A30DB30AC3}"/>
                  </a:ext>
                </a:extLst>
              </p:cNvPr>
              <p:cNvSpPr/>
              <p:nvPr/>
            </p:nvSpPr>
            <p:spPr>
              <a:xfrm rot="8127143">
                <a:off x="9102109" y="4813984"/>
                <a:ext cx="254824" cy="256032"/>
              </a:xfrm>
              <a:custGeom>
                <a:avLst>
                  <a:gd name="f10" fmla="val 156111"/>
                </a:avLst>
                <a:gdLst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sqrt 2"/>
                  <a:gd name="f10" fmla="val 156111"/>
                  <a:gd name="f11" fmla="+- 0 0 -180"/>
                  <a:gd name="f12" fmla="+- 0 0 -360"/>
                  <a:gd name="f13" fmla="abs f4"/>
                  <a:gd name="f14" fmla="abs f5"/>
                  <a:gd name="f15" fmla="abs f6"/>
                  <a:gd name="f16" fmla="val f7"/>
                  <a:gd name="f17" fmla="val f10"/>
                  <a:gd name="f18" fmla="+- 2700000 f2 0"/>
                  <a:gd name="f19" fmla="*/ f11 f1 1"/>
                  <a:gd name="f20" fmla="*/ f12 f1 1"/>
                  <a:gd name="f21" fmla="?: f13 f4 1"/>
                  <a:gd name="f22" fmla="?: f14 f5 1"/>
                  <a:gd name="f23" fmla="?: f15 f6 1"/>
                  <a:gd name="f24" fmla="*/ f18 f8 1"/>
                  <a:gd name="f25" fmla="*/ f19 1 f3"/>
                  <a:gd name="f26" fmla="*/ f20 1 f3"/>
                  <a:gd name="f27" fmla="*/ f21 1 21600"/>
                  <a:gd name="f28" fmla="*/ f22 1 21600"/>
                  <a:gd name="f29" fmla="*/ 21600 f21 1"/>
                  <a:gd name="f30" fmla="*/ 21600 f22 1"/>
                  <a:gd name="f31" fmla="*/ f24 1 f1"/>
                  <a:gd name="f32" fmla="+- f25 0 f2"/>
                  <a:gd name="f33" fmla="+- f26 0 f2"/>
                  <a:gd name="f34" fmla="min f28 f27"/>
                  <a:gd name="f35" fmla="*/ f29 1 f23"/>
                  <a:gd name="f36" fmla="*/ f30 1 f23"/>
                  <a:gd name="f37" fmla="+- 0 0 f31"/>
                  <a:gd name="f38" fmla="val f35"/>
                  <a:gd name="f39" fmla="val f36"/>
                  <a:gd name="f40" fmla="+- 0 0 f37"/>
                  <a:gd name="f41" fmla="*/ f16 f34 1"/>
                  <a:gd name="f42" fmla="+- f39 0 f16"/>
                  <a:gd name="f43" fmla="+- f38 0 f16"/>
                  <a:gd name="f44" fmla="*/ f40 f1 1"/>
                  <a:gd name="f45" fmla="*/ f38 f34 1"/>
                  <a:gd name="f46" fmla="*/ f42 1 2"/>
                  <a:gd name="f47" fmla="*/ f43 1 2"/>
                  <a:gd name="f48" fmla="*/ f44 1 f8"/>
                  <a:gd name="f49" fmla="+- f16 f46 0"/>
                  <a:gd name="f50" fmla="+- f16 f47 0"/>
                  <a:gd name="f51" fmla="*/ f47 f9 1"/>
                  <a:gd name="f52" fmla="*/ f46 f9 1"/>
                  <a:gd name="f53" fmla="+- f48 0 f2"/>
                  <a:gd name="f54" fmla="*/ f47 f34 1"/>
                  <a:gd name="f55" fmla="*/ f46 f34 1"/>
                  <a:gd name="f56" fmla="*/ f51 f17 1"/>
                  <a:gd name="f57" fmla="*/ f52 f17 1"/>
                  <a:gd name="f58" fmla="cos 1 f53"/>
                  <a:gd name="f59" fmla="sin 1 f53"/>
                  <a:gd name="f60" fmla="*/ f49 f34 1"/>
                  <a:gd name="f61" fmla="*/ f56 1 100000"/>
                  <a:gd name="f62" fmla="*/ f57 1 100000"/>
                  <a:gd name="f63" fmla="+- 0 0 f58"/>
                  <a:gd name="f64" fmla="+- 0 0 f59"/>
                  <a:gd name="f65" fmla="+- 0 0 f63"/>
                  <a:gd name="f66" fmla="+- 0 0 f64"/>
                  <a:gd name="f67" fmla="*/ f65 f61 1"/>
                  <a:gd name="f68" fmla="*/ f66 f62 1"/>
                  <a:gd name="f69" fmla="*/ f65 f47 1"/>
                  <a:gd name="f70" fmla="*/ f66 f46 1"/>
                  <a:gd name="f71" fmla="+- f50 f67 0"/>
                  <a:gd name="f72" fmla="+- f49 0 f68"/>
                  <a:gd name="f73" fmla="+- f50 0 f69"/>
                  <a:gd name="f74" fmla="+- f50 f69 0"/>
                  <a:gd name="f75" fmla="+- f49 0 f70"/>
                  <a:gd name="f76" fmla="+- f49 f70 0"/>
                  <a:gd name="f77" fmla="+- f50 f71 0"/>
                  <a:gd name="f78" fmla="+- f49 f72 0"/>
                  <a:gd name="f79" fmla="*/ f73 f34 1"/>
                  <a:gd name="f80" fmla="*/ f75 f34 1"/>
                  <a:gd name="f81" fmla="*/ f74 f34 1"/>
                  <a:gd name="f82" fmla="*/ f76 f34 1"/>
                  <a:gd name="f83" fmla="*/ f71 f34 1"/>
                  <a:gd name="f84" fmla="*/ f72 f34 1"/>
                  <a:gd name="f85" fmla="*/ f77 1 2"/>
                  <a:gd name="f86" fmla="*/ f78 1 2"/>
                  <a:gd name="f87" fmla="*/ f85 f34 1"/>
                  <a:gd name="f88" fmla="*/ f86 f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81" y="f82"/>
                  </a:cxn>
                  <a:cxn ang="f32">
                    <a:pos x="f79" y="f82"/>
                  </a:cxn>
                  <a:cxn ang="f33">
                    <a:pos x="f79" y="f80"/>
                  </a:cxn>
                  <a:cxn ang="f33">
                    <a:pos x="f83" y="f84"/>
                  </a:cxn>
                </a:cxnLst>
                <a:rect l="f79" t="f80" r="f81" b="f82"/>
                <a:pathLst>
                  <a:path>
                    <a:moveTo>
                      <a:pt x="f41" y="f60"/>
                    </a:moveTo>
                    <a:arcTo wR="f54" hR="f55" stAng="f1" swAng="f2"/>
                    <a:quadBezTo>
                      <a:pt x="f87" y="f41"/>
                      <a:pt x="f83" y="f84"/>
                    </a:quadBezTo>
                    <a:quadBezTo>
                      <a:pt x="f45" y="f88"/>
                      <a:pt x="f45" y="f60"/>
                    </a:quadBezTo>
                    <a:arcTo wR="f54" hR="f55" stAng="f7" swAng="f1"/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44" name="Shape 5744">
                <a:extLst>
                  <a:ext uri="{FF2B5EF4-FFF2-40B4-BE49-F238E27FC236}">
                    <a16:creationId xmlns:a16="http://schemas.microsoft.com/office/drawing/2014/main" id="{02385763-69A5-DBCD-6009-BDCB08EB316A}"/>
                  </a:ext>
                </a:extLst>
              </p:cNvPr>
              <p:cNvSpPr/>
              <p:nvPr/>
            </p:nvSpPr>
            <p:spPr>
              <a:xfrm>
                <a:off x="9166850" y="5147724"/>
                <a:ext cx="168523" cy="3971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9679"/>
                  <a:gd name="f7" fmla="val 16796"/>
                  <a:gd name="f8" fmla="val 2882"/>
                  <a:gd name="f9" fmla="val 20639"/>
                  <a:gd name="f10" fmla="val 6724"/>
                  <a:gd name="f11" fmla="val 12954"/>
                  <a:gd name="f12" fmla="val -961"/>
                  <a:gd name="f13" fmla="+- 0 0 -90"/>
                  <a:gd name="f14" fmla="+- 0 0 -180"/>
                  <a:gd name="f15" fmla="+- 0 0 -270"/>
                  <a:gd name="f16" fmla="+- 0 0 -360"/>
                  <a:gd name="f17" fmla="*/ f3 1 19679"/>
                  <a:gd name="f18" fmla="*/ f4 1 19679"/>
                  <a:gd name="f19" fmla="val f5"/>
                  <a:gd name="f20" fmla="val f6"/>
                  <a:gd name="f21" fmla="*/ f13 f0 1"/>
                  <a:gd name="f22" fmla="*/ f14 f0 1"/>
                  <a:gd name="f23" fmla="*/ f15 f0 1"/>
                  <a:gd name="f24" fmla="*/ f16 f0 1"/>
                  <a:gd name="f25" fmla="+- f20 0 f19"/>
                  <a:gd name="f26" fmla="*/ f21 1 f2"/>
                  <a:gd name="f27" fmla="*/ f22 1 f2"/>
                  <a:gd name="f28" fmla="*/ f23 1 f2"/>
                  <a:gd name="f29" fmla="*/ f24 1 f2"/>
                  <a:gd name="f30" fmla="*/ f25 1 2"/>
                  <a:gd name="f31" fmla="*/ f25 1 19679"/>
                  <a:gd name="f32" fmla="+- f26 0 f1"/>
                  <a:gd name="f33" fmla="+- f27 0 f1"/>
                  <a:gd name="f34" fmla="+- f28 0 f1"/>
                  <a:gd name="f35" fmla="+- f29 0 f1"/>
                  <a:gd name="f36" fmla="*/ f30 1 f31"/>
                  <a:gd name="f37" fmla="*/ 0 1 f31"/>
                  <a:gd name="f38" fmla="*/ f20 1 f31"/>
                  <a:gd name="f39" fmla="*/ f37 f17 1"/>
                  <a:gd name="f40" fmla="*/ f38 f17 1"/>
                  <a:gd name="f41" fmla="*/ f38 f18 1"/>
                  <a:gd name="f42" fmla="*/ f37 f18 1"/>
                  <a:gd name="f43" fmla="*/ f36 f17 1"/>
                  <a:gd name="f44" fmla="*/ f36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3" y="f44"/>
                  </a:cxn>
                  <a:cxn ang="f33">
                    <a:pos x="f43" y="f44"/>
                  </a:cxn>
                  <a:cxn ang="f34">
                    <a:pos x="f43" y="f44"/>
                  </a:cxn>
                  <a:cxn ang="f35">
                    <a:pos x="f43" y="f44"/>
                  </a:cxn>
                </a:cxnLst>
                <a:rect l="f39" t="f42" r="f40" b="f41"/>
                <a:pathLst>
                  <a:path w="19679" h="19679">
                    <a:moveTo>
                      <a:pt x="f7" y="f8"/>
                    </a:moveTo>
                    <a:cubicBezTo>
                      <a:pt x="f9" y="f10"/>
                      <a:pt x="f9" y="f11"/>
                      <a:pt x="f7" y="f7"/>
                    </a:cubicBezTo>
                    <a:cubicBezTo>
                      <a:pt x="f11" y="f9"/>
                      <a:pt x="f10" y="f9"/>
                      <a:pt x="f8" y="f7"/>
                    </a:cubicBezTo>
                    <a:cubicBezTo>
                      <a:pt x="f12" y="f11"/>
                      <a:pt x="f12" y="f10"/>
                      <a:pt x="f8" y="f8"/>
                    </a:cubicBezTo>
                    <a:cubicBezTo>
                      <a:pt x="f10" y="f12"/>
                      <a:pt x="f11" y="f12"/>
                      <a:pt x="f7" y="f8"/>
                    </a:cubicBezTo>
                    <a:close/>
                  </a:path>
                </a:pathLst>
              </a:custGeom>
              <a:solidFill>
                <a:srgbClr val="FFC000"/>
              </a:solidFill>
              <a:ln cap="flat">
                <a:noFill/>
                <a:prstDash val="solid"/>
              </a:ln>
            </p:spPr>
            <p:txBody>
              <a:bodyPr vert="horz" wrap="square" lIns="0" tIns="0" rIns="0" bIns="0" anchor="ctr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843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41" name="Oval 355">
              <a:extLst>
                <a:ext uri="{FF2B5EF4-FFF2-40B4-BE49-F238E27FC236}">
                  <a16:creationId xmlns:a16="http://schemas.microsoft.com/office/drawing/2014/main" id="{CEA2BE90-4810-CADE-125B-1831A68A7BEF}"/>
                </a:ext>
              </a:extLst>
            </p:cNvPr>
            <p:cNvSpPr/>
            <p:nvPr/>
          </p:nvSpPr>
          <p:spPr>
            <a:xfrm>
              <a:off x="3090943" y="3578821"/>
              <a:ext cx="182880" cy="18288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FFFF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42" name="Rectangle 1341">
              <a:extLst>
                <a:ext uri="{FF2B5EF4-FFF2-40B4-BE49-F238E27FC236}">
                  <a16:creationId xmlns:a16="http://schemas.microsoft.com/office/drawing/2014/main" id="{FA54C967-2996-25C1-7DDA-4557B12BAFB6}"/>
                </a:ext>
              </a:extLst>
            </p:cNvPr>
            <p:cNvSpPr/>
            <p:nvPr/>
          </p:nvSpPr>
          <p:spPr>
            <a:xfrm>
              <a:off x="3152449" y="3996870"/>
              <a:ext cx="790251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sta Rica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B530CE0-E4C9-AE65-5101-A9F7B3A4D582}"/>
                </a:ext>
              </a:extLst>
            </p:cNvPr>
            <p:cNvSpPr txBox="1"/>
            <p:nvPr/>
          </p:nvSpPr>
          <p:spPr>
            <a:xfrm>
              <a:off x="8566561" y="3380264"/>
              <a:ext cx="57208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hanghai</a:t>
              </a:r>
              <a:endPara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Oval 260">
              <a:extLst>
                <a:ext uri="{FF2B5EF4-FFF2-40B4-BE49-F238E27FC236}">
                  <a16:creationId xmlns:a16="http://schemas.microsoft.com/office/drawing/2014/main" id="{6513FE5A-1619-6FE6-0CD1-8815529DFBF0}"/>
                </a:ext>
              </a:extLst>
            </p:cNvPr>
            <p:cNvSpPr/>
            <p:nvPr/>
          </p:nvSpPr>
          <p:spPr>
            <a:xfrm flipH="1" flipV="1">
              <a:off x="8745489" y="353681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Oval 260">
              <a:extLst>
                <a:ext uri="{FF2B5EF4-FFF2-40B4-BE49-F238E27FC236}">
                  <a16:creationId xmlns:a16="http://schemas.microsoft.com/office/drawing/2014/main" id="{D4935A07-33F7-91FB-9158-79EE82256407}"/>
                </a:ext>
              </a:extLst>
            </p:cNvPr>
            <p:cNvSpPr/>
            <p:nvPr/>
          </p:nvSpPr>
          <p:spPr>
            <a:xfrm flipH="1" flipV="1">
              <a:off x="8449893" y="436604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Oval 260">
              <a:extLst>
                <a:ext uri="{FF2B5EF4-FFF2-40B4-BE49-F238E27FC236}">
                  <a16:creationId xmlns:a16="http://schemas.microsoft.com/office/drawing/2014/main" id="{393F9FAA-DF30-29B4-AF63-81085A3C2EA3}"/>
                </a:ext>
              </a:extLst>
            </p:cNvPr>
            <p:cNvSpPr/>
            <p:nvPr/>
          </p:nvSpPr>
          <p:spPr>
            <a:xfrm rot="12369724" flipH="1" flipV="1">
              <a:off x="8926465" y="335815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DF46F1C-6EBC-6191-0B2B-53C4E744A027}"/>
                </a:ext>
              </a:extLst>
            </p:cNvPr>
            <p:cNvSpPr/>
            <p:nvPr/>
          </p:nvSpPr>
          <p:spPr>
            <a:xfrm>
              <a:off x="6639466" y="4805117"/>
              <a:ext cx="789730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rba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72AABF7-8CA8-48BF-0FFE-759EFBD24F65}"/>
                </a:ext>
              </a:extLst>
            </p:cNvPr>
            <p:cNvSpPr/>
            <p:nvPr/>
          </p:nvSpPr>
          <p:spPr>
            <a:xfrm>
              <a:off x="5409989" y="3591488"/>
              <a:ext cx="789730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rocco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52715D9-890E-6C9B-DAAC-0843BDA9762E}"/>
                </a:ext>
              </a:extLst>
            </p:cNvPr>
            <p:cNvSpPr/>
            <p:nvPr/>
          </p:nvSpPr>
          <p:spPr>
            <a:xfrm>
              <a:off x="6921817" y="3773632"/>
              <a:ext cx="58974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bai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9FB583B-70E6-CE4B-0173-CB1E93EED8D7}"/>
                </a:ext>
              </a:extLst>
            </p:cNvPr>
            <p:cNvSpPr/>
            <p:nvPr/>
          </p:nvSpPr>
          <p:spPr>
            <a:xfrm>
              <a:off x="6837982" y="3524779"/>
              <a:ext cx="714834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udi Arabia 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B49B5B-7667-5C0C-365C-72478AF37352}"/>
                </a:ext>
              </a:extLst>
            </p:cNvPr>
            <p:cNvSpPr/>
            <p:nvPr/>
          </p:nvSpPr>
          <p:spPr>
            <a:xfrm>
              <a:off x="6591076" y="3808364"/>
              <a:ext cx="338309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iyadh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D90C772-0793-71D8-EF38-1193795876E7}"/>
                </a:ext>
              </a:extLst>
            </p:cNvPr>
            <p:cNvSpPr/>
            <p:nvPr/>
          </p:nvSpPr>
          <p:spPr>
            <a:xfrm>
              <a:off x="7358320" y="3919132"/>
              <a:ext cx="338309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un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DB7EB38-D342-AD60-CF6C-611D035AF8A3}"/>
                </a:ext>
              </a:extLst>
            </p:cNvPr>
            <p:cNvSpPr/>
            <p:nvPr/>
          </p:nvSpPr>
          <p:spPr>
            <a:xfrm>
              <a:off x="7006623" y="3595195"/>
              <a:ext cx="338309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Qatar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BA76B4-97C5-D7EB-2904-987F6317BFDA}"/>
                </a:ext>
              </a:extLst>
            </p:cNvPr>
            <p:cNvSpPr/>
            <p:nvPr/>
          </p:nvSpPr>
          <p:spPr>
            <a:xfrm>
              <a:off x="5688161" y="2721472"/>
              <a:ext cx="645392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herland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E93549-020E-FB35-20CF-524F4651052E}"/>
                </a:ext>
              </a:extLst>
            </p:cNvPr>
            <p:cNvSpPr/>
            <p:nvPr/>
          </p:nvSpPr>
          <p:spPr>
            <a:xfrm>
              <a:off x="5667947" y="3143258"/>
              <a:ext cx="501923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ranc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744EA7B-34C0-5B41-1FC8-FD26DF7C3B10}"/>
                </a:ext>
              </a:extLst>
            </p:cNvPr>
            <p:cNvSpPr/>
            <p:nvPr/>
          </p:nvSpPr>
          <p:spPr>
            <a:xfrm>
              <a:off x="5425011" y="2380455"/>
              <a:ext cx="822402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orway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62C1715-D775-B45A-B228-E4BACF48D504}"/>
                </a:ext>
              </a:extLst>
            </p:cNvPr>
            <p:cNvSpPr/>
            <p:nvPr/>
          </p:nvSpPr>
          <p:spPr>
            <a:xfrm>
              <a:off x="5315805" y="3215235"/>
              <a:ext cx="501923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ain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76E2C87-C5D8-F060-F847-7B88396B33CC}"/>
                </a:ext>
              </a:extLst>
            </p:cNvPr>
            <p:cNvSpPr/>
            <p:nvPr/>
          </p:nvSpPr>
          <p:spPr>
            <a:xfrm>
              <a:off x="6371250" y="2283057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land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9DB29DB-6024-BB9F-A3E7-09E497C9CC02}"/>
                </a:ext>
              </a:extLst>
            </p:cNvPr>
            <p:cNvSpPr/>
            <p:nvPr/>
          </p:nvSpPr>
          <p:spPr>
            <a:xfrm>
              <a:off x="6390764" y="3018523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mania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Oval 260">
              <a:extLst>
                <a:ext uri="{FF2B5EF4-FFF2-40B4-BE49-F238E27FC236}">
                  <a16:creationId xmlns:a16="http://schemas.microsoft.com/office/drawing/2014/main" id="{1EBBF8A1-A3F9-5124-4105-42F5C841FBBE}"/>
                </a:ext>
              </a:extLst>
            </p:cNvPr>
            <p:cNvSpPr/>
            <p:nvPr/>
          </p:nvSpPr>
          <p:spPr>
            <a:xfrm rot="12369724" flipH="1" flipV="1">
              <a:off x="9220130" y="334229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Oval 260">
              <a:extLst>
                <a:ext uri="{FF2B5EF4-FFF2-40B4-BE49-F238E27FC236}">
                  <a16:creationId xmlns:a16="http://schemas.microsoft.com/office/drawing/2014/main" id="{6C638F62-D3AC-7158-6FD6-AB4E095BEE69}"/>
                </a:ext>
              </a:extLst>
            </p:cNvPr>
            <p:cNvSpPr/>
            <p:nvPr/>
          </p:nvSpPr>
          <p:spPr>
            <a:xfrm rot="12369724" flipH="1" flipV="1">
              <a:off x="8797118" y="398132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Oval 260">
              <a:extLst>
                <a:ext uri="{FF2B5EF4-FFF2-40B4-BE49-F238E27FC236}">
                  <a16:creationId xmlns:a16="http://schemas.microsoft.com/office/drawing/2014/main" id="{859907EE-1807-AF2E-1818-15C195431C78}"/>
                </a:ext>
              </a:extLst>
            </p:cNvPr>
            <p:cNvSpPr/>
            <p:nvPr/>
          </p:nvSpPr>
          <p:spPr>
            <a:xfrm rot="2047354" flipH="1" flipV="1">
              <a:off x="8769896" y="375076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Oval 260">
              <a:extLst>
                <a:ext uri="{FF2B5EF4-FFF2-40B4-BE49-F238E27FC236}">
                  <a16:creationId xmlns:a16="http://schemas.microsoft.com/office/drawing/2014/main" id="{93497436-D6A2-5B91-3658-3B309EDDD03E}"/>
                </a:ext>
              </a:extLst>
            </p:cNvPr>
            <p:cNvSpPr/>
            <p:nvPr/>
          </p:nvSpPr>
          <p:spPr>
            <a:xfrm rot="1002789" flipH="1" flipV="1">
              <a:off x="8333774" y="418713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32CE9D8-EE45-59D7-333A-44530F355DFF}"/>
                </a:ext>
              </a:extLst>
            </p:cNvPr>
            <p:cNvSpPr/>
            <p:nvPr/>
          </p:nvSpPr>
          <p:spPr>
            <a:xfrm>
              <a:off x="8422313" y="4127154"/>
              <a:ext cx="748701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laysia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F04A42C-E69E-E0E7-F851-156532483502}"/>
                </a:ext>
              </a:extLst>
            </p:cNvPr>
            <p:cNvSpPr/>
            <p:nvPr/>
          </p:nvSpPr>
          <p:spPr>
            <a:xfrm>
              <a:off x="7524051" y="3643353"/>
              <a:ext cx="58974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lhi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447718F-7BFE-2FEC-F137-B4B82B2B8F0F}"/>
                </a:ext>
              </a:extLst>
            </p:cNvPr>
            <p:cNvSpPr/>
            <p:nvPr/>
          </p:nvSpPr>
          <p:spPr>
            <a:xfrm>
              <a:off x="7947170" y="3756518"/>
              <a:ext cx="58974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olkata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96F7751-DB2F-43BF-3C2B-0ABB76BE0435}"/>
                </a:ext>
              </a:extLst>
            </p:cNvPr>
            <p:cNvSpPr/>
            <p:nvPr/>
          </p:nvSpPr>
          <p:spPr>
            <a:xfrm>
              <a:off x="8131987" y="3402554"/>
              <a:ext cx="602790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hina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CC6E996-0A2D-2C9D-DA29-B9DC160CD79D}"/>
                </a:ext>
              </a:extLst>
            </p:cNvPr>
            <p:cNvSpPr/>
            <p:nvPr/>
          </p:nvSpPr>
          <p:spPr>
            <a:xfrm>
              <a:off x="8341054" y="3244315"/>
              <a:ext cx="602790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uth Korea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F3E0CC5-1205-4648-B787-DCBDF36B727C}"/>
                </a:ext>
              </a:extLst>
            </p:cNvPr>
            <p:cNvSpPr/>
            <p:nvPr/>
          </p:nvSpPr>
          <p:spPr>
            <a:xfrm>
              <a:off x="3314186" y="4146656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n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Jos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4AD16C6-1F94-6042-BED1-21E6FA2DEA8E}"/>
                </a:ext>
              </a:extLst>
            </p:cNvPr>
            <p:cNvSpPr/>
            <p:nvPr/>
          </p:nvSpPr>
          <p:spPr>
            <a:xfrm>
              <a:off x="1991847" y="2738856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algary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AA50C68-F6EF-7184-A9C8-DCCB0A401110}"/>
                </a:ext>
              </a:extLst>
            </p:cNvPr>
            <p:cNvSpPr/>
            <p:nvPr/>
          </p:nvSpPr>
          <p:spPr>
            <a:xfrm>
              <a:off x="2559155" y="3935293"/>
              <a:ext cx="919785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uauhtémoc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89DBB64-180E-9D50-52DC-93D55427CA3E}"/>
                </a:ext>
              </a:extLst>
            </p:cNvPr>
            <p:cNvSpPr/>
            <p:nvPr/>
          </p:nvSpPr>
          <p:spPr>
            <a:xfrm>
              <a:off x="2346457" y="3834264"/>
              <a:ext cx="919785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iguel Hidalgo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9A0A66B-CE00-383D-8051-23995E43AC69}"/>
                </a:ext>
              </a:extLst>
            </p:cNvPr>
            <p:cNvSpPr/>
            <p:nvPr/>
          </p:nvSpPr>
          <p:spPr>
            <a:xfrm>
              <a:off x="3222029" y="3539155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ainesville</a:t>
              </a:r>
            </a:p>
          </p:txBody>
        </p:sp>
        <p:sp>
          <p:nvSpPr>
            <p:cNvPr id="1353" name="Rectangle 1352">
              <a:extLst>
                <a:ext uri="{FF2B5EF4-FFF2-40B4-BE49-F238E27FC236}">
                  <a16:creationId xmlns:a16="http://schemas.microsoft.com/office/drawing/2014/main" id="{2676AF97-444E-CDDE-1897-ED6DE022D997}"/>
                </a:ext>
              </a:extLst>
            </p:cNvPr>
            <p:cNvSpPr/>
            <p:nvPr/>
          </p:nvSpPr>
          <p:spPr>
            <a:xfrm>
              <a:off x="2655394" y="3362838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ouston</a:t>
              </a:r>
            </a:p>
          </p:txBody>
        </p:sp>
        <p:sp>
          <p:nvSpPr>
            <p:cNvPr id="1371" name="Rectangle 1370">
              <a:extLst>
                <a:ext uri="{FF2B5EF4-FFF2-40B4-BE49-F238E27FC236}">
                  <a16:creationId xmlns:a16="http://schemas.microsoft.com/office/drawing/2014/main" id="{2F32AAAE-3F4D-64A7-1B08-7D40975E31C1}"/>
                </a:ext>
              </a:extLst>
            </p:cNvPr>
            <p:cNvSpPr/>
            <p:nvPr/>
          </p:nvSpPr>
          <p:spPr>
            <a:xfrm>
              <a:off x="1876683" y="3317951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IN" sz="8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BwModelica-Regular"/>
                  <a:ea typeface="+mn-ea"/>
                  <a:cs typeface="+mn-cs"/>
                </a:rPr>
                <a:t>Scottsdale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17" name="Rectangle 1416">
              <a:extLst>
                <a:ext uri="{FF2B5EF4-FFF2-40B4-BE49-F238E27FC236}">
                  <a16:creationId xmlns:a16="http://schemas.microsoft.com/office/drawing/2014/main" id="{7086BB69-13CE-A8F0-4D0A-4E1CF3EA6FA2}"/>
                </a:ext>
              </a:extLst>
            </p:cNvPr>
            <p:cNvSpPr/>
            <p:nvPr/>
          </p:nvSpPr>
          <p:spPr>
            <a:xfrm>
              <a:off x="3070625" y="3667188"/>
              <a:ext cx="73405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2C2C2C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ampa</a:t>
              </a:r>
            </a:p>
          </p:txBody>
        </p:sp>
        <p:sp>
          <p:nvSpPr>
            <p:cNvPr id="1419" name="Rectangle 1418">
              <a:extLst>
                <a:ext uri="{FF2B5EF4-FFF2-40B4-BE49-F238E27FC236}">
                  <a16:creationId xmlns:a16="http://schemas.microsoft.com/office/drawing/2014/main" id="{5890C77B-49CE-0FB0-08EA-76AFDC38D701}"/>
                </a:ext>
              </a:extLst>
            </p:cNvPr>
            <p:cNvSpPr/>
            <p:nvPr/>
          </p:nvSpPr>
          <p:spPr>
            <a:xfrm>
              <a:off x="9473730" y="5277131"/>
              <a:ext cx="536131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elbourne</a:t>
              </a:r>
            </a:p>
          </p:txBody>
        </p:sp>
        <p:sp>
          <p:nvSpPr>
            <p:cNvPr id="1420" name="Oval 260">
              <a:extLst>
                <a:ext uri="{FF2B5EF4-FFF2-40B4-BE49-F238E27FC236}">
                  <a16:creationId xmlns:a16="http://schemas.microsoft.com/office/drawing/2014/main" id="{FE730D76-9A03-FFBC-563E-BCD62C70EE46}"/>
                </a:ext>
              </a:extLst>
            </p:cNvPr>
            <p:cNvSpPr/>
            <p:nvPr/>
          </p:nvSpPr>
          <p:spPr>
            <a:xfrm rot="12369724" flipH="1" flipV="1">
              <a:off x="9144045" y="342646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1" name="TextBox 1420">
              <a:extLst>
                <a:ext uri="{FF2B5EF4-FFF2-40B4-BE49-F238E27FC236}">
                  <a16:creationId xmlns:a16="http://schemas.microsoft.com/office/drawing/2014/main" id="{379374C0-3529-4E88-4D33-74108F3E459F}"/>
                </a:ext>
              </a:extLst>
            </p:cNvPr>
            <p:cNvSpPr txBox="1"/>
            <p:nvPr/>
          </p:nvSpPr>
          <p:spPr>
            <a:xfrm>
              <a:off x="9128797" y="3372605"/>
              <a:ext cx="51847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kyo</a:t>
              </a:r>
              <a:endPara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2" name="Oval 260">
              <a:extLst>
                <a:ext uri="{FF2B5EF4-FFF2-40B4-BE49-F238E27FC236}">
                  <a16:creationId xmlns:a16="http://schemas.microsoft.com/office/drawing/2014/main" id="{737D02FD-BD1C-07C8-3439-AA0C50C462AE}"/>
                </a:ext>
              </a:extLst>
            </p:cNvPr>
            <p:cNvSpPr/>
            <p:nvPr/>
          </p:nvSpPr>
          <p:spPr>
            <a:xfrm rot="2874651" flipH="1" flipV="1">
              <a:off x="8765700" y="369499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3" name="TextBox 1422">
              <a:extLst>
                <a:ext uri="{FF2B5EF4-FFF2-40B4-BE49-F238E27FC236}">
                  <a16:creationId xmlns:a16="http://schemas.microsoft.com/office/drawing/2014/main" id="{9A09C5F8-A382-0926-F412-19086364D866}"/>
                </a:ext>
              </a:extLst>
            </p:cNvPr>
            <p:cNvSpPr txBox="1"/>
            <p:nvPr/>
          </p:nvSpPr>
          <p:spPr>
            <a:xfrm>
              <a:off x="8757328" y="3668066"/>
              <a:ext cx="46532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aipei</a:t>
              </a:r>
              <a:endPara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6" name="Rectangle 1425">
              <a:extLst>
                <a:ext uri="{FF2B5EF4-FFF2-40B4-BE49-F238E27FC236}">
                  <a16:creationId xmlns:a16="http://schemas.microsoft.com/office/drawing/2014/main" id="{F1454C3C-DE70-8395-D534-8DBF89086AD2}"/>
                </a:ext>
              </a:extLst>
            </p:cNvPr>
            <p:cNvSpPr/>
            <p:nvPr/>
          </p:nvSpPr>
          <p:spPr>
            <a:xfrm>
              <a:off x="8880604" y="4030527"/>
              <a:ext cx="748701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kati City</a:t>
              </a:r>
            </a:p>
          </p:txBody>
        </p:sp>
        <p:sp>
          <p:nvSpPr>
            <p:cNvPr id="1427" name="Oval 260">
              <a:extLst>
                <a:ext uri="{FF2B5EF4-FFF2-40B4-BE49-F238E27FC236}">
                  <a16:creationId xmlns:a16="http://schemas.microsoft.com/office/drawing/2014/main" id="{02BB404D-0C64-E8E4-3981-C886B56CA404}"/>
                </a:ext>
              </a:extLst>
            </p:cNvPr>
            <p:cNvSpPr/>
            <p:nvPr/>
          </p:nvSpPr>
          <p:spPr>
            <a:xfrm rot="12369724" flipH="1" flipV="1">
              <a:off x="8807368" y="404476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8" name="Rectangle 1427">
              <a:extLst>
                <a:ext uri="{FF2B5EF4-FFF2-40B4-BE49-F238E27FC236}">
                  <a16:creationId xmlns:a16="http://schemas.microsoft.com/office/drawing/2014/main" id="{941AB8B8-D285-B546-D31C-9261675615AC}"/>
                </a:ext>
              </a:extLst>
            </p:cNvPr>
            <p:cNvSpPr/>
            <p:nvPr/>
          </p:nvSpPr>
          <p:spPr>
            <a:xfrm>
              <a:off x="8434689" y="4205482"/>
              <a:ext cx="748701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uala Lumpur</a:t>
              </a:r>
            </a:p>
          </p:txBody>
        </p:sp>
        <p:sp>
          <p:nvSpPr>
            <p:cNvPr id="1429" name="Oval 260">
              <a:extLst>
                <a:ext uri="{FF2B5EF4-FFF2-40B4-BE49-F238E27FC236}">
                  <a16:creationId xmlns:a16="http://schemas.microsoft.com/office/drawing/2014/main" id="{07942A73-3F43-3CD3-FBCB-565809C3B3AC}"/>
                </a:ext>
              </a:extLst>
            </p:cNvPr>
            <p:cNvSpPr/>
            <p:nvPr/>
          </p:nvSpPr>
          <p:spPr>
            <a:xfrm rot="12369724" flipH="1" flipV="1">
              <a:off x="8373626" y="424123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30" name="Oval 260">
              <a:extLst>
                <a:ext uri="{FF2B5EF4-FFF2-40B4-BE49-F238E27FC236}">
                  <a16:creationId xmlns:a16="http://schemas.microsoft.com/office/drawing/2014/main" id="{3E422225-BCB3-F5A7-1CA9-5D1A20AF2169}"/>
                </a:ext>
              </a:extLst>
            </p:cNvPr>
            <p:cNvSpPr/>
            <p:nvPr/>
          </p:nvSpPr>
          <p:spPr>
            <a:xfrm flipH="1" flipV="1">
              <a:off x="8383605" y="3452774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32" name="Rectangle 1431">
              <a:extLst>
                <a:ext uri="{FF2B5EF4-FFF2-40B4-BE49-F238E27FC236}">
                  <a16:creationId xmlns:a16="http://schemas.microsoft.com/office/drawing/2014/main" id="{4D0057BC-392F-72E5-AC6B-1D81EC2AE089}"/>
                </a:ext>
              </a:extLst>
            </p:cNvPr>
            <p:cNvSpPr/>
            <p:nvPr/>
          </p:nvSpPr>
          <p:spPr>
            <a:xfrm>
              <a:off x="7123071" y="3690627"/>
              <a:ext cx="714834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AE</a:t>
              </a:r>
            </a:p>
          </p:txBody>
        </p:sp>
        <p:sp>
          <p:nvSpPr>
            <p:cNvPr id="1434" name="Rectangle 1433">
              <a:extLst>
                <a:ext uri="{FF2B5EF4-FFF2-40B4-BE49-F238E27FC236}">
                  <a16:creationId xmlns:a16="http://schemas.microsoft.com/office/drawing/2014/main" id="{318343ED-5D6E-54A8-8086-FC6B3E20D2AD}"/>
                </a:ext>
              </a:extLst>
            </p:cNvPr>
            <p:cNvSpPr/>
            <p:nvPr/>
          </p:nvSpPr>
          <p:spPr>
            <a:xfrm>
              <a:off x="4806637" y="3663278"/>
              <a:ext cx="789730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asablanca</a:t>
              </a:r>
            </a:p>
          </p:txBody>
        </p:sp>
        <p:sp>
          <p:nvSpPr>
            <p:cNvPr id="1438" name="Rectangle 1437">
              <a:extLst>
                <a:ext uri="{FF2B5EF4-FFF2-40B4-BE49-F238E27FC236}">
                  <a16:creationId xmlns:a16="http://schemas.microsoft.com/office/drawing/2014/main" id="{9DCF5278-8DAF-23F7-02C1-0E5E61CC15C8}"/>
                </a:ext>
              </a:extLst>
            </p:cNvPr>
            <p:cNvSpPr/>
            <p:nvPr/>
          </p:nvSpPr>
          <p:spPr>
            <a:xfrm>
              <a:off x="6340229" y="3285191"/>
              <a:ext cx="822402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yprus</a:t>
              </a:r>
            </a:p>
          </p:txBody>
        </p:sp>
        <p:sp>
          <p:nvSpPr>
            <p:cNvPr id="1441" name="Oval 256">
              <a:extLst>
                <a:ext uri="{FF2B5EF4-FFF2-40B4-BE49-F238E27FC236}">
                  <a16:creationId xmlns:a16="http://schemas.microsoft.com/office/drawing/2014/main" id="{D177F534-849E-0968-27A2-EE060565AC3B}"/>
                </a:ext>
              </a:extLst>
            </p:cNvPr>
            <p:cNvSpPr/>
            <p:nvPr/>
          </p:nvSpPr>
          <p:spPr>
            <a:xfrm>
              <a:off x="8899645" y="3279043"/>
              <a:ext cx="60447" cy="54835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000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2" name="Oval 260">
              <a:extLst>
                <a:ext uri="{FF2B5EF4-FFF2-40B4-BE49-F238E27FC236}">
                  <a16:creationId xmlns:a16="http://schemas.microsoft.com/office/drawing/2014/main" id="{86CB87A5-FCCD-B6D4-4702-CD9447C34F73}"/>
                </a:ext>
              </a:extLst>
            </p:cNvPr>
            <p:cNvSpPr/>
            <p:nvPr/>
          </p:nvSpPr>
          <p:spPr>
            <a:xfrm rot="12369724" flipH="1" flipV="1">
              <a:off x="3450848" y="368473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3" name="Oval 260">
              <a:extLst>
                <a:ext uri="{FF2B5EF4-FFF2-40B4-BE49-F238E27FC236}">
                  <a16:creationId xmlns:a16="http://schemas.microsoft.com/office/drawing/2014/main" id="{7674D32F-C056-7566-7CD7-845FB2DC26AE}"/>
                </a:ext>
              </a:extLst>
            </p:cNvPr>
            <p:cNvSpPr/>
            <p:nvPr/>
          </p:nvSpPr>
          <p:spPr>
            <a:xfrm rot="12369724" flipH="1" flipV="1">
              <a:off x="2624570" y="344131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4" name="Oval 260">
              <a:extLst>
                <a:ext uri="{FF2B5EF4-FFF2-40B4-BE49-F238E27FC236}">
                  <a16:creationId xmlns:a16="http://schemas.microsoft.com/office/drawing/2014/main" id="{23616B5E-AB1B-BC86-C045-90278AD5A6D5}"/>
                </a:ext>
              </a:extLst>
            </p:cNvPr>
            <p:cNvSpPr/>
            <p:nvPr/>
          </p:nvSpPr>
          <p:spPr>
            <a:xfrm rot="12369724" flipH="1" flipV="1">
              <a:off x="2636881" y="334470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5" name="Oval 260">
              <a:extLst>
                <a:ext uri="{FF2B5EF4-FFF2-40B4-BE49-F238E27FC236}">
                  <a16:creationId xmlns:a16="http://schemas.microsoft.com/office/drawing/2014/main" id="{463554CB-F925-4C20-E76F-BF78C8F7A5DD}"/>
                </a:ext>
              </a:extLst>
            </p:cNvPr>
            <p:cNvSpPr/>
            <p:nvPr/>
          </p:nvSpPr>
          <p:spPr>
            <a:xfrm rot="12369724" flipH="1" flipV="1">
              <a:off x="3403912" y="293360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6" name="Oval 260">
              <a:extLst>
                <a:ext uri="{FF2B5EF4-FFF2-40B4-BE49-F238E27FC236}">
                  <a16:creationId xmlns:a16="http://schemas.microsoft.com/office/drawing/2014/main" id="{161447A8-202F-CCDF-32F1-02E69A94E916}"/>
                </a:ext>
              </a:extLst>
            </p:cNvPr>
            <p:cNvSpPr/>
            <p:nvPr/>
          </p:nvSpPr>
          <p:spPr>
            <a:xfrm rot="12369724" flipH="1" flipV="1">
              <a:off x="2392091" y="315652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7" name="Oval 260">
              <a:extLst>
                <a:ext uri="{FF2B5EF4-FFF2-40B4-BE49-F238E27FC236}">
                  <a16:creationId xmlns:a16="http://schemas.microsoft.com/office/drawing/2014/main" id="{2CF2981B-62FB-1AA7-695D-9BF7DE1A0B43}"/>
                </a:ext>
              </a:extLst>
            </p:cNvPr>
            <p:cNvSpPr/>
            <p:nvPr/>
          </p:nvSpPr>
          <p:spPr>
            <a:xfrm rot="12369724" flipH="1" flipV="1">
              <a:off x="2412263" y="303754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8" name="Oval 260">
              <a:extLst>
                <a:ext uri="{FF2B5EF4-FFF2-40B4-BE49-F238E27FC236}">
                  <a16:creationId xmlns:a16="http://schemas.microsoft.com/office/drawing/2014/main" id="{A3B00F11-D0AF-9B94-3C58-017C42DB8918}"/>
                </a:ext>
              </a:extLst>
            </p:cNvPr>
            <p:cNvSpPr/>
            <p:nvPr/>
          </p:nvSpPr>
          <p:spPr>
            <a:xfrm rot="12369724" flipH="1" flipV="1">
              <a:off x="3040565" y="351483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9" name="Oval 260">
              <a:extLst>
                <a:ext uri="{FF2B5EF4-FFF2-40B4-BE49-F238E27FC236}">
                  <a16:creationId xmlns:a16="http://schemas.microsoft.com/office/drawing/2014/main" id="{3B79CBAB-5175-3EEA-4790-E1C9359F6C25}"/>
                </a:ext>
              </a:extLst>
            </p:cNvPr>
            <p:cNvSpPr/>
            <p:nvPr/>
          </p:nvSpPr>
          <p:spPr>
            <a:xfrm rot="12369724" flipH="1" flipV="1">
              <a:off x="2544112" y="287628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0" name="Oval 260">
              <a:extLst>
                <a:ext uri="{FF2B5EF4-FFF2-40B4-BE49-F238E27FC236}">
                  <a16:creationId xmlns:a16="http://schemas.microsoft.com/office/drawing/2014/main" id="{A1737B1E-2635-09A6-60AA-2B360D885961}"/>
                </a:ext>
              </a:extLst>
            </p:cNvPr>
            <p:cNvSpPr/>
            <p:nvPr/>
          </p:nvSpPr>
          <p:spPr>
            <a:xfrm rot="12369724" flipH="1" flipV="1">
              <a:off x="3222513" y="3479138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1" name="Oval 260">
              <a:extLst>
                <a:ext uri="{FF2B5EF4-FFF2-40B4-BE49-F238E27FC236}">
                  <a16:creationId xmlns:a16="http://schemas.microsoft.com/office/drawing/2014/main" id="{7D93B523-754D-F308-4465-64297EE7A965}"/>
                </a:ext>
              </a:extLst>
            </p:cNvPr>
            <p:cNvSpPr/>
            <p:nvPr/>
          </p:nvSpPr>
          <p:spPr>
            <a:xfrm rot="12369724" flipH="1" flipV="1">
              <a:off x="3269990" y="3306894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2" name="Oval 260">
              <a:extLst>
                <a:ext uri="{FF2B5EF4-FFF2-40B4-BE49-F238E27FC236}">
                  <a16:creationId xmlns:a16="http://schemas.microsoft.com/office/drawing/2014/main" id="{F722F42F-CC27-D6C1-223F-9EDEF1C4B9F2}"/>
                </a:ext>
              </a:extLst>
            </p:cNvPr>
            <p:cNvSpPr/>
            <p:nvPr/>
          </p:nvSpPr>
          <p:spPr>
            <a:xfrm rot="12369724" flipH="1" flipV="1">
              <a:off x="3217832" y="3180544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3" name="Oval 260">
              <a:extLst>
                <a:ext uri="{FF2B5EF4-FFF2-40B4-BE49-F238E27FC236}">
                  <a16:creationId xmlns:a16="http://schemas.microsoft.com/office/drawing/2014/main" id="{9308E6FA-42A5-3278-8C30-06BF0F48D75B}"/>
                </a:ext>
              </a:extLst>
            </p:cNvPr>
            <p:cNvSpPr/>
            <p:nvPr/>
          </p:nvSpPr>
          <p:spPr>
            <a:xfrm rot="12369724" flipH="1" flipV="1">
              <a:off x="3678956" y="3210443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4" name="Oval 260">
              <a:extLst>
                <a:ext uri="{FF2B5EF4-FFF2-40B4-BE49-F238E27FC236}">
                  <a16:creationId xmlns:a16="http://schemas.microsoft.com/office/drawing/2014/main" id="{3B4E0835-FD8F-09D0-F1AD-051EAC7E2E7B}"/>
                </a:ext>
              </a:extLst>
            </p:cNvPr>
            <p:cNvSpPr/>
            <p:nvPr/>
          </p:nvSpPr>
          <p:spPr>
            <a:xfrm rot="12369724" flipH="1" flipV="1">
              <a:off x="3924074" y="309829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5" name="Oval 260">
              <a:extLst>
                <a:ext uri="{FF2B5EF4-FFF2-40B4-BE49-F238E27FC236}">
                  <a16:creationId xmlns:a16="http://schemas.microsoft.com/office/drawing/2014/main" id="{0884D89D-1C44-A4C2-B592-480E9197352E}"/>
                </a:ext>
              </a:extLst>
            </p:cNvPr>
            <p:cNvSpPr/>
            <p:nvPr/>
          </p:nvSpPr>
          <p:spPr>
            <a:xfrm rot="12369724" flipH="1" flipV="1">
              <a:off x="6022100" y="265721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6" name="Oval 260">
              <a:extLst>
                <a:ext uri="{FF2B5EF4-FFF2-40B4-BE49-F238E27FC236}">
                  <a16:creationId xmlns:a16="http://schemas.microsoft.com/office/drawing/2014/main" id="{5DB12215-FD86-232E-1311-C23A7A987DB7}"/>
                </a:ext>
              </a:extLst>
            </p:cNvPr>
            <p:cNvSpPr/>
            <p:nvPr/>
          </p:nvSpPr>
          <p:spPr>
            <a:xfrm rot="12369724" flipH="1" flipV="1">
              <a:off x="3079654" y="393090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7" name="Oval 260">
              <a:extLst>
                <a:ext uri="{FF2B5EF4-FFF2-40B4-BE49-F238E27FC236}">
                  <a16:creationId xmlns:a16="http://schemas.microsoft.com/office/drawing/2014/main" id="{68228BFD-FBE8-256E-753F-86A3BFE183C5}"/>
                </a:ext>
              </a:extLst>
            </p:cNvPr>
            <p:cNvSpPr/>
            <p:nvPr/>
          </p:nvSpPr>
          <p:spPr>
            <a:xfrm rot="12369724" flipH="1" flipV="1">
              <a:off x="3440137" y="357483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8" name="Oval 260">
              <a:extLst>
                <a:ext uri="{FF2B5EF4-FFF2-40B4-BE49-F238E27FC236}">
                  <a16:creationId xmlns:a16="http://schemas.microsoft.com/office/drawing/2014/main" id="{BA7DB9FC-6A17-D730-9698-405AFB6849DF}"/>
                </a:ext>
              </a:extLst>
            </p:cNvPr>
            <p:cNvSpPr/>
            <p:nvPr/>
          </p:nvSpPr>
          <p:spPr>
            <a:xfrm rot="12369724" flipH="1" flipV="1">
              <a:off x="3466443" y="344571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9" name="Oval 260">
              <a:extLst>
                <a:ext uri="{FF2B5EF4-FFF2-40B4-BE49-F238E27FC236}">
                  <a16:creationId xmlns:a16="http://schemas.microsoft.com/office/drawing/2014/main" id="{A4FA05AA-C78E-FBA0-BE2E-C495083F23F3}"/>
                </a:ext>
              </a:extLst>
            </p:cNvPr>
            <p:cNvSpPr/>
            <p:nvPr/>
          </p:nvSpPr>
          <p:spPr>
            <a:xfrm rot="12369724" flipH="1" flipV="1">
              <a:off x="5564034" y="3261163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0" name="Oval 260">
              <a:extLst>
                <a:ext uri="{FF2B5EF4-FFF2-40B4-BE49-F238E27FC236}">
                  <a16:creationId xmlns:a16="http://schemas.microsoft.com/office/drawing/2014/main" id="{041BC99B-2F8A-D98B-9260-A4147C8C52B5}"/>
                </a:ext>
              </a:extLst>
            </p:cNvPr>
            <p:cNvSpPr/>
            <p:nvPr/>
          </p:nvSpPr>
          <p:spPr>
            <a:xfrm rot="12369724" flipH="1" flipV="1">
              <a:off x="3445614" y="412440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1" name="Oval 260">
              <a:extLst>
                <a:ext uri="{FF2B5EF4-FFF2-40B4-BE49-F238E27FC236}">
                  <a16:creationId xmlns:a16="http://schemas.microsoft.com/office/drawing/2014/main" id="{33867793-AC8B-DFDD-9CF7-B3CFF9BD48BD}"/>
                </a:ext>
              </a:extLst>
            </p:cNvPr>
            <p:cNvSpPr/>
            <p:nvPr/>
          </p:nvSpPr>
          <p:spPr>
            <a:xfrm rot="12369724" flipH="1" flipV="1">
              <a:off x="3415519" y="4048003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2" name="Oval 260">
              <a:extLst>
                <a:ext uri="{FF2B5EF4-FFF2-40B4-BE49-F238E27FC236}">
                  <a16:creationId xmlns:a16="http://schemas.microsoft.com/office/drawing/2014/main" id="{42227633-2B55-8B11-7B14-98404745908B}"/>
                </a:ext>
              </a:extLst>
            </p:cNvPr>
            <p:cNvSpPr/>
            <p:nvPr/>
          </p:nvSpPr>
          <p:spPr>
            <a:xfrm rot="12369724" flipH="1" flipV="1">
              <a:off x="2980424" y="3866203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3" name="Oval 260">
              <a:extLst>
                <a:ext uri="{FF2B5EF4-FFF2-40B4-BE49-F238E27FC236}">
                  <a16:creationId xmlns:a16="http://schemas.microsoft.com/office/drawing/2014/main" id="{69B6C3D2-B5F6-8D93-E02D-F56E65ABFC6F}"/>
                </a:ext>
              </a:extLst>
            </p:cNvPr>
            <p:cNvSpPr/>
            <p:nvPr/>
          </p:nvSpPr>
          <p:spPr>
            <a:xfrm rot="12369724" flipH="1" flipV="1">
              <a:off x="5347688" y="365495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4" name="Oval 260">
              <a:extLst>
                <a:ext uri="{FF2B5EF4-FFF2-40B4-BE49-F238E27FC236}">
                  <a16:creationId xmlns:a16="http://schemas.microsoft.com/office/drawing/2014/main" id="{D8E2D8E1-3156-D849-D021-AEAE190EC7F4}"/>
                </a:ext>
              </a:extLst>
            </p:cNvPr>
            <p:cNvSpPr/>
            <p:nvPr/>
          </p:nvSpPr>
          <p:spPr>
            <a:xfrm rot="12369724" flipH="1" flipV="1">
              <a:off x="5545127" y="268409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5" name="Oval 260">
              <a:extLst>
                <a:ext uri="{FF2B5EF4-FFF2-40B4-BE49-F238E27FC236}">
                  <a16:creationId xmlns:a16="http://schemas.microsoft.com/office/drawing/2014/main" id="{0FF04BB6-8A71-871F-20DE-23623A0E2CEA}"/>
                </a:ext>
              </a:extLst>
            </p:cNvPr>
            <p:cNvSpPr/>
            <p:nvPr/>
          </p:nvSpPr>
          <p:spPr>
            <a:xfrm rot="12369724" flipH="1" flipV="1">
              <a:off x="5411035" y="283577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6" name="Oval 260">
              <a:extLst>
                <a:ext uri="{FF2B5EF4-FFF2-40B4-BE49-F238E27FC236}">
                  <a16:creationId xmlns:a16="http://schemas.microsoft.com/office/drawing/2014/main" id="{48B16C22-9D4E-CEC6-DE26-3431479BEBF9}"/>
                </a:ext>
              </a:extLst>
            </p:cNvPr>
            <p:cNvSpPr/>
            <p:nvPr/>
          </p:nvSpPr>
          <p:spPr>
            <a:xfrm rot="12369724" flipH="1" flipV="1">
              <a:off x="5291139" y="371207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7" name="Oval 260">
              <a:extLst>
                <a:ext uri="{FF2B5EF4-FFF2-40B4-BE49-F238E27FC236}">
                  <a16:creationId xmlns:a16="http://schemas.microsoft.com/office/drawing/2014/main" id="{37333522-BAC6-8D3A-9530-DD6272B85603}"/>
                </a:ext>
              </a:extLst>
            </p:cNvPr>
            <p:cNvSpPr/>
            <p:nvPr/>
          </p:nvSpPr>
          <p:spPr>
            <a:xfrm rot="12369724" flipH="1" flipV="1">
              <a:off x="5883921" y="283676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8" name="Oval 260">
              <a:extLst>
                <a:ext uri="{FF2B5EF4-FFF2-40B4-BE49-F238E27FC236}">
                  <a16:creationId xmlns:a16="http://schemas.microsoft.com/office/drawing/2014/main" id="{30C65FBE-D3DC-332D-D445-5060AA1882E9}"/>
                </a:ext>
              </a:extLst>
            </p:cNvPr>
            <p:cNvSpPr/>
            <p:nvPr/>
          </p:nvSpPr>
          <p:spPr>
            <a:xfrm rot="12369724" flipH="1" flipV="1">
              <a:off x="6089225" y="250653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9" name="Oval 260">
              <a:extLst>
                <a:ext uri="{FF2B5EF4-FFF2-40B4-BE49-F238E27FC236}">
                  <a16:creationId xmlns:a16="http://schemas.microsoft.com/office/drawing/2014/main" id="{5E529010-89A1-13AF-158C-B99A48177A05}"/>
                </a:ext>
              </a:extLst>
            </p:cNvPr>
            <p:cNvSpPr/>
            <p:nvPr/>
          </p:nvSpPr>
          <p:spPr>
            <a:xfrm rot="12369724" flipH="1" flipV="1">
              <a:off x="5955846" y="293495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0" name="Oval 260">
              <a:extLst>
                <a:ext uri="{FF2B5EF4-FFF2-40B4-BE49-F238E27FC236}">
                  <a16:creationId xmlns:a16="http://schemas.microsoft.com/office/drawing/2014/main" id="{5315BAE9-CE10-B162-0D68-882D0D9B03B3}"/>
                </a:ext>
              </a:extLst>
            </p:cNvPr>
            <p:cNvSpPr/>
            <p:nvPr/>
          </p:nvSpPr>
          <p:spPr>
            <a:xfrm rot="12369724" flipH="1" flipV="1">
              <a:off x="5809243" y="3122448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1" name="Oval 260">
              <a:extLst>
                <a:ext uri="{FF2B5EF4-FFF2-40B4-BE49-F238E27FC236}">
                  <a16:creationId xmlns:a16="http://schemas.microsoft.com/office/drawing/2014/main" id="{B44D63ED-87CE-1779-38C8-AE01494D15C9}"/>
                </a:ext>
              </a:extLst>
            </p:cNvPr>
            <p:cNvSpPr/>
            <p:nvPr/>
          </p:nvSpPr>
          <p:spPr>
            <a:xfrm rot="12369724" flipH="1" flipV="1">
              <a:off x="5807273" y="289502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4" name="Oval 260">
              <a:extLst>
                <a:ext uri="{FF2B5EF4-FFF2-40B4-BE49-F238E27FC236}">
                  <a16:creationId xmlns:a16="http://schemas.microsoft.com/office/drawing/2014/main" id="{48C19C02-E4BD-F067-26F7-51770ECB139E}"/>
                </a:ext>
              </a:extLst>
            </p:cNvPr>
            <p:cNvSpPr/>
            <p:nvPr/>
          </p:nvSpPr>
          <p:spPr>
            <a:xfrm rot="12369724" flipH="1" flipV="1">
              <a:off x="6293174" y="2320556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5" name="Oval 260">
              <a:extLst>
                <a:ext uri="{FF2B5EF4-FFF2-40B4-BE49-F238E27FC236}">
                  <a16:creationId xmlns:a16="http://schemas.microsoft.com/office/drawing/2014/main" id="{5D33AC70-2A84-F6D7-D3D9-51BFB53D8EA6}"/>
                </a:ext>
              </a:extLst>
            </p:cNvPr>
            <p:cNvSpPr/>
            <p:nvPr/>
          </p:nvSpPr>
          <p:spPr>
            <a:xfrm rot="12369724" flipH="1" flipV="1">
              <a:off x="5817666" y="244028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6" name="Oval 260">
              <a:extLst>
                <a:ext uri="{FF2B5EF4-FFF2-40B4-BE49-F238E27FC236}">
                  <a16:creationId xmlns:a16="http://schemas.microsoft.com/office/drawing/2014/main" id="{95B31632-E3DE-3869-ADDB-7D0895E57AD6}"/>
                </a:ext>
              </a:extLst>
            </p:cNvPr>
            <p:cNvSpPr/>
            <p:nvPr/>
          </p:nvSpPr>
          <p:spPr>
            <a:xfrm rot="12369724" flipH="1" flipV="1">
              <a:off x="6484058" y="340759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7" name="Oval 260">
              <a:extLst>
                <a:ext uri="{FF2B5EF4-FFF2-40B4-BE49-F238E27FC236}">
                  <a16:creationId xmlns:a16="http://schemas.microsoft.com/office/drawing/2014/main" id="{B94E08E8-B86D-8B9C-B0A7-C43C1B8BFD71}"/>
                </a:ext>
              </a:extLst>
            </p:cNvPr>
            <p:cNvSpPr/>
            <p:nvPr/>
          </p:nvSpPr>
          <p:spPr>
            <a:xfrm rot="12369724" flipH="1" flipV="1">
              <a:off x="6208043" y="280098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8" name="Oval 260">
              <a:extLst>
                <a:ext uri="{FF2B5EF4-FFF2-40B4-BE49-F238E27FC236}">
                  <a16:creationId xmlns:a16="http://schemas.microsoft.com/office/drawing/2014/main" id="{4D2CBC35-9803-510E-D5CC-C139D8D233E3}"/>
                </a:ext>
              </a:extLst>
            </p:cNvPr>
            <p:cNvSpPr/>
            <p:nvPr/>
          </p:nvSpPr>
          <p:spPr>
            <a:xfrm rot="12369724" flipH="1" flipV="1">
              <a:off x="6318761" y="306294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9" name="Oval 260">
              <a:extLst>
                <a:ext uri="{FF2B5EF4-FFF2-40B4-BE49-F238E27FC236}">
                  <a16:creationId xmlns:a16="http://schemas.microsoft.com/office/drawing/2014/main" id="{A7BB7A8D-6191-9636-7EE0-590C4730F261}"/>
                </a:ext>
              </a:extLst>
            </p:cNvPr>
            <p:cNvSpPr/>
            <p:nvPr/>
          </p:nvSpPr>
          <p:spPr>
            <a:xfrm rot="12369724" flipH="1" flipV="1">
              <a:off x="6834371" y="363810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0" name="Oval 260">
              <a:extLst>
                <a:ext uri="{FF2B5EF4-FFF2-40B4-BE49-F238E27FC236}">
                  <a16:creationId xmlns:a16="http://schemas.microsoft.com/office/drawing/2014/main" id="{9A8A62EB-6377-1AA6-10E6-51AF417A0326}"/>
                </a:ext>
              </a:extLst>
            </p:cNvPr>
            <p:cNvSpPr/>
            <p:nvPr/>
          </p:nvSpPr>
          <p:spPr>
            <a:xfrm rot="12369724" flipH="1" flipV="1">
              <a:off x="7060957" y="370875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1" name="Oval 260">
              <a:extLst>
                <a:ext uri="{FF2B5EF4-FFF2-40B4-BE49-F238E27FC236}">
                  <a16:creationId xmlns:a16="http://schemas.microsoft.com/office/drawing/2014/main" id="{3C698890-FEFA-BFDA-1ED7-F7D6F829F2A0}"/>
                </a:ext>
              </a:extLst>
            </p:cNvPr>
            <p:cNvSpPr/>
            <p:nvPr/>
          </p:nvSpPr>
          <p:spPr>
            <a:xfrm rot="12369724" flipH="1" flipV="1">
              <a:off x="6835319" y="377858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2" name="Oval 260">
              <a:extLst>
                <a:ext uri="{FF2B5EF4-FFF2-40B4-BE49-F238E27FC236}">
                  <a16:creationId xmlns:a16="http://schemas.microsoft.com/office/drawing/2014/main" id="{6B410B1D-3978-AF39-DE6F-71B4D89C0662}"/>
                </a:ext>
              </a:extLst>
            </p:cNvPr>
            <p:cNvSpPr/>
            <p:nvPr/>
          </p:nvSpPr>
          <p:spPr>
            <a:xfrm rot="12369724" flipH="1" flipV="1">
              <a:off x="6998416" y="3737848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3" name="Oval 260">
              <a:extLst>
                <a:ext uri="{FF2B5EF4-FFF2-40B4-BE49-F238E27FC236}">
                  <a16:creationId xmlns:a16="http://schemas.microsoft.com/office/drawing/2014/main" id="{27FBB925-7983-124E-2A0A-EB48A5D0E9C5}"/>
                </a:ext>
              </a:extLst>
            </p:cNvPr>
            <p:cNvSpPr/>
            <p:nvPr/>
          </p:nvSpPr>
          <p:spPr>
            <a:xfrm rot="12369724" flipH="1" flipV="1">
              <a:off x="7729216" y="396203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4" name="Oval 260">
              <a:extLst>
                <a:ext uri="{FF2B5EF4-FFF2-40B4-BE49-F238E27FC236}">
                  <a16:creationId xmlns:a16="http://schemas.microsoft.com/office/drawing/2014/main" id="{F6F77891-292F-604B-BC56-D4516B39438A}"/>
                </a:ext>
              </a:extLst>
            </p:cNvPr>
            <p:cNvSpPr/>
            <p:nvPr/>
          </p:nvSpPr>
          <p:spPr>
            <a:xfrm rot="12369724" flipH="1" flipV="1">
              <a:off x="6945979" y="3632254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5" name="Oval 260">
              <a:extLst>
                <a:ext uri="{FF2B5EF4-FFF2-40B4-BE49-F238E27FC236}">
                  <a16:creationId xmlns:a16="http://schemas.microsoft.com/office/drawing/2014/main" id="{D585DA39-1684-AEA6-4699-4B2CAEDC38CF}"/>
                </a:ext>
              </a:extLst>
            </p:cNvPr>
            <p:cNvSpPr/>
            <p:nvPr/>
          </p:nvSpPr>
          <p:spPr>
            <a:xfrm rot="12369724" flipH="1" flipV="1">
              <a:off x="7734186" y="415411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6" name="Oval 260">
              <a:extLst>
                <a:ext uri="{FF2B5EF4-FFF2-40B4-BE49-F238E27FC236}">
                  <a16:creationId xmlns:a16="http://schemas.microsoft.com/office/drawing/2014/main" id="{A8D29BB0-4C71-5B0B-68C2-D3A1C0AE2E2D}"/>
                </a:ext>
              </a:extLst>
            </p:cNvPr>
            <p:cNvSpPr/>
            <p:nvPr/>
          </p:nvSpPr>
          <p:spPr>
            <a:xfrm rot="12369724" flipH="1" flipV="1">
              <a:off x="7745231" y="4055103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7" name="Oval 260">
              <a:extLst>
                <a:ext uri="{FF2B5EF4-FFF2-40B4-BE49-F238E27FC236}">
                  <a16:creationId xmlns:a16="http://schemas.microsoft.com/office/drawing/2014/main" id="{B119A01A-28EB-B052-71EF-DE3C081B4EFB}"/>
                </a:ext>
              </a:extLst>
            </p:cNvPr>
            <p:cNvSpPr/>
            <p:nvPr/>
          </p:nvSpPr>
          <p:spPr>
            <a:xfrm rot="12369724" flipH="1" flipV="1">
              <a:off x="7592859" y="3852468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8" name="Oval 260">
              <a:extLst>
                <a:ext uri="{FF2B5EF4-FFF2-40B4-BE49-F238E27FC236}">
                  <a16:creationId xmlns:a16="http://schemas.microsoft.com/office/drawing/2014/main" id="{7549942F-E84F-C3F6-93F4-69EBB57F37F1}"/>
                </a:ext>
              </a:extLst>
            </p:cNvPr>
            <p:cNvSpPr/>
            <p:nvPr/>
          </p:nvSpPr>
          <p:spPr>
            <a:xfrm rot="12369724" flipH="1" flipV="1">
              <a:off x="6510942" y="482369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9" name="Oval 260">
              <a:extLst>
                <a:ext uri="{FF2B5EF4-FFF2-40B4-BE49-F238E27FC236}">
                  <a16:creationId xmlns:a16="http://schemas.microsoft.com/office/drawing/2014/main" id="{B993032D-8E73-5390-1CD9-38F065166BEC}"/>
                </a:ext>
              </a:extLst>
            </p:cNvPr>
            <p:cNvSpPr/>
            <p:nvPr/>
          </p:nvSpPr>
          <p:spPr>
            <a:xfrm rot="12369724" flipH="1" flipV="1">
              <a:off x="6497742" y="4625278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0" name="Oval 260">
              <a:extLst>
                <a:ext uri="{FF2B5EF4-FFF2-40B4-BE49-F238E27FC236}">
                  <a16:creationId xmlns:a16="http://schemas.microsoft.com/office/drawing/2014/main" id="{398F9158-374B-423C-9374-B617B3399C75}"/>
                </a:ext>
              </a:extLst>
            </p:cNvPr>
            <p:cNvSpPr/>
            <p:nvPr/>
          </p:nvSpPr>
          <p:spPr>
            <a:xfrm rot="12369724" flipH="1" flipV="1">
              <a:off x="7880041" y="3820352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1" name="Oval 260">
              <a:extLst>
                <a:ext uri="{FF2B5EF4-FFF2-40B4-BE49-F238E27FC236}">
                  <a16:creationId xmlns:a16="http://schemas.microsoft.com/office/drawing/2014/main" id="{802CD0E0-8D93-3570-B009-10D596CEF210}"/>
                </a:ext>
              </a:extLst>
            </p:cNvPr>
            <p:cNvSpPr/>
            <p:nvPr/>
          </p:nvSpPr>
          <p:spPr>
            <a:xfrm rot="12369724" flipH="1" flipV="1">
              <a:off x="7732440" y="372375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2" name="Oval 260">
              <a:extLst>
                <a:ext uri="{FF2B5EF4-FFF2-40B4-BE49-F238E27FC236}">
                  <a16:creationId xmlns:a16="http://schemas.microsoft.com/office/drawing/2014/main" id="{E3213084-880D-DBE3-F4F0-C1A33B43C0C9}"/>
                </a:ext>
              </a:extLst>
            </p:cNvPr>
            <p:cNvSpPr/>
            <p:nvPr/>
          </p:nvSpPr>
          <p:spPr>
            <a:xfrm flipH="1" flipV="1">
              <a:off x="9431142" y="527732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3" name="Oval 260">
              <a:extLst>
                <a:ext uri="{FF2B5EF4-FFF2-40B4-BE49-F238E27FC236}">
                  <a16:creationId xmlns:a16="http://schemas.microsoft.com/office/drawing/2014/main" id="{6549B8DD-5082-349F-6201-C1C09F57DDFC}"/>
                </a:ext>
              </a:extLst>
            </p:cNvPr>
            <p:cNvSpPr/>
            <p:nvPr/>
          </p:nvSpPr>
          <p:spPr>
            <a:xfrm flipH="1" flipV="1">
              <a:off x="9491177" y="514043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4" name="Oval 260">
              <a:extLst>
                <a:ext uri="{FF2B5EF4-FFF2-40B4-BE49-F238E27FC236}">
                  <a16:creationId xmlns:a16="http://schemas.microsoft.com/office/drawing/2014/main" id="{9E2D0B59-0DFF-ADD8-AFA5-E9268E75D6F9}"/>
                </a:ext>
              </a:extLst>
            </p:cNvPr>
            <p:cNvSpPr/>
            <p:nvPr/>
          </p:nvSpPr>
          <p:spPr>
            <a:xfrm rot="12369724" flipH="1" flipV="1">
              <a:off x="6082528" y="296663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5" name="Rectangle 1044">
              <a:extLst>
                <a:ext uri="{FF2B5EF4-FFF2-40B4-BE49-F238E27FC236}">
                  <a16:creationId xmlns:a16="http://schemas.microsoft.com/office/drawing/2014/main" id="{11F43786-CA57-80E4-3658-27833D18CABC}"/>
                </a:ext>
              </a:extLst>
            </p:cNvPr>
            <p:cNvSpPr/>
            <p:nvPr/>
          </p:nvSpPr>
          <p:spPr>
            <a:xfrm>
              <a:off x="6149714" y="2919857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zech Republic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6" name="Oval 260">
              <a:extLst>
                <a:ext uri="{FF2B5EF4-FFF2-40B4-BE49-F238E27FC236}">
                  <a16:creationId xmlns:a16="http://schemas.microsoft.com/office/drawing/2014/main" id="{70A33968-BB87-B1E3-6437-C67AAC44330F}"/>
                </a:ext>
              </a:extLst>
            </p:cNvPr>
            <p:cNvSpPr/>
            <p:nvPr/>
          </p:nvSpPr>
          <p:spPr>
            <a:xfrm rot="12369724" flipH="1" flipV="1">
              <a:off x="6153890" y="304920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7" name="Rectangle 1046">
              <a:extLst>
                <a:ext uri="{FF2B5EF4-FFF2-40B4-BE49-F238E27FC236}">
                  <a16:creationId xmlns:a16="http://schemas.microsoft.com/office/drawing/2014/main" id="{668F160C-1C1A-F817-DB13-975437B37F6D}"/>
                </a:ext>
              </a:extLst>
            </p:cNvPr>
            <p:cNvSpPr/>
            <p:nvPr/>
          </p:nvSpPr>
          <p:spPr>
            <a:xfrm>
              <a:off x="5950909" y="3075894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ungary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8" name="Oval 260">
              <a:extLst>
                <a:ext uri="{FF2B5EF4-FFF2-40B4-BE49-F238E27FC236}">
                  <a16:creationId xmlns:a16="http://schemas.microsoft.com/office/drawing/2014/main" id="{411A0898-909B-77B2-CE41-FC770005090E}"/>
                </a:ext>
              </a:extLst>
            </p:cNvPr>
            <p:cNvSpPr/>
            <p:nvPr/>
          </p:nvSpPr>
          <p:spPr>
            <a:xfrm rot="12369724" flipH="1" flipV="1">
              <a:off x="6032074" y="3211450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49" name="Rectangle 1048">
              <a:extLst>
                <a:ext uri="{FF2B5EF4-FFF2-40B4-BE49-F238E27FC236}">
                  <a16:creationId xmlns:a16="http://schemas.microsoft.com/office/drawing/2014/main" id="{AE4EECAD-186B-5DA2-4D01-68F260A034DE}"/>
                </a:ext>
              </a:extLst>
            </p:cNvPr>
            <p:cNvSpPr/>
            <p:nvPr/>
          </p:nvSpPr>
          <p:spPr>
            <a:xfrm>
              <a:off x="5976499" y="3230743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taly</a:t>
              </a:r>
            </a:p>
          </p:txBody>
        </p:sp>
        <p:sp>
          <p:nvSpPr>
            <p:cNvPr id="1050" name="Oval 260">
              <a:extLst>
                <a:ext uri="{FF2B5EF4-FFF2-40B4-BE49-F238E27FC236}">
                  <a16:creationId xmlns:a16="http://schemas.microsoft.com/office/drawing/2014/main" id="{7DABB761-B0AA-7358-7669-B025B1C89A0F}"/>
                </a:ext>
              </a:extLst>
            </p:cNvPr>
            <p:cNvSpPr/>
            <p:nvPr/>
          </p:nvSpPr>
          <p:spPr>
            <a:xfrm rot="12369724" flipH="1" flipV="1">
              <a:off x="5876236" y="293037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1" name="Rectangle 1050">
              <a:extLst>
                <a:ext uri="{FF2B5EF4-FFF2-40B4-BE49-F238E27FC236}">
                  <a16:creationId xmlns:a16="http://schemas.microsoft.com/office/drawing/2014/main" id="{A2CDEB4F-C0F1-A5E7-4461-7B93DA0CF140}"/>
                </a:ext>
              </a:extLst>
            </p:cNvPr>
            <p:cNvSpPr/>
            <p:nvPr/>
          </p:nvSpPr>
          <p:spPr>
            <a:xfrm>
              <a:off x="5370871" y="2939279"/>
              <a:ext cx="544102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uxembourg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4" name="Oval 260">
              <a:extLst>
                <a:ext uri="{FF2B5EF4-FFF2-40B4-BE49-F238E27FC236}">
                  <a16:creationId xmlns:a16="http://schemas.microsoft.com/office/drawing/2014/main" id="{8CA2AA9A-68E0-44C0-0F02-CCCA10B242C4}"/>
                </a:ext>
              </a:extLst>
            </p:cNvPr>
            <p:cNvSpPr/>
            <p:nvPr/>
          </p:nvSpPr>
          <p:spPr>
            <a:xfrm rot="12369724" flipH="1" flipV="1">
              <a:off x="5903574" y="304348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5" name="Rectangle 1054">
              <a:extLst>
                <a:ext uri="{FF2B5EF4-FFF2-40B4-BE49-F238E27FC236}">
                  <a16:creationId xmlns:a16="http://schemas.microsoft.com/office/drawing/2014/main" id="{8D6BC29A-4C86-91C3-8730-9FCCE51E6C5B}"/>
                </a:ext>
              </a:extLst>
            </p:cNvPr>
            <p:cNvSpPr/>
            <p:nvPr/>
          </p:nvSpPr>
          <p:spPr>
            <a:xfrm>
              <a:off x="5406644" y="3020331"/>
              <a:ext cx="822402" cy="12311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witzerland</a:t>
              </a:r>
            </a:p>
          </p:txBody>
        </p:sp>
        <p:sp>
          <p:nvSpPr>
            <p:cNvPr id="1056" name="Oval 260">
              <a:extLst>
                <a:ext uri="{FF2B5EF4-FFF2-40B4-BE49-F238E27FC236}">
                  <a16:creationId xmlns:a16="http://schemas.microsoft.com/office/drawing/2014/main" id="{2FCB1FEE-E79C-E476-C190-B6CA0182BEA6}"/>
                </a:ext>
              </a:extLst>
            </p:cNvPr>
            <p:cNvSpPr/>
            <p:nvPr/>
          </p:nvSpPr>
          <p:spPr>
            <a:xfrm rot="1002789" flipH="1" flipV="1">
              <a:off x="8359420" y="3993815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7" name="Rectangle 1056">
              <a:extLst>
                <a:ext uri="{FF2B5EF4-FFF2-40B4-BE49-F238E27FC236}">
                  <a16:creationId xmlns:a16="http://schemas.microsoft.com/office/drawing/2014/main" id="{0418804D-1376-9E4A-C575-2217620B212C}"/>
                </a:ext>
              </a:extLst>
            </p:cNvPr>
            <p:cNvSpPr/>
            <p:nvPr/>
          </p:nvSpPr>
          <p:spPr>
            <a:xfrm>
              <a:off x="8333280" y="3877602"/>
              <a:ext cx="748701" cy="123111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ailand</a:t>
              </a:r>
            </a:p>
          </p:txBody>
        </p:sp>
        <p:sp>
          <p:nvSpPr>
            <p:cNvPr id="1058" name="Oval 260">
              <a:extLst>
                <a:ext uri="{FF2B5EF4-FFF2-40B4-BE49-F238E27FC236}">
                  <a16:creationId xmlns:a16="http://schemas.microsoft.com/office/drawing/2014/main" id="{ECC9A295-D0B4-8481-A418-13D0CB662ACA}"/>
                </a:ext>
              </a:extLst>
            </p:cNvPr>
            <p:cNvSpPr/>
            <p:nvPr/>
          </p:nvSpPr>
          <p:spPr>
            <a:xfrm rot="12369724" flipH="1" flipV="1">
              <a:off x="2673085" y="2502627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9" name="Oval 260">
              <a:extLst>
                <a:ext uri="{FF2B5EF4-FFF2-40B4-BE49-F238E27FC236}">
                  <a16:creationId xmlns:a16="http://schemas.microsoft.com/office/drawing/2014/main" id="{75DAC0B5-4AE5-8F18-18FB-83F00C786E17}"/>
                </a:ext>
              </a:extLst>
            </p:cNvPr>
            <p:cNvSpPr/>
            <p:nvPr/>
          </p:nvSpPr>
          <p:spPr>
            <a:xfrm rot="12369724" flipH="1" flipV="1">
              <a:off x="2756118" y="3184731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60" name="Oval 260">
              <a:extLst>
                <a:ext uri="{FF2B5EF4-FFF2-40B4-BE49-F238E27FC236}">
                  <a16:creationId xmlns:a16="http://schemas.microsoft.com/office/drawing/2014/main" id="{AE20931F-1438-1936-CEBD-D56729E75B2A}"/>
                </a:ext>
              </a:extLst>
            </p:cNvPr>
            <p:cNvSpPr/>
            <p:nvPr/>
          </p:nvSpPr>
          <p:spPr>
            <a:xfrm rot="12369724" flipH="1" flipV="1">
              <a:off x="7647145" y="3501479"/>
              <a:ext cx="53938" cy="5442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val f7"/>
                <a:gd name="f15" fmla="+- 2700000 f2 0"/>
                <a:gd name="f16" fmla="*/ f9 f1 1"/>
                <a:gd name="f17" fmla="*/ f10 f1 1"/>
                <a:gd name="f18" fmla="?: f11 f4 1"/>
                <a:gd name="f19" fmla="?: f12 f5 1"/>
                <a:gd name="f20" fmla="?: f13 f6 1"/>
                <a:gd name="f21" fmla="*/ f15 f8 1"/>
                <a:gd name="f22" fmla="*/ f16 1 f3"/>
                <a:gd name="f23" fmla="*/ f17 1 f3"/>
                <a:gd name="f24" fmla="*/ f18 1 21600"/>
                <a:gd name="f25" fmla="*/ f19 1 21600"/>
                <a:gd name="f26" fmla="*/ 21600 f18 1"/>
                <a:gd name="f27" fmla="*/ 21600 f19 1"/>
                <a:gd name="f28" fmla="*/ f21 1 f1"/>
                <a:gd name="f29" fmla="+- f22 0 f2"/>
                <a:gd name="f30" fmla="+- f23 0 f2"/>
                <a:gd name="f31" fmla="min f25 f24"/>
                <a:gd name="f32" fmla="*/ f26 1 f20"/>
                <a:gd name="f33" fmla="*/ f27 1 f20"/>
                <a:gd name="f34" fmla="+- 0 0 f28"/>
                <a:gd name="f35" fmla="val f32"/>
                <a:gd name="f36" fmla="val f33"/>
                <a:gd name="f37" fmla="+- 0 0 f34"/>
                <a:gd name="f38" fmla="*/ f14 f31 1"/>
                <a:gd name="f39" fmla="+- f36 0 f14"/>
                <a:gd name="f40" fmla="+- f35 0 f14"/>
                <a:gd name="f41" fmla="*/ f37 f1 1"/>
                <a:gd name="f42" fmla="*/ f39 1 2"/>
                <a:gd name="f43" fmla="*/ f40 1 2"/>
                <a:gd name="f44" fmla="*/ f41 1 f8"/>
                <a:gd name="f45" fmla="+- f14 f42 0"/>
                <a:gd name="f46" fmla="+- f14 f43 0"/>
                <a:gd name="f47" fmla="+- f44 0 f2"/>
                <a:gd name="f48" fmla="*/ f43 f31 1"/>
                <a:gd name="f49" fmla="*/ f42 f31 1"/>
                <a:gd name="f50" fmla="cos 1 f47"/>
                <a:gd name="f51" fmla="sin 1 f47"/>
                <a:gd name="f52" fmla="*/ f45 f31 1"/>
                <a:gd name="f53" fmla="+- 0 0 f50"/>
                <a:gd name="f54" fmla="+- 0 0 f51"/>
                <a:gd name="f55" fmla="+- 0 0 f53"/>
                <a:gd name="f56" fmla="+- 0 0 f54"/>
                <a:gd name="f57" fmla="*/ f55 f43 1"/>
                <a:gd name="f58" fmla="*/ f56 f42 1"/>
                <a:gd name="f59" fmla="+- f46 0 f57"/>
                <a:gd name="f60" fmla="+- f46 f57 0"/>
                <a:gd name="f61" fmla="+- f45 0 f58"/>
                <a:gd name="f62" fmla="+- f45 f58 0"/>
                <a:gd name="f63" fmla="*/ f59 f31 1"/>
                <a:gd name="f64" fmla="*/ f61 f31 1"/>
                <a:gd name="f65" fmla="*/ f60 f31 1"/>
                <a:gd name="f66" fmla="*/ f62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9">
                  <a:pos x="f63" y="f64"/>
                </a:cxn>
                <a:cxn ang="f30">
                  <a:pos x="f63" y="f66"/>
                </a:cxn>
                <a:cxn ang="f30">
                  <a:pos x="f65" y="f66"/>
                </a:cxn>
                <a:cxn ang="f29">
                  <a:pos x="f65" y="f64"/>
                </a:cxn>
              </a:cxnLst>
              <a:rect l="f63" t="f64" r="f65" b="f66"/>
              <a:pathLst>
                <a:path>
                  <a:moveTo>
                    <a:pt x="f38" y="f52"/>
                  </a:moveTo>
                  <a:arcTo wR="f48" hR="f49" stAng="f1" swAng="f0"/>
                  <a:close/>
                </a:path>
              </a:pathLst>
            </a:custGeom>
            <a:solidFill>
              <a:srgbClr val="FFCC2A"/>
            </a:solidFill>
            <a:ln w="6345" cap="flat">
              <a:solidFill>
                <a:srgbClr val="F5F5F5"/>
              </a:solidFill>
              <a:prstDash val="solid"/>
              <a:round/>
            </a:ln>
          </p:spPr>
          <p:txBody>
            <a:bodyPr vert="horz" wrap="none" lIns="121916" tIns="60963" rIns="121916" bIns="60963" anchor="ctr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5584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1" name="TextBox 2060">
            <a:extLst>
              <a:ext uri="{FF2B5EF4-FFF2-40B4-BE49-F238E27FC236}">
                <a16:creationId xmlns:a16="http://schemas.microsoft.com/office/drawing/2014/main" id="{D2F07236-1894-30D3-3349-09875F8310E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8081" y="4326862"/>
            <a:ext cx="11520000" cy="388769"/>
          </a:xfrm>
          <a:prstGeom prst="rect">
            <a:avLst/>
          </a:prstGeom>
          <a:solidFill>
            <a:srgbClr val="014B86"/>
          </a:solidFill>
        </p:spPr>
        <p:txBody>
          <a:bodyPr wrap="square" lIns="72000" tIns="108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a suite of well-crafted bespoke solutions customized or built to address banking specific challenges </a:t>
            </a:r>
          </a:p>
        </p:txBody>
      </p:sp>
      <p:sp>
        <p:nvSpPr>
          <p:cNvPr id="2067" name="Snip Same-side Corner of Rectangle 2066">
            <a:extLst>
              <a:ext uri="{FF2B5EF4-FFF2-40B4-BE49-F238E27FC236}">
                <a16:creationId xmlns:a16="http://schemas.microsoft.com/office/drawing/2014/main" id="{A56B7AF2-FD2C-E35C-27AD-8D9426789E58}"/>
              </a:ext>
            </a:extLst>
          </p:cNvPr>
          <p:cNvSpPr/>
          <p:nvPr/>
        </p:nvSpPr>
        <p:spPr>
          <a:xfrm>
            <a:off x="325478" y="4797337"/>
            <a:ext cx="2159281" cy="276067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S AND ACCEL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39C49A-54CB-1C42-50F7-2580B7978668}"/>
              </a:ext>
            </a:extLst>
          </p:cNvPr>
          <p:cNvSpPr txBox="1">
            <a:spLocks/>
          </p:cNvSpPr>
          <p:nvPr/>
        </p:nvSpPr>
        <p:spPr>
          <a:xfrm>
            <a:off x="508315" y="265911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B8950C-3936-873C-4635-2DCDF397DC01}"/>
              </a:ext>
            </a:extLst>
          </p:cNvPr>
          <p:cNvSpPr/>
          <p:nvPr/>
        </p:nvSpPr>
        <p:spPr>
          <a:xfrm>
            <a:off x="334962" y="718571"/>
            <a:ext cx="11522075" cy="1525242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71EABE9C-4136-C8E3-1992-9BD351059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84" y="1236429"/>
            <a:ext cx="1828800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14B86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31,000+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014B86"/>
              </a:solidFill>
              <a:effectLst/>
              <a:uLnTx/>
              <a:uFillTx/>
              <a:latin typeface="Calibri" panose="020F0502020204030204"/>
              <a:ea typeface="STKaiti"/>
              <a:cs typeface="Calibri" panose="020F0502020204030204" pitchFamily="34" charset="0"/>
            </a:endParaRP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Active BFSI Practitioners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(82K Overall)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33" name="Rectangle 11">
            <a:extLst>
              <a:ext uri="{FF2B5EF4-FFF2-40B4-BE49-F238E27FC236}">
                <a16:creationId xmlns:a16="http://schemas.microsoft.com/office/drawing/2014/main" id="{BF111E54-1680-9FA6-9239-5FF289CAB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9814" y="1236429"/>
            <a:ext cx="1828800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1.6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Bn+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STKaiti"/>
              <a:cs typeface="Calibri" panose="020F0502020204030204" pitchFamily="34" charset="0"/>
            </a:endParaRP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Annual BFSI Revenue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Largest Business Unit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7E70C30F-3481-2464-2107-BA97824B8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044" y="1236429"/>
            <a:ext cx="1828800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E548C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5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E548C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OF TOP 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E548C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10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GSIB banks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(220+ Total Clientele)</a:t>
            </a: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1537904C-0859-01D7-D536-53F3AA6A2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0274" y="1236429"/>
            <a:ext cx="1828800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4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OF TOP 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10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Wealth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Service Providers</a:t>
            </a:r>
            <a:endParaRPr kumimoji="0" lang="en-US" sz="700" b="0" i="1" u="none" strike="noStrike" kern="1200" cap="none" spc="0" normalizeH="0" baseline="0" noProof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E252B549-892B-55A7-9D3F-966B1595C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0732" y="1236429"/>
            <a:ext cx="1966822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Unitrax®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Support 60% Canadian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Asset Managers</a:t>
            </a:r>
            <a:endParaRPr kumimoji="0" lang="en-US" sz="200" b="0" i="1" u="none" strike="noStrike" kern="1200" cap="none" spc="0" normalizeH="0" baseline="0" noProof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37" name="Rectangle 11">
            <a:extLst>
              <a:ext uri="{FF2B5EF4-FFF2-40B4-BE49-F238E27FC236}">
                <a16:creationId xmlns:a16="http://schemas.microsoft.com/office/drawing/2014/main" id="{13652C64-9BFA-DE5A-79D0-EADED33A2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5504" y="1236429"/>
            <a:ext cx="1828800" cy="914400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E548C"/>
                </a:solidFill>
                <a:effectLst/>
                <a:uLnTx/>
                <a:uFillTx/>
                <a:latin typeface="Calibri" panose="020F0502020204030204"/>
                <a:ea typeface="STKaiti"/>
                <a:cs typeface="Calibri" panose="020F0502020204030204" pitchFamily="34" charset="0"/>
              </a:rPr>
              <a:t>20%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5 year CAGR</a:t>
            </a:r>
          </a:p>
          <a:p>
            <a:pPr marL="84533" marR="0" lvl="0" indent="-84533" algn="ctr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STKaiti"/>
                <a:cs typeface="Calibri Light" panose="020F0302020204030204" pitchFamily="34" charset="0"/>
              </a:rPr>
              <a:t>Industry Leading Growth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DBD8949-99CC-94CA-764C-002BC0F4A91C}"/>
              </a:ext>
            </a:extLst>
          </p:cNvPr>
          <p:cNvCxnSpPr>
            <a:cxnSpLocks/>
          </p:cNvCxnSpPr>
          <p:nvPr/>
        </p:nvCxnSpPr>
        <p:spPr bwMode="auto">
          <a:xfrm>
            <a:off x="2311599" y="1353190"/>
            <a:ext cx="0" cy="818187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9FCD32A-E584-3A9B-B6AC-12CED3976AED}"/>
              </a:ext>
            </a:extLst>
          </p:cNvPr>
          <p:cNvCxnSpPr>
            <a:cxnSpLocks/>
          </p:cNvCxnSpPr>
          <p:nvPr/>
        </p:nvCxnSpPr>
        <p:spPr bwMode="auto">
          <a:xfrm>
            <a:off x="4176829" y="1353190"/>
            <a:ext cx="0" cy="818187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626F2FB-0DEA-1839-BD75-38E0E8AA4459}"/>
              </a:ext>
            </a:extLst>
          </p:cNvPr>
          <p:cNvCxnSpPr>
            <a:cxnSpLocks/>
          </p:cNvCxnSpPr>
          <p:nvPr/>
        </p:nvCxnSpPr>
        <p:spPr bwMode="auto">
          <a:xfrm>
            <a:off x="6042059" y="1353190"/>
            <a:ext cx="0" cy="818187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C92EBF0-C439-2BE2-46EE-EB90F20CCDA5}"/>
              </a:ext>
            </a:extLst>
          </p:cNvPr>
          <p:cNvCxnSpPr>
            <a:cxnSpLocks/>
          </p:cNvCxnSpPr>
          <p:nvPr/>
        </p:nvCxnSpPr>
        <p:spPr bwMode="auto">
          <a:xfrm>
            <a:off x="7907289" y="1353190"/>
            <a:ext cx="0" cy="818187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3F61D3E-2EFC-C8F4-3091-0CC85AF0F944}"/>
              </a:ext>
            </a:extLst>
          </p:cNvPr>
          <p:cNvCxnSpPr>
            <a:cxnSpLocks/>
          </p:cNvCxnSpPr>
          <p:nvPr/>
        </p:nvCxnSpPr>
        <p:spPr bwMode="auto">
          <a:xfrm>
            <a:off x="9772519" y="1353190"/>
            <a:ext cx="0" cy="818187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59" name="TextBox 2058">
            <a:extLst>
              <a:ext uri="{FF2B5EF4-FFF2-40B4-BE49-F238E27FC236}">
                <a16:creationId xmlns:a16="http://schemas.microsoft.com/office/drawing/2014/main" id="{692A46F0-8F33-8A5F-8229-2D6588482F6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34963" y="718571"/>
            <a:ext cx="11522075" cy="360000"/>
          </a:xfrm>
          <a:prstGeom prst="rect">
            <a:avLst/>
          </a:prstGeom>
          <a:solidFill>
            <a:srgbClr val="014B86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apshot demonstrating the scale of our experience across Banking and Financial Services</a:t>
            </a:r>
          </a:p>
        </p:txBody>
      </p:sp>
      <p:sp>
        <p:nvSpPr>
          <p:cNvPr id="2063" name="TextBox 2062">
            <a:extLst>
              <a:ext uri="{FF2B5EF4-FFF2-40B4-BE49-F238E27FC236}">
                <a16:creationId xmlns:a16="http://schemas.microsoft.com/office/drawing/2014/main" id="{42344C6C-3C4D-0D0F-D1D6-4CA04B4C3B5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36000" y="2266839"/>
            <a:ext cx="11520000" cy="360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deliver Value and Differentiated Outcomes across the entire spectrum from Core to Experienc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0751E6F-B459-E516-345B-2DC25F395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 dirty="0"/>
              <a:t>Financial Services @ LTIMindtre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9F48777-2394-3F51-8C56-2A1686A6F9E1}"/>
              </a:ext>
            </a:extLst>
          </p:cNvPr>
          <p:cNvGrpSpPr/>
          <p:nvPr/>
        </p:nvGrpSpPr>
        <p:grpSpPr>
          <a:xfrm>
            <a:off x="552998" y="5240155"/>
            <a:ext cx="1471121" cy="826415"/>
            <a:chOff x="398530" y="5182992"/>
            <a:chExt cx="1780056" cy="999962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D516E16C-7C7A-E026-4598-D32707D75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366" y="5182992"/>
              <a:ext cx="666178" cy="201010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D250DDA-C0D7-DF99-0503-9BF68184B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530" y="5958484"/>
              <a:ext cx="814200" cy="176473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502D74FD-E26D-629C-F967-D28A268FB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0343" y="5201483"/>
              <a:ext cx="835475" cy="194120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76F1CA7-9E51-479B-2110-078BC7D63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6480" y="5524629"/>
              <a:ext cx="684883" cy="20098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0733C84-3C78-4DD1-E72F-389369515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87218" y="5889987"/>
              <a:ext cx="791368" cy="292967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B4B589A3-271D-4D54-9D73-381CE5CF8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27462" y="5528868"/>
              <a:ext cx="843235" cy="225801"/>
            </a:xfrm>
            <a:prstGeom prst="rect">
              <a:avLst/>
            </a:prstGeom>
          </p:spPr>
        </p:pic>
      </p:grp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A144222B-C43E-04D6-4C42-4A9940E09865}"/>
              </a:ext>
            </a:extLst>
          </p:cNvPr>
          <p:cNvCxnSpPr>
            <a:cxnSpLocks/>
          </p:cNvCxnSpPr>
          <p:nvPr/>
        </p:nvCxnSpPr>
        <p:spPr bwMode="auto">
          <a:xfrm>
            <a:off x="2483710" y="5241439"/>
            <a:ext cx="0" cy="725976"/>
          </a:xfrm>
          <a:prstGeom prst="line">
            <a:avLst/>
          </a:prstGeom>
          <a:ln w="6350">
            <a:solidFill>
              <a:srgbClr val="F68220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Snip Same-side Corner of Rectangle 2066">
            <a:extLst>
              <a:ext uri="{FF2B5EF4-FFF2-40B4-BE49-F238E27FC236}">
                <a16:creationId xmlns:a16="http://schemas.microsoft.com/office/drawing/2014/main" id="{9132BBE5-17CA-5D29-97A1-A0F02F3B9000}"/>
              </a:ext>
            </a:extLst>
          </p:cNvPr>
          <p:cNvSpPr/>
          <p:nvPr/>
        </p:nvSpPr>
        <p:spPr>
          <a:xfrm>
            <a:off x="2553692" y="4795410"/>
            <a:ext cx="6750328" cy="276067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/ TECH / FINTECH ALLIANCES &amp; PARTNERSHIP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368FC0-6A6C-777F-8ECB-6C86CE49674D}"/>
              </a:ext>
            </a:extLst>
          </p:cNvPr>
          <p:cNvGrpSpPr/>
          <p:nvPr/>
        </p:nvGrpSpPr>
        <p:grpSpPr>
          <a:xfrm>
            <a:off x="2799829" y="5179136"/>
            <a:ext cx="1004826" cy="984794"/>
            <a:chOff x="2744563" y="5217349"/>
            <a:chExt cx="1105308" cy="108327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6AB93CC-2FAD-8A25-18B6-C8840B7947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4563" y="5217349"/>
              <a:ext cx="620787" cy="351605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0FD12604-F1EA-E559-85E1-08946BFBF5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2352" y="5726501"/>
              <a:ext cx="797132" cy="224252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38264AD-49D0-B982-7BEB-F5403B79F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5173" y="6112234"/>
              <a:ext cx="407196" cy="169665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256B9DB-7A53-AAC7-0522-A6F3ADB76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01053" y="6075505"/>
              <a:ext cx="448818" cy="225117"/>
            </a:xfrm>
            <a:prstGeom prst="rect">
              <a:avLst/>
            </a:prstGeom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A81DF08-1A2B-ABB7-56BD-178B567E36CD}"/>
              </a:ext>
            </a:extLst>
          </p:cNvPr>
          <p:cNvGrpSpPr/>
          <p:nvPr/>
        </p:nvGrpSpPr>
        <p:grpSpPr>
          <a:xfrm>
            <a:off x="4438149" y="5255432"/>
            <a:ext cx="2605051" cy="990460"/>
            <a:chOff x="4404905" y="5330456"/>
            <a:chExt cx="3152115" cy="1198457"/>
          </a:xfrm>
        </p:grpSpPr>
        <p:pic>
          <p:nvPicPr>
            <p:cNvPr id="57" name="Picture 56" descr="Logo&#10;&#10;Description automatically generated">
              <a:extLst>
                <a:ext uri="{FF2B5EF4-FFF2-40B4-BE49-F238E27FC236}">
                  <a16:creationId xmlns:a16="http://schemas.microsoft.com/office/drawing/2014/main" id="{046D6BEA-E90E-3DD4-6839-D96CB2BEF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87314" y="6111538"/>
              <a:ext cx="741999" cy="417375"/>
            </a:xfrm>
            <a:prstGeom prst="rect">
              <a:avLst/>
            </a:prstGeom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28DBC36-C06F-AB14-4FD2-160112677E20}"/>
                </a:ext>
              </a:extLst>
            </p:cNvPr>
            <p:cNvGrpSpPr/>
            <p:nvPr/>
          </p:nvGrpSpPr>
          <p:grpSpPr>
            <a:xfrm>
              <a:off x="4404905" y="5330456"/>
              <a:ext cx="3152115" cy="1095962"/>
              <a:chOff x="4404905" y="5330456"/>
              <a:chExt cx="3152115" cy="1095962"/>
            </a:xfrm>
          </p:grpSpPr>
          <p:pic>
            <p:nvPicPr>
              <p:cNvPr id="51" name="Picture 50" descr="A picture containing text, tableware, plate, dishware&#10;&#10;Description automatically generated">
                <a:extLst>
                  <a:ext uri="{FF2B5EF4-FFF2-40B4-BE49-F238E27FC236}">
                    <a16:creationId xmlns:a16="http://schemas.microsoft.com/office/drawing/2014/main" id="{B4B84F8A-E148-9211-E51E-BE5F0CD2D9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637" y="5734145"/>
                <a:ext cx="453124" cy="271120"/>
              </a:xfrm>
              <a:prstGeom prst="rect">
                <a:avLst/>
              </a:prstGeom>
            </p:spPr>
          </p:pic>
          <p:pic>
            <p:nvPicPr>
              <p:cNvPr id="53" name="Picture 52" descr="A picture containing text, clipart&#10;&#10;Description automatically generated">
                <a:extLst>
                  <a:ext uri="{FF2B5EF4-FFF2-40B4-BE49-F238E27FC236}">
                    <a16:creationId xmlns:a16="http://schemas.microsoft.com/office/drawing/2014/main" id="{F8F500B1-D021-1C22-59A2-C1669EF3ED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13702" y="5330456"/>
                <a:ext cx="940388" cy="239083"/>
              </a:xfrm>
              <a:prstGeom prst="rect">
                <a:avLst/>
              </a:prstGeom>
            </p:spPr>
          </p:pic>
          <p:pic>
            <p:nvPicPr>
              <p:cNvPr id="54" name="Picture 53" descr="Logo&#10;&#10;Description automatically generated">
                <a:extLst>
                  <a:ext uri="{FF2B5EF4-FFF2-40B4-BE49-F238E27FC236}">
                    <a16:creationId xmlns:a16="http://schemas.microsoft.com/office/drawing/2014/main" id="{65F6963B-5577-6C81-D8BF-12DB8A8F1E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36316" y="5755004"/>
                <a:ext cx="369649" cy="183021"/>
              </a:xfrm>
              <a:prstGeom prst="rect">
                <a:avLst/>
              </a:prstGeom>
            </p:spPr>
          </p:pic>
          <p:pic>
            <p:nvPicPr>
              <p:cNvPr id="55" name="Picture 54" descr="Logo&#10;&#10;Description automatically generated">
                <a:extLst>
                  <a:ext uri="{FF2B5EF4-FFF2-40B4-BE49-F238E27FC236}">
                    <a16:creationId xmlns:a16="http://schemas.microsoft.com/office/drawing/2014/main" id="{30EDFBE8-BFF7-9A0B-2B0E-04FC8D1259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9445" t="38413" r="10004" b="38126"/>
              <a:stretch/>
            </p:blipFill>
            <p:spPr>
              <a:xfrm>
                <a:off x="6290110" y="5330456"/>
                <a:ext cx="1231264" cy="239083"/>
              </a:xfrm>
              <a:prstGeom prst="rect">
                <a:avLst/>
              </a:prstGeom>
            </p:spPr>
          </p:pic>
          <p:pic>
            <p:nvPicPr>
              <p:cNvPr id="56" name="Picture 55" descr="Icon&#10;&#10;Description automatically generated">
                <a:extLst>
                  <a:ext uri="{FF2B5EF4-FFF2-40B4-BE49-F238E27FC236}">
                    <a16:creationId xmlns:a16="http://schemas.microsoft.com/office/drawing/2014/main" id="{5EA787CE-6347-6F3B-AD24-1A5762F052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35415" y="5732513"/>
                <a:ext cx="432218" cy="188224"/>
              </a:xfrm>
              <a:prstGeom prst="rect">
                <a:avLst/>
              </a:prstGeom>
            </p:spPr>
          </p:pic>
          <p:pic>
            <p:nvPicPr>
              <p:cNvPr id="58" name="Picture 57" descr="A picture containing logo&#10;&#10;Description automatically generated">
                <a:extLst>
                  <a:ext uri="{FF2B5EF4-FFF2-40B4-BE49-F238E27FC236}">
                    <a16:creationId xmlns:a16="http://schemas.microsoft.com/office/drawing/2014/main" id="{CC89E1DB-EF06-EF3D-E390-99C012C59C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002827" y="5656799"/>
                <a:ext cx="530409" cy="379432"/>
              </a:xfrm>
              <a:prstGeom prst="rect">
                <a:avLst/>
              </a:prstGeom>
            </p:spPr>
          </p:pic>
          <p:pic>
            <p:nvPicPr>
              <p:cNvPr id="59" name="Picture 58" descr="Logo&#10;&#10;Description automatically generated">
                <a:extLst>
                  <a:ext uri="{FF2B5EF4-FFF2-40B4-BE49-F238E27FC236}">
                    <a16:creationId xmlns:a16="http://schemas.microsoft.com/office/drawing/2014/main" id="{1F262600-BCB4-5A19-FE13-EC922AB52A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91913" y="6208157"/>
                <a:ext cx="965107" cy="140996"/>
              </a:xfrm>
              <a:prstGeom prst="rect">
                <a:avLst/>
              </a:prstGeom>
            </p:spPr>
          </p:pic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5BEEE797-48AF-5F3F-278E-99719BD432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4404905" y="6163427"/>
                <a:ext cx="1166152" cy="262991"/>
              </a:xfrm>
              <a:prstGeom prst="rect">
                <a:avLst/>
              </a:prstGeom>
            </p:spPr>
          </p:pic>
        </p:grpSp>
      </p:grp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A325C740-A715-E31B-9199-2174AFF7E09C}"/>
              </a:ext>
            </a:extLst>
          </p:cNvPr>
          <p:cNvCxnSpPr>
            <a:cxnSpLocks/>
          </p:cNvCxnSpPr>
          <p:nvPr/>
        </p:nvCxnSpPr>
        <p:spPr bwMode="auto">
          <a:xfrm>
            <a:off x="4167964" y="5256321"/>
            <a:ext cx="0" cy="725976"/>
          </a:xfrm>
          <a:prstGeom prst="line">
            <a:avLst/>
          </a:prstGeom>
          <a:ln w="6350">
            <a:solidFill>
              <a:srgbClr val="F68220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39" name="Straight Connector 1038">
            <a:extLst>
              <a:ext uri="{FF2B5EF4-FFF2-40B4-BE49-F238E27FC236}">
                <a16:creationId xmlns:a16="http://schemas.microsoft.com/office/drawing/2014/main" id="{4F4C73C0-4F3E-030C-F5F2-9AF6B3A79E09}"/>
              </a:ext>
            </a:extLst>
          </p:cNvPr>
          <p:cNvCxnSpPr>
            <a:cxnSpLocks/>
          </p:cNvCxnSpPr>
          <p:nvPr/>
        </p:nvCxnSpPr>
        <p:spPr bwMode="auto">
          <a:xfrm>
            <a:off x="7177864" y="5215489"/>
            <a:ext cx="0" cy="725976"/>
          </a:xfrm>
          <a:prstGeom prst="line">
            <a:avLst/>
          </a:prstGeom>
          <a:ln w="6350">
            <a:solidFill>
              <a:srgbClr val="F68220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1049" name="Group 1048">
            <a:extLst>
              <a:ext uri="{FF2B5EF4-FFF2-40B4-BE49-F238E27FC236}">
                <a16:creationId xmlns:a16="http://schemas.microsoft.com/office/drawing/2014/main" id="{457FF6A3-BCB3-30B0-5CBB-0075C81ABB86}"/>
              </a:ext>
            </a:extLst>
          </p:cNvPr>
          <p:cNvGrpSpPr/>
          <p:nvPr/>
        </p:nvGrpSpPr>
        <p:grpSpPr>
          <a:xfrm>
            <a:off x="7357043" y="5197790"/>
            <a:ext cx="1748196" cy="935129"/>
            <a:chOff x="7311323" y="5260854"/>
            <a:chExt cx="1748196" cy="935129"/>
          </a:xfrm>
        </p:grpSpPr>
        <p:pic>
          <p:nvPicPr>
            <p:cNvPr id="1040" name="Picture 1039" descr="A picture containing text, clock&#10;&#10;Description automatically generated">
              <a:extLst>
                <a:ext uri="{FF2B5EF4-FFF2-40B4-BE49-F238E27FC236}">
                  <a16:creationId xmlns:a16="http://schemas.microsoft.com/office/drawing/2014/main" id="{DFDE4509-245C-7FBC-5F6E-3A078B926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97661" y="5692613"/>
              <a:ext cx="461858" cy="114383"/>
            </a:xfrm>
            <a:prstGeom prst="rect">
              <a:avLst/>
            </a:prstGeom>
          </p:spPr>
        </p:pic>
        <p:pic>
          <p:nvPicPr>
            <p:cNvPr id="1041" name="Picture 1040">
              <a:extLst>
                <a:ext uri="{FF2B5EF4-FFF2-40B4-BE49-F238E27FC236}">
                  <a16:creationId xmlns:a16="http://schemas.microsoft.com/office/drawing/2014/main" id="{487A21AC-5631-285C-4A9C-020A738F86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12432" y="5260854"/>
              <a:ext cx="392406" cy="254877"/>
            </a:xfrm>
            <a:prstGeom prst="rect">
              <a:avLst/>
            </a:prstGeom>
          </p:spPr>
        </p:pic>
        <p:pic>
          <p:nvPicPr>
            <p:cNvPr id="1042" name="Picture 18" descr="GIEOM Business Solutions - Crunchbase Company Profile &amp; Funding">
              <a:extLst>
                <a:ext uri="{FF2B5EF4-FFF2-40B4-BE49-F238E27FC236}">
                  <a16:creationId xmlns:a16="http://schemas.microsoft.com/office/drawing/2014/main" id="{3157561E-B684-4C32-30DC-83965FC5F2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0579" y="5318501"/>
              <a:ext cx="566110" cy="290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3" name="Picture 1042">
              <a:extLst>
                <a:ext uri="{FF2B5EF4-FFF2-40B4-BE49-F238E27FC236}">
                  <a16:creationId xmlns:a16="http://schemas.microsoft.com/office/drawing/2014/main" id="{B7EB7C81-878C-1898-B67A-682E107C2E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11323" y="5356433"/>
              <a:ext cx="543513" cy="159298"/>
            </a:xfrm>
            <a:prstGeom prst="rect">
              <a:avLst/>
            </a:prstGeom>
          </p:spPr>
        </p:pic>
        <p:pic>
          <p:nvPicPr>
            <p:cNvPr id="1044" name="Picture 4" descr="upload.wikimedia.org/wikipedia/en/0/0b/Unqork_c...">
              <a:extLst>
                <a:ext uri="{FF2B5EF4-FFF2-40B4-BE49-F238E27FC236}">
                  <a16:creationId xmlns:a16="http://schemas.microsoft.com/office/drawing/2014/main" id="{2BD9F73E-74F7-112A-D90A-450D30AEA8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6660" y="5628678"/>
              <a:ext cx="601587" cy="2073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5" name="Picture 1044">
              <a:extLst>
                <a:ext uri="{FF2B5EF4-FFF2-40B4-BE49-F238E27FC236}">
                  <a16:creationId xmlns:a16="http://schemas.microsoft.com/office/drawing/2014/main" id="{524DAD20-3128-A259-C47B-E1EA0AF7D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60249" y="5939358"/>
              <a:ext cx="501234" cy="224624"/>
            </a:xfrm>
            <a:prstGeom prst="rect">
              <a:avLst/>
            </a:prstGeom>
          </p:spPr>
        </p:pic>
        <p:pic>
          <p:nvPicPr>
            <p:cNvPr id="1046" name="Picture 16" descr="Image result for Quantafic logo">
              <a:extLst>
                <a:ext uri="{FF2B5EF4-FFF2-40B4-BE49-F238E27FC236}">
                  <a16:creationId xmlns:a16="http://schemas.microsoft.com/office/drawing/2014/main" id="{4FF3CB3C-8C4F-7DDE-AB1B-62D6F48C5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2392" y="6005676"/>
              <a:ext cx="679185" cy="1903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7" name="Picture 4" descr="i-exceed Appzillon Digital Banking Reviews, Ratings, &amp; Alternatives -  Gartner 2020">
              <a:extLst>
                <a:ext uri="{FF2B5EF4-FFF2-40B4-BE49-F238E27FC236}">
                  <a16:creationId xmlns:a16="http://schemas.microsoft.com/office/drawing/2014/main" id="{D98D6500-9FCE-9BDB-897B-590C0794D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7277" y="5635062"/>
              <a:ext cx="437419" cy="212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48" name="Picture 1047" descr="Logo&#10;&#10;Description automatically generated">
            <a:extLst>
              <a:ext uri="{FF2B5EF4-FFF2-40B4-BE49-F238E27FC236}">
                <a16:creationId xmlns:a16="http://schemas.microsoft.com/office/drawing/2014/main" id="{6931753E-8466-E60E-397E-D120BFD23979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854" y="5283272"/>
            <a:ext cx="595789" cy="159813"/>
          </a:xfrm>
          <a:prstGeom prst="rect">
            <a:avLst/>
          </a:prstGeom>
        </p:spPr>
      </p:pic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2CDF0664-2AD9-C833-6D83-1288532FDAD8}"/>
              </a:ext>
            </a:extLst>
          </p:cNvPr>
          <p:cNvCxnSpPr>
            <a:cxnSpLocks/>
          </p:cNvCxnSpPr>
          <p:nvPr/>
        </p:nvCxnSpPr>
        <p:spPr bwMode="auto">
          <a:xfrm>
            <a:off x="9307654" y="5233300"/>
            <a:ext cx="0" cy="725976"/>
          </a:xfrm>
          <a:prstGeom prst="line">
            <a:avLst/>
          </a:prstGeom>
          <a:ln w="6350">
            <a:solidFill>
              <a:srgbClr val="F68220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51" name="Snip Same-side Corner of Rectangle 2066">
            <a:extLst>
              <a:ext uri="{FF2B5EF4-FFF2-40B4-BE49-F238E27FC236}">
                <a16:creationId xmlns:a16="http://schemas.microsoft.com/office/drawing/2014/main" id="{E30AE3D9-D926-87BF-BAD6-D32B5F337F70}"/>
              </a:ext>
            </a:extLst>
          </p:cNvPr>
          <p:cNvSpPr/>
          <p:nvPr/>
        </p:nvSpPr>
        <p:spPr>
          <a:xfrm>
            <a:off x="9433503" y="4795410"/>
            <a:ext cx="2414578" cy="276067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TFORMS</a:t>
            </a:r>
          </a:p>
        </p:txBody>
      </p:sp>
      <p:pic>
        <p:nvPicPr>
          <p:cNvPr id="1053" name="Picture 1052">
            <a:extLst>
              <a:ext uri="{FF2B5EF4-FFF2-40B4-BE49-F238E27FC236}">
                <a16:creationId xmlns:a16="http://schemas.microsoft.com/office/drawing/2014/main" id="{66FB4F08-8895-D43B-CFA0-51DD87AE0ACD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424" y="5567659"/>
            <a:ext cx="1007241" cy="198486"/>
          </a:xfrm>
          <a:prstGeom prst="rect">
            <a:avLst/>
          </a:prstGeom>
        </p:spPr>
      </p:pic>
      <p:pic>
        <p:nvPicPr>
          <p:cNvPr id="1055" name="Picture 1054">
            <a:extLst>
              <a:ext uri="{FF2B5EF4-FFF2-40B4-BE49-F238E27FC236}">
                <a16:creationId xmlns:a16="http://schemas.microsoft.com/office/drawing/2014/main" id="{C56A705D-E1EC-8986-528C-278C803FB1B0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5970" y="5931291"/>
            <a:ext cx="633326" cy="208411"/>
          </a:xfrm>
          <a:prstGeom prst="rect">
            <a:avLst/>
          </a:prstGeom>
        </p:spPr>
      </p:pic>
      <p:pic>
        <p:nvPicPr>
          <p:cNvPr id="1057" name="Picture 1056">
            <a:extLst>
              <a:ext uri="{FF2B5EF4-FFF2-40B4-BE49-F238E27FC236}">
                <a16:creationId xmlns:a16="http://schemas.microsoft.com/office/drawing/2014/main" id="{3B628957-EF35-0C97-FFC2-ED74DDFEB3BC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2198" y="5197790"/>
            <a:ext cx="1166623" cy="218335"/>
          </a:xfrm>
          <a:prstGeom prst="rect">
            <a:avLst/>
          </a:prstGeom>
        </p:spPr>
      </p:pic>
      <p:pic>
        <p:nvPicPr>
          <p:cNvPr id="1059" name="Picture 1058">
            <a:extLst>
              <a:ext uri="{FF2B5EF4-FFF2-40B4-BE49-F238E27FC236}">
                <a16:creationId xmlns:a16="http://schemas.microsoft.com/office/drawing/2014/main" id="{0E38C211-CA6B-B21E-DC56-43C4DF8CE5C1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389" y="5167192"/>
            <a:ext cx="988389" cy="285475"/>
          </a:xfrm>
          <a:prstGeom prst="rect">
            <a:avLst/>
          </a:prstGeom>
        </p:spPr>
      </p:pic>
      <p:pic>
        <p:nvPicPr>
          <p:cNvPr id="1060" name="Picture 1059">
            <a:extLst>
              <a:ext uri="{FF2B5EF4-FFF2-40B4-BE49-F238E27FC236}">
                <a16:creationId xmlns:a16="http://schemas.microsoft.com/office/drawing/2014/main" id="{59983BF6-E534-15F0-2847-A897DBD947F7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7566" y="5556218"/>
            <a:ext cx="698295" cy="2441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A82DE9D-D18B-865C-8C0F-5AFF99AACA6A}"/>
              </a:ext>
            </a:extLst>
          </p:cNvPr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83" t="23703" r="12358" b="37023"/>
          <a:stretch/>
        </p:blipFill>
        <p:spPr>
          <a:xfrm>
            <a:off x="10974039" y="5610837"/>
            <a:ext cx="723277" cy="1621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3FE6DCF-84F1-D6EA-F3BC-41245337E2B4}"/>
              </a:ext>
            </a:extLst>
          </p:cNvPr>
          <p:cNvPicPr>
            <a:picLocks noChangeAspect="1"/>
          </p:cNvPicPr>
          <p:nvPr/>
        </p:nvPicPr>
        <p:blipFill rotWithShape="1">
          <a:blip r:embed="rId41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1" t="-8824" r="-385"/>
          <a:stretch/>
        </p:blipFill>
        <p:spPr>
          <a:xfrm>
            <a:off x="10974039" y="5967322"/>
            <a:ext cx="723277" cy="136347"/>
          </a:xfrm>
          <a:prstGeom prst="rect">
            <a:avLst/>
          </a:prstGeom>
        </p:spPr>
      </p:pic>
      <p:sp>
        <p:nvSpPr>
          <p:cNvPr id="21" name="Rectangle: Rounded Corners 189">
            <a:extLst>
              <a:ext uri="{FF2B5EF4-FFF2-40B4-BE49-F238E27FC236}">
                <a16:creationId xmlns:a16="http://schemas.microsoft.com/office/drawing/2014/main" id="{3841F28C-0C43-6973-F86F-232936D7BEF1}"/>
              </a:ext>
            </a:extLst>
          </p:cNvPr>
          <p:cNvSpPr/>
          <p:nvPr/>
        </p:nvSpPr>
        <p:spPr>
          <a:xfrm rot="10800000" flipH="1" flipV="1">
            <a:off x="334961" y="2918550"/>
            <a:ext cx="1827638" cy="324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schemeClr val="accent5">
                <a:lumMod val="40000"/>
                <a:lumOff val="60000"/>
                <a:alpha val="6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7200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ing &amp; Insurance</a:t>
            </a:r>
          </a:p>
        </p:txBody>
      </p:sp>
      <p:sp>
        <p:nvSpPr>
          <p:cNvPr id="24" name="Rectangle: Rounded Corners 189">
            <a:extLst>
              <a:ext uri="{FF2B5EF4-FFF2-40B4-BE49-F238E27FC236}">
                <a16:creationId xmlns:a16="http://schemas.microsoft.com/office/drawing/2014/main" id="{FD4CB653-CF20-D93E-8756-D2C9DC607AE6}"/>
              </a:ext>
            </a:extLst>
          </p:cNvPr>
          <p:cNvSpPr/>
          <p:nvPr/>
        </p:nvSpPr>
        <p:spPr>
          <a:xfrm rot="10800000" flipH="1" flipV="1">
            <a:off x="334962" y="3267230"/>
            <a:ext cx="1827638" cy="324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schemeClr val="accent5">
                <a:lumMod val="40000"/>
                <a:lumOff val="60000"/>
                <a:alpha val="6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7200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ital Markets</a:t>
            </a:r>
          </a:p>
        </p:txBody>
      </p:sp>
      <p:sp>
        <p:nvSpPr>
          <p:cNvPr id="26" name="Rectangle: Rounded Corners 189">
            <a:extLst>
              <a:ext uri="{FF2B5EF4-FFF2-40B4-BE49-F238E27FC236}">
                <a16:creationId xmlns:a16="http://schemas.microsoft.com/office/drawing/2014/main" id="{34571B52-5F02-3540-40B8-3E4DF51AE5F7}"/>
              </a:ext>
            </a:extLst>
          </p:cNvPr>
          <p:cNvSpPr/>
          <p:nvPr/>
        </p:nvSpPr>
        <p:spPr>
          <a:xfrm rot="10800000" flipH="1" flipV="1">
            <a:off x="334962" y="3615910"/>
            <a:ext cx="1827638" cy="324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schemeClr val="accent5">
                <a:lumMod val="40000"/>
                <a:lumOff val="60000"/>
                <a:alpha val="6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7200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 Infrastructure</a:t>
            </a:r>
          </a:p>
        </p:txBody>
      </p:sp>
      <p:sp>
        <p:nvSpPr>
          <p:cNvPr id="31" name="Rectangle: Rounded Corners 189">
            <a:extLst>
              <a:ext uri="{FF2B5EF4-FFF2-40B4-BE49-F238E27FC236}">
                <a16:creationId xmlns:a16="http://schemas.microsoft.com/office/drawing/2014/main" id="{5A285E44-1761-259C-0459-491BC37510D4}"/>
              </a:ext>
            </a:extLst>
          </p:cNvPr>
          <p:cNvSpPr/>
          <p:nvPr/>
        </p:nvSpPr>
        <p:spPr>
          <a:xfrm rot="10800000" flipH="1" flipV="1">
            <a:off x="334961" y="3964590"/>
            <a:ext cx="1827638" cy="324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schemeClr val="accent5">
                <a:lumMod val="40000"/>
                <a:lumOff val="60000"/>
                <a:alpha val="6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7200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ory Complianc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49C6B4C-7664-59AC-2485-EE40BA07D63F}"/>
              </a:ext>
            </a:extLst>
          </p:cNvPr>
          <p:cNvGrpSpPr/>
          <p:nvPr/>
        </p:nvGrpSpPr>
        <p:grpSpPr>
          <a:xfrm>
            <a:off x="2220687" y="2662192"/>
            <a:ext cx="9635314" cy="1622985"/>
            <a:chOff x="1636714" y="2253554"/>
            <a:chExt cx="10459603" cy="2044094"/>
          </a:xfrm>
        </p:grpSpPr>
        <p:sp>
          <p:nvSpPr>
            <p:cNvPr id="1028" name="Rectangle 1027">
              <a:extLst>
                <a:ext uri="{FF2B5EF4-FFF2-40B4-BE49-F238E27FC236}">
                  <a16:creationId xmlns:a16="http://schemas.microsoft.com/office/drawing/2014/main" id="{354319CF-8A29-D201-CECD-070EFC27C787}"/>
                </a:ext>
              </a:extLst>
            </p:cNvPr>
            <p:cNvSpPr/>
            <p:nvPr/>
          </p:nvSpPr>
          <p:spPr>
            <a:xfrm>
              <a:off x="1636714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igital Services</a:t>
              </a:r>
            </a:p>
          </p:txBody>
        </p:sp>
        <p:sp>
          <p:nvSpPr>
            <p:cNvPr id="1029" name="Rectangle 1028">
              <a:extLst>
                <a:ext uri="{FF2B5EF4-FFF2-40B4-BE49-F238E27FC236}">
                  <a16:creationId xmlns:a16="http://schemas.microsoft.com/office/drawing/2014/main" id="{CF313F0E-E684-9ED9-18BB-3BE78F38DB16}"/>
                </a:ext>
              </a:extLst>
            </p:cNvPr>
            <p:cNvSpPr/>
            <p:nvPr/>
          </p:nvSpPr>
          <p:spPr>
            <a:xfrm>
              <a:off x="3390235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p  Management S</a:t>
              </a: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rvices</a:t>
              </a:r>
              <a:endPara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97C4EC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0" name="Rectangle 1029">
              <a:extLst>
                <a:ext uri="{FF2B5EF4-FFF2-40B4-BE49-F238E27FC236}">
                  <a16:creationId xmlns:a16="http://schemas.microsoft.com/office/drawing/2014/main" id="{5858FDCD-DCFA-A123-620C-52EB8C79BDAE}"/>
                </a:ext>
              </a:extLst>
            </p:cNvPr>
            <p:cNvSpPr/>
            <p:nvPr/>
          </p:nvSpPr>
          <p:spPr>
            <a:xfrm>
              <a:off x="5143756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loud &amp; Infra Services</a:t>
              </a:r>
            </a:p>
          </p:txBody>
        </p:sp>
        <p:sp>
          <p:nvSpPr>
            <p:cNvPr id="1031" name="Rectangle 1030">
              <a:extLst>
                <a:ext uri="{FF2B5EF4-FFF2-40B4-BE49-F238E27FC236}">
                  <a16:creationId xmlns:a16="http://schemas.microsoft.com/office/drawing/2014/main" id="{776532E0-5D6F-0F4B-7B08-628A087927EA}"/>
                </a:ext>
              </a:extLst>
            </p:cNvPr>
            <p:cNvSpPr/>
            <p:nvPr/>
          </p:nvSpPr>
          <p:spPr>
            <a:xfrm>
              <a:off x="6897277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S Product Expertise</a:t>
              </a:r>
            </a:p>
          </p:txBody>
        </p:sp>
        <p:sp>
          <p:nvSpPr>
            <p:cNvPr id="1032" name="Rectangle 1031">
              <a:extLst>
                <a:ext uri="{FF2B5EF4-FFF2-40B4-BE49-F238E27FC236}">
                  <a16:creationId xmlns:a16="http://schemas.microsoft.com/office/drawing/2014/main" id="{3992862A-259C-16FA-B48F-9B5DBFE739FF}"/>
                </a:ext>
              </a:extLst>
            </p:cNvPr>
            <p:cNvSpPr/>
            <p:nvPr/>
          </p:nvSpPr>
          <p:spPr>
            <a:xfrm>
              <a:off x="8650798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Offerings</a:t>
              </a:r>
            </a:p>
          </p:txBody>
        </p:sp>
        <p:sp>
          <p:nvSpPr>
            <p:cNvPr id="1033" name="Rectangle 1032">
              <a:extLst>
                <a:ext uri="{FF2B5EF4-FFF2-40B4-BE49-F238E27FC236}">
                  <a16:creationId xmlns:a16="http://schemas.microsoft.com/office/drawing/2014/main" id="{DCD36196-6E2A-0723-5D39-3BD6FF7D5345}"/>
                </a:ext>
              </a:extLst>
            </p:cNvPr>
            <p:cNvSpPr/>
            <p:nvPr/>
          </p:nvSpPr>
          <p:spPr>
            <a:xfrm>
              <a:off x="10404317" y="2253554"/>
              <a:ext cx="1692000" cy="3068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97C4EC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terprise Solutions</a:t>
              </a:r>
            </a:p>
          </p:txBody>
        </p:sp>
        <p:sp>
          <p:nvSpPr>
            <p:cNvPr id="1034" name="Rectangle: Rounded Corners 189">
              <a:extLst>
                <a:ext uri="{FF2B5EF4-FFF2-40B4-BE49-F238E27FC236}">
                  <a16:creationId xmlns:a16="http://schemas.microsoft.com/office/drawing/2014/main" id="{55E8DBF2-451F-6C6E-89AA-D9581970B28D}"/>
                </a:ext>
              </a:extLst>
            </p:cNvPr>
            <p:cNvSpPr/>
            <p:nvPr/>
          </p:nvSpPr>
          <p:spPr>
            <a:xfrm rot="10800000" flipH="1" flipV="1">
              <a:off x="1636715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I &amp; Microservice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bility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&amp; Analytic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ternet of Thing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I &amp; Cognitiv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telligent RPA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igital Integration</a:t>
              </a:r>
            </a:p>
          </p:txBody>
        </p:sp>
        <p:sp>
          <p:nvSpPr>
            <p:cNvPr id="1035" name="Rectangle: Rounded Corners 189">
              <a:extLst>
                <a:ext uri="{FF2B5EF4-FFF2-40B4-BE49-F238E27FC236}">
                  <a16:creationId xmlns:a16="http://schemas.microsoft.com/office/drawing/2014/main" id="{37413EAD-61FE-F8AA-C901-F77C54040C17}"/>
                </a:ext>
              </a:extLst>
            </p:cNvPr>
            <p:cNvSpPr/>
            <p:nvPr/>
          </p:nvSpPr>
          <p:spPr>
            <a:xfrm rot="10800000" flipH="1" flipV="1">
              <a:off x="3390235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ice &amp; Business Desk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p L1/L2/L3 Support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W &amp; STE Support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RE, DevOps Engineering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BA &amp; Command Centr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ISO &amp; Infra Support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esting Advisory, managed service, test lab</a:t>
              </a:r>
            </a:p>
          </p:txBody>
        </p:sp>
        <p:sp>
          <p:nvSpPr>
            <p:cNvPr id="1036" name="Rectangle: Rounded Corners 189">
              <a:extLst>
                <a:ext uri="{FF2B5EF4-FFF2-40B4-BE49-F238E27FC236}">
                  <a16:creationId xmlns:a16="http://schemas.microsoft.com/office/drawing/2014/main" id="{CD3533FC-41E2-6F41-45BC-3B4AEB6A16D3}"/>
                </a:ext>
              </a:extLst>
            </p:cNvPr>
            <p:cNvSpPr/>
            <p:nvPr/>
          </p:nvSpPr>
          <p:spPr>
            <a:xfrm rot="10800000" flipH="1" flipV="1">
              <a:off x="6897275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alypso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unguard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Front Arena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urex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loomberg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harles River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mart Stream TLM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ultifonds / Temeno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ckcreek, Guidewire</a:t>
              </a:r>
            </a:p>
          </p:txBody>
        </p:sp>
        <p:sp>
          <p:nvSpPr>
            <p:cNvPr id="1037" name="Rectangle: Rounded Corners 189">
              <a:extLst>
                <a:ext uri="{FF2B5EF4-FFF2-40B4-BE49-F238E27FC236}">
                  <a16:creationId xmlns:a16="http://schemas.microsoft.com/office/drawing/2014/main" id="{3158D3DC-9A54-B768-3CCD-1DC01E9B4B89}"/>
                </a:ext>
              </a:extLst>
            </p:cNvPr>
            <p:cNvSpPr/>
            <p:nvPr/>
          </p:nvSpPr>
          <p:spPr>
            <a:xfrm rot="10800000" flipH="1" flipV="1">
              <a:off x="5143755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terprise IT Infra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igital Workplac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loud Iaa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ross Functional Service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iceNow</a:t>
              </a:r>
            </a:p>
          </p:txBody>
        </p:sp>
        <p:sp>
          <p:nvSpPr>
            <p:cNvPr id="1038" name="Rectangle: Rounded Corners 189">
              <a:extLst>
                <a:ext uri="{FF2B5EF4-FFF2-40B4-BE49-F238E27FC236}">
                  <a16:creationId xmlns:a16="http://schemas.microsoft.com/office/drawing/2014/main" id="{B3570904-BCEE-862A-D639-92BF767E3762}"/>
                </a:ext>
              </a:extLst>
            </p:cNvPr>
            <p:cNvSpPr/>
            <p:nvPr/>
          </p:nvSpPr>
          <p:spPr>
            <a:xfrm rot="10800000" flipH="1" flipV="1">
              <a:off x="10404317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esforc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nowflak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WS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racl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icrosoft Dynamics 365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BM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ga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BCD9F3">
                    <a:lumMod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2" name="Rectangle: Rounded Corners 189">
              <a:extLst>
                <a:ext uri="{FF2B5EF4-FFF2-40B4-BE49-F238E27FC236}">
                  <a16:creationId xmlns:a16="http://schemas.microsoft.com/office/drawing/2014/main" id="{CEDA7484-6D18-CC10-0FB5-F3F60A535CD1}"/>
                </a:ext>
              </a:extLst>
            </p:cNvPr>
            <p:cNvSpPr/>
            <p:nvPr/>
          </p:nvSpPr>
          <p:spPr>
            <a:xfrm rot="10800000" flipH="1" flipV="1">
              <a:off x="8650795" y="2587126"/>
              <a:ext cx="1692000" cy="1710522"/>
            </a:xfrm>
            <a:prstGeom prst="roundRect">
              <a:avLst>
                <a:gd name="adj" fmla="val 8995"/>
              </a:avLst>
            </a:pr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Governanc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Lineag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Lake &amp; Catalogue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Quality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eta Data Management</a:t>
              </a:r>
            </a:p>
            <a:p>
              <a:pPr marL="88900" marR="0" lvl="0" indent="-889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BCD9F3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Privacy</a:t>
              </a:r>
            </a:p>
          </p:txBody>
        </p:sp>
      </p:grpSp>
      <p:pic>
        <p:nvPicPr>
          <p:cNvPr id="52" name="Graphic 51" descr="Bank with solid fill">
            <a:extLst>
              <a:ext uri="{FF2B5EF4-FFF2-40B4-BE49-F238E27FC236}">
                <a16:creationId xmlns:a16="http://schemas.microsoft.com/office/drawing/2014/main" id="{90E8A82C-3F8F-095A-96DC-750162CC62A1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396149" y="2916084"/>
            <a:ext cx="313697" cy="313697"/>
          </a:xfrm>
          <a:prstGeom prst="rect">
            <a:avLst/>
          </a:prstGeom>
        </p:spPr>
      </p:pic>
      <p:pic>
        <p:nvPicPr>
          <p:cNvPr id="61" name="Graphic 60" descr="Treasure chest with solid fill">
            <a:extLst>
              <a:ext uri="{FF2B5EF4-FFF2-40B4-BE49-F238E27FC236}">
                <a16:creationId xmlns:a16="http://schemas.microsoft.com/office/drawing/2014/main" id="{3459DF4A-9FD8-542F-04E9-82E35BAAD368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396149" y="3265312"/>
            <a:ext cx="313697" cy="313697"/>
          </a:xfrm>
          <a:prstGeom prst="rect">
            <a:avLst/>
          </a:prstGeom>
        </p:spPr>
      </p:pic>
      <p:pic>
        <p:nvPicPr>
          <p:cNvPr id="63" name="Graphic 62" descr="Bar graph with upward trend with solid fill">
            <a:extLst>
              <a:ext uri="{FF2B5EF4-FFF2-40B4-BE49-F238E27FC236}">
                <a16:creationId xmlns:a16="http://schemas.microsoft.com/office/drawing/2014/main" id="{68440499-304B-DCFC-E6F2-4EF9AA3C0D51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396149" y="3614540"/>
            <a:ext cx="313697" cy="313697"/>
          </a:xfrm>
          <a:prstGeom prst="rect">
            <a:avLst/>
          </a:prstGeom>
        </p:spPr>
      </p:pic>
      <p:pic>
        <p:nvPicPr>
          <p:cNvPr id="1026" name="Graphic 1025" descr="Shield Tick with solid fill">
            <a:extLst>
              <a:ext uri="{FF2B5EF4-FFF2-40B4-BE49-F238E27FC236}">
                <a16:creationId xmlns:a16="http://schemas.microsoft.com/office/drawing/2014/main" id="{A5BC5652-A861-F428-A621-540E460215D7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rcRect/>
          <a:stretch/>
        </p:blipFill>
        <p:spPr>
          <a:xfrm>
            <a:off x="396149" y="3963768"/>
            <a:ext cx="313697" cy="31369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E8F1A7A-3C74-7E9E-B037-1AA20BA5EAA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439" y="5155177"/>
            <a:ext cx="639142" cy="471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21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189">
            <a:extLst>
              <a:ext uri="{FF2B5EF4-FFF2-40B4-BE49-F238E27FC236}">
                <a16:creationId xmlns:a16="http://schemas.microsoft.com/office/drawing/2014/main" id="{2F22106A-4D61-2322-61D5-C773A16F5D7A}"/>
              </a:ext>
            </a:extLst>
          </p:cNvPr>
          <p:cNvSpPr/>
          <p:nvPr/>
        </p:nvSpPr>
        <p:spPr>
          <a:xfrm rot="10800000" flipH="1" flipV="1">
            <a:off x="547319" y="1084709"/>
            <a:ext cx="7214836" cy="1848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: Rounded Corners 189">
            <a:extLst>
              <a:ext uri="{FF2B5EF4-FFF2-40B4-BE49-F238E27FC236}">
                <a16:creationId xmlns:a16="http://schemas.microsoft.com/office/drawing/2014/main" id="{0EED33C2-11E6-3630-E921-7DBCAEEBD034}"/>
              </a:ext>
            </a:extLst>
          </p:cNvPr>
          <p:cNvSpPr/>
          <p:nvPr/>
        </p:nvSpPr>
        <p:spPr>
          <a:xfrm rot="10800000" flipH="1" flipV="1">
            <a:off x="538395" y="823245"/>
            <a:ext cx="7223760" cy="274320"/>
          </a:xfrm>
          <a:prstGeom prst="round2SameRect">
            <a:avLst/>
          </a:prstGeom>
          <a:solidFill>
            <a:srgbClr val="14488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cs typeface="Calibri Light" panose="020F0302020204030204" pitchFamily="34" charset="0"/>
              </a:rPr>
              <a:t>What we bring to the t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1E5E3C-705F-4DE4-90C7-556330CAB866}"/>
              </a:ext>
            </a:extLst>
          </p:cNvPr>
          <p:cNvSpPr txBox="1"/>
          <p:nvPr/>
        </p:nvSpPr>
        <p:spPr>
          <a:xfrm>
            <a:off x="744273" y="1136671"/>
            <a:ext cx="300959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457200" algn="ctr" defTabSz="1219140" fontAlgn="base">
              <a:spcBef>
                <a:spcPts val="20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144885"/>
                </a:solidFill>
                <a:latin typeface="Trebuchet MS" panose="020B0603020202020204" pitchFamily="34" charset="0"/>
                <a:ea typeface="ヒラギノ角ゴ Pro W3" pitchFamily="124" charset="-128"/>
              </a:rPr>
              <a:t>Specialized Services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D9797D9-6214-F0FC-723C-2BF3BFE0446F}"/>
              </a:ext>
            </a:extLst>
          </p:cNvPr>
          <p:cNvCxnSpPr>
            <a:cxnSpLocks/>
          </p:cNvCxnSpPr>
          <p:nvPr/>
        </p:nvCxnSpPr>
        <p:spPr>
          <a:xfrm>
            <a:off x="713983" y="1417660"/>
            <a:ext cx="300959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BAB6EEF-4274-4B7C-3839-65F19531F5F3}"/>
              </a:ext>
            </a:extLst>
          </p:cNvPr>
          <p:cNvSpPr txBox="1"/>
          <p:nvPr/>
        </p:nvSpPr>
        <p:spPr>
          <a:xfrm>
            <a:off x="707007" y="1449251"/>
            <a:ext cx="3220039" cy="1518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Core Platform Modernization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Product 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Implementation &amp; Data Migration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ヒラギノ角ゴ Pro W3" pitchFamily="124" charset="-128"/>
              <a:cs typeface="Calibri" panose="020F0502020204030204" pitchFamily="34" charset="0"/>
            </a:endParaRP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Investor Journey Transformation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Advisor Experience Transformation</a:t>
            </a:r>
          </a:p>
          <a:p>
            <a:pPr marL="171446" marR="0" lvl="1" indent="-171446" algn="l" defTabSz="121914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Regulatory Reporting, Financial Crime and AML</a:t>
            </a:r>
          </a:p>
          <a:p>
            <a:pPr marL="171446" marR="0" lvl="1" indent="-171446" algn="l" defTabSz="121914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ESG Risk and Reporting</a:t>
            </a:r>
          </a:p>
          <a:p>
            <a:pPr marL="171446" marR="0" lvl="1" indent="-171446" algn="l" defTabSz="121914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Business Operations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Advisory &amp; domain consulting, e.g., Build vs Buy, Business Case develop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896D7A-4304-661A-94CF-6A5A26060EED}"/>
              </a:ext>
            </a:extLst>
          </p:cNvPr>
          <p:cNvSpPr txBox="1"/>
          <p:nvPr/>
        </p:nvSpPr>
        <p:spPr>
          <a:xfrm>
            <a:off x="3934433" y="1136671"/>
            <a:ext cx="364569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1219140" fontAlgn="base">
              <a:spcBef>
                <a:spcPts val="20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144885"/>
                </a:solidFill>
                <a:latin typeface="Trebuchet MS" panose="020B0603020202020204" pitchFamily="34" charset="0"/>
                <a:ea typeface="ヒラギノ角ゴ Pro W3" pitchFamily="124" charset="-128"/>
              </a:rPr>
              <a:t>15+ Solutions &amp; Accelerators inclu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91C38F-C63D-10FD-3AA5-95F30C9E97FE}"/>
              </a:ext>
            </a:extLst>
          </p:cNvPr>
          <p:cNvCxnSpPr>
            <a:cxnSpLocks/>
          </p:cNvCxnSpPr>
          <p:nvPr/>
        </p:nvCxnSpPr>
        <p:spPr>
          <a:xfrm>
            <a:off x="3975092" y="1417660"/>
            <a:ext cx="364577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4FDE061-4F2F-6C71-F5B6-1B181C8F6F9B}"/>
              </a:ext>
            </a:extLst>
          </p:cNvPr>
          <p:cNvSpPr txBox="1"/>
          <p:nvPr/>
        </p:nvSpPr>
        <p:spPr>
          <a:xfrm>
            <a:off x="4053432" y="1449252"/>
            <a:ext cx="2760833" cy="1441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Wealth Management as a Service (Wealth 360) - </a:t>
            </a: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WealthDecisions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®, </a:t>
            </a: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Wealthlink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, </a:t>
            </a: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Wealthdocs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, </a:t>
            </a: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dCCM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 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ESG &amp; Portfolio Analytics powered by </a:t>
            </a: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Lumin</a:t>
            </a:r>
            <a:endParaRPr lang="en-US" sz="900" kern="0">
              <a:solidFill>
                <a:srgbClr val="000000"/>
              </a:solidFill>
              <a:latin typeface="Trebuchet MS" panose="020B0603020202020204" pitchFamily="34" charset="0"/>
              <a:ea typeface="ヒラギノ角ゴ Pro W3" pitchFamily="124" charset="-128"/>
              <a:cs typeface="Calibri" panose="020F0502020204030204" pitchFamily="34" charset="0"/>
            </a:endParaRP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 err="1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Fosfor</a:t>
            </a: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 for AWM, ESG Reporting, Risk Modeling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Quantum AI powered Portfolio Optimization, Fraud detection</a:t>
            </a:r>
          </a:p>
          <a:p>
            <a:pPr marL="171446" lvl="1" indent="-171446" defTabSz="121914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kern="0">
                <a:solidFill>
                  <a:srgbClr val="000000"/>
                </a:solidFill>
                <a:latin typeface="Trebuchet MS" panose="020B0603020202020204" pitchFamily="34" charset="0"/>
                <a:ea typeface="ヒラギノ角ゴ Pro W3" pitchFamily="124" charset="-128"/>
                <a:cs typeface="Calibri" panose="020F0502020204030204" pitchFamily="34" charset="0"/>
              </a:rPr>
              <a:t>Metaverse concept for wealth mgmt. use cas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191A26-4912-CB56-7454-743D336B4D06}"/>
              </a:ext>
            </a:extLst>
          </p:cNvPr>
          <p:cNvSpPr txBox="1"/>
          <p:nvPr/>
        </p:nvSpPr>
        <p:spPr>
          <a:xfrm>
            <a:off x="2823614" y="3429000"/>
            <a:ext cx="242844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algn="ctr" fontAlgn="base">
              <a:spcBef>
                <a:spcPct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latin typeface="Trebuchet MS" panose="020B0603020202020204" pitchFamily="34" charset="0"/>
              </a:rPr>
              <a:t>Capital Markets &amp; Asset Management specific strong innovation and partner ecosystem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A1AFB7-A737-B378-30BA-4B714FBE3B45}"/>
              </a:ext>
            </a:extLst>
          </p:cNvPr>
          <p:cNvSpPr txBox="1"/>
          <p:nvPr/>
        </p:nvSpPr>
        <p:spPr>
          <a:xfrm>
            <a:off x="5435858" y="3429000"/>
            <a:ext cx="224184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</a:rPr>
              <a:t>Building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</a:rPr>
              <a:t> market-leading IPs and Platforms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</a:rPr>
              <a:t>for insights and extract the most from data-to-decisions value chain</a:t>
            </a:r>
          </a:p>
        </p:txBody>
      </p:sp>
      <p:sp>
        <p:nvSpPr>
          <p:cNvPr id="14" name="Round Same Side Corner Rectangle 3">
            <a:extLst>
              <a:ext uri="{FF2B5EF4-FFF2-40B4-BE49-F238E27FC236}">
                <a16:creationId xmlns:a16="http://schemas.microsoft.com/office/drawing/2014/main" id="{F2B6A940-4219-E43D-F1BD-2B93E7B8BB27}"/>
              </a:ext>
            </a:extLst>
          </p:cNvPr>
          <p:cNvSpPr/>
          <p:nvPr/>
        </p:nvSpPr>
        <p:spPr>
          <a:xfrm rot="10800000">
            <a:off x="8273087" y="1089738"/>
            <a:ext cx="3352550" cy="1789548"/>
          </a:xfrm>
          <a:prstGeom prst="round2SameRect">
            <a:avLst>
              <a:gd name="adj1" fmla="val 7245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15" name="Rounded Rectangle 29">
            <a:extLst>
              <a:ext uri="{FF2B5EF4-FFF2-40B4-BE49-F238E27FC236}">
                <a16:creationId xmlns:a16="http://schemas.microsoft.com/office/drawing/2014/main" id="{173F7B90-1DE9-9368-82D8-E1D9D6E23510}"/>
              </a:ext>
            </a:extLst>
          </p:cNvPr>
          <p:cNvSpPr/>
          <p:nvPr/>
        </p:nvSpPr>
        <p:spPr>
          <a:xfrm>
            <a:off x="8269833" y="2150107"/>
            <a:ext cx="3359058" cy="729179"/>
          </a:xfrm>
          <a:prstGeom prst="round2SameRect">
            <a:avLst>
              <a:gd name="adj1" fmla="val 0"/>
              <a:gd name="adj2" fmla="val 13825"/>
            </a:avLst>
          </a:prstGeom>
          <a:solidFill>
            <a:srgbClr val="D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16" name="Round Same Side Corner Rectangle 9">
            <a:extLst>
              <a:ext uri="{FF2B5EF4-FFF2-40B4-BE49-F238E27FC236}">
                <a16:creationId xmlns:a16="http://schemas.microsoft.com/office/drawing/2014/main" id="{7B1588C7-24AA-935A-7403-400FCAC797F4}"/>
              </a:ext>
            </a:extLst>
          </p:cNvPr>
          <p:cNvSpPr/>
          <p:nvPr/>
        </p:nvSpPr>
        <p:spPr>
          <a:xfrm>
            <a:off x="8273086" y="832839"/>
            <a:ext cx="3352552" cy="418117"/>
          </a:xfrm>
          <a:prstGeom prst="round2SameRect">
            <a:avLst/>
          </a:prstGeom>
          <a:solidFill>
            <a:srgbClr val="1448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2C509F-A92A-D4FE-3FF4-E1835D60E3B9}"/>
              </a:ext>
            </a:extLst>
          </p:cNvPr>
          <p:cNvSpPr/>
          <p:nvPr/>
        </p:nvSpPr>
        <p:spPr>
          <a:xfrm>
            <a:off x="8263662" y="913652"/>
            <a:ext cx="3371401" cy="271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200" b="1" kern="0">
                <a:solidFill>
                  <a:srgbClr val="FEFDFD"/>
                </a:solidFill>
                <a:latin typeface="Trebuchet MS" panose="020B0603020202020204" pitchFamily="34" charset="0"/>
                <a:ea typeface="STKaiti"/>
                <a:cs typeface="Calibri" panose="020F0502020204030204" pitchFamily="34" charset="0"/>
              </a:rPr>
              <a:t>Application Dev, Support and Infrastructur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AD870F5-90AB-05FC-EEC4-4F4AC4B93B65}"/>
              </a:ext>
            </a:extLst>
          </p:cNvPr>
          <p:cNvSpPr/>
          <p:nvPr/>
        </p:nvSpPr>
        <p:spPr>
          <a:xfrm>
            <a:off x="8423096" y="2234120"/>
            <a:ext cx="30525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  <a:defRPr/>
            </a:pPr>
            <a:r>
              <a:rPr lang="en-US" sz="900">
                <a:solidFill>
                  <a:prstClr val="black"/>
                </a:solidFill>
                <a:latin typeface="Trebuchet MS" panose="020B0603020202020204" pitchFamily="34" charset="0"/>
                <a:cs typeface="Calibri Light" panose="020F0302020204030204" pitchFamily="34" charset="0"/>
              </a:rPr>
              <a:t>Successful remote transition. DevSecOps for IT lifecycle automation for 125+ applications. LTIM platform (mWatch) for Infrastructure monitoring. Metrics based fin reporting and agile based delive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ABD57E-4380-3516-CAF7-88E7723BD39C}"/>
              </a:ext>
            </a:extLst>
          </p:cNvPr>
          <p:cNvSpPr/>
          <p:nvPr/>
        </p:nvSpPr>
        <p:spPr>
          <a:xfrm>
            <a:off x="8335867" y="1289004"/>
            <a:ext cx="322699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>
                <a:solidFill>
                  <a:srgbClr val="144885"/>
                </a:solidFill>
                <a:latin typeface="Trebuchet MS" panose="020B0603020202020204" pitchFamily="34" charset="0"/>
                <a:ea typeface="STKaiti"/>
                <a:cs typeface="Calibri Light" panose="020F0302020204030204" pitchFamily="34" charset="0"/>
              </a:rPr>
              <a:t>Strategic partner across Application development &amp; support, QA, and Infrastructure driving modernization and transform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0C2789-124C-74B4-F23E-FAB8A1B514CF}"/>
              </a:ext>
            </a:extLst>
          </p:cNvPr>
          <p:cNvSpPr/>
          <p:nvPr/>
        </p:nvSpPr>
        <p:spPr>
          <a:xfrm>
            <a:off x="8132966" y="2929256"/>
            <a:ext cx="37462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STKaiti"/>
                <a:cs typeface="Calibri" panose="020F0502020204030204" pitchFamily="34" charset="0"/>
              </a:rPr>
              <a:t>80% </a:t>
            </a:r>
            <a:r>
              <a:rPr lang="en-US" sz="1100">
                <a:latin typeface="Trebuchet MS" panose="020B0603020202020204" pitchFamily="34" charset="0"/>
                <a:cs typeface="Arial" panose="020B0604020202020204" pitchFamily="34" charset="0"/>
              </a:rPr>
              <a:t>increase in Test Automation coverage;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prstClr val="black"/>
                </a:solidFill>
                <a:latin typeface="Trebuchet MS" panose="020B0603020202020204" pitchFamily="34" charset="0"/>
                <a:ea typeface="STKaiti"/>
                <a:cs typeface="Calibri" panose="020F0502020204030204" pitchFamily="34" charset="0"/>
              </a:rPr>
              <a:t>6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STKaiti"/>
                <a:cs typeface="Calibri" panose="020F0502020204030204" pitchFamily="34" charset="0"/>
              </a:rPr>
              <a:t>K </a:t>
            </a:r>
            <a:r>
              <a:rPr lang="en-US" sz="1100">
                <a:latin typeface="Trebuchet MS" panose="020B0603020202020204" pitchFamily="34" charset="0"/>
                <a:cs typeface="Arial" panose="020B0604020202020204" pitchFamily="34" charset="0"/>
              </a:rPr>
              <a:t>hours of effort savings YoY for infra</a:t>
            </a:r>
            <a:br>
              <a:rPr lang="en-US" sz="1100">
                <a:latin typeface="Trebuchet MS" panose="020B0603020202020204" pitchFamily="34" charset="0"/>
                <a:cs typeface="Arial" panose="020B0604020202020204" pitchFamily="34" charset="0"/>
              </a:rPr>
            </a:br>
            <a:r>
              <a:rPr lang="en-US" sz="1100">
                <a:latin typeface="Trebuchet MS" panose="020B0603020202020204" pitchFamily="34" charset="0"/>
                <a:cs typeface="Arial" panose="020B0604020202020204" pitchFamily="34" charset="0"/>
              </a:rPr>
              <a:t>First call resolution improvement from </a:t>
            </a:r>
            <a:r>
              <a:rPr lang="en-US" sz="1600" b="1">
                <a:latin typeface="Trebuchet MS" panose="020B0603020202020204" pitchFamily="34" charset="0"/>
                <a:ea typeface="STKaiti"/>
                <a:cs typeface="Calibri" panose="020F0502020204030204" pitchFamily="34" charset="0"/>
              </a:rPr>
              <a:t>52% to 70% </a:t>
            </a:r>
            <a:endParaRPr lang="en-US" sz="110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9210438-B660-53FF-4139-EC35130A547A}"/>
              </a:ext>
            </a:extLst>
          </p:cNvPr>
          <p:cNvCxnSpPr>
            <a:cxnSpLocks/>
          </p:cNvCxnSpPr>
          <p:nvPr/>
        </p:nvCxnSpPr>
        <p:spPr>
          <a:xfrm>
            <a:off x="8530063" y="1849840"/>
            <a:ext cx="2838599" cy="0"/>
          </a:xfrm>
          <a:prstGeom prst="line">
            <a:avLst/>
          </a:prstGeom>
          <a:noFill/>
          <a:ln>
            <a:solidFill>
              <a:srgbClr val="D1E4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ECC36EA-B20D-84AE-5ED5-F5BBEA150C6F}"/>
              </a:ext>
            </a:extLst>
          </p:cNvPr>
          <p:cNvSpPr/>
          <p:nvPr/>
        </p:nvSpPr>
        <p:spPr>
          <a:xfrm>
            <a:off x="8335867" y="1876968"/>
            <a:ext cx="322699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1" kern="0">
                <a:solidFill>
                  <a:srgbClr val="000000"/>
                </a:solidFill>
                <a:latin typeface="Trebuchet MS" panose="020B0603020202020204" pitchFamily="34" charset="0"/>
                <a:ea typeface="STKaiti"/>
                <a:cs typeface="Calibri Light" panose="020F0302020204030204" pitchFamily="34" charset="0"/>
              </a:rPr>
              <a:t>Global asset manager with AuM of $400 bn</a:t>
            </a:r>
          </a:p>
        </p:txBody>
      </p:sp>
      <p:sp>
        <p:nvSpPr>
          <p:cNvPr id="23" name="Round Same Side Corner Rectangle 3">
            <a:extLst>
              <a:ext uri="{FF2B5EF4-FFF2-40B4-BE49-F238E27FC236}">
                <a16:creationId xmlns:a16="http://schemas.microsoft.com/office/drawing/2014/main" id="{0CE9A9F4-C718-8AE6-B975-0E50148B3E3E}"/>
              </a:ext>
            </a:extLst>
          </p:cNvPr>
          <p:cNvSpPr/>
          <p:nvPr/>
        </p:nvSpPr>
        <p:spPr>
          <a:xfrm rot="10800000">
            <a:off x="8273087" y="4052934"/>
            <a:ext cx="3352550" cy="1789548"/>
          </a:xfrm>
          <a:prstGeom prst="round2SameRect">
            <a:avLst>
              <a:gd name="adj1" fmla="val 7245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24" name="Rounded Rectangle 29">
            <a:extLst>
              <a:ext uri="{FF2B5EF4-FFF2-40B4-BE49-F238E27FC236}">
                <a16:creationId xmlns:a16="http://schemas.microsoft.com/office/drawing/2014/main" id="{19383DF0-3FB6-296D-32B4-462A08186D68}"/>
              </a:ext>
            </a:extLst>
          </p:cNvPr>
          <p:cNvSpPr/>
          <p:nvPr/>
        </p:nvSpPr>
        <p:spPr>
          <a:xfrm>
            <a:off x="8269833" y="5113303"/>
            <a:ext cx="3359058" cy="729179"/>
          </a:xfrm>
          <a:prstGeom prst="round2SameRect">
            <a:avLst>
              <a:gd name="adj1" fmla="val 0"/>
              <a:gd name="adj2" fmla="val 13825"/>
            </a:avLst>
          </a:prstGeom>
          <a:solidFill>
            <a:srgbClr val="D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25" name="Round Same Side Corner Rectangle 9">
            <a:extLst>
              <a:ext uri="{FF2B5EF4-FFF2-40B4-BE49-F238E27FC236}">
                <a16:creationId xmlns:a16="http://schemas.microsoft.com/office/drawing/2014/main" id="{30DB6698-35DD-5562-A3A8-1179BADEA842}"/>
              </a:ext>
            </a:extLst>
          </p:cNvPr>
          <p:cNvSpPr/>
          <p:nvPr/>
        </p:nvSpPr>
        <p:spPr>
          <a:xfrm>
            <a:off x="8273086" y="3796035"/>
            <a:ext cx="3352552" cy="418117"/>
          </a:xfrm>
          <a:prstGeom prst="round2SameRect">
            <a:avLst/>
          </a:prstGeom>
          <a:solidFill>
            <a:srgbClr val="1448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STKaiti"/>
              <a:cs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FD5B939-21CC-F2FF-0471-FFA982FE9CAD}"/>
              </a:ext>
            </a:extLst>
          </p:cNvPr>
          <p:cNvSpPr/>
          <p:nvPr/>
        </p:nvSpPr>
        <p:spPr>
          <a:xfrm>
            <a:off x="8272522" y="3865947"/>
            <a:ext cx="3371401" cy="271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tform Develop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695F7C7-7781-CF83-797B-271527503751}"/>
              </a:ext>
            </a:extLst>
          </p:cNvPr>
          <p:cNvSpPr/>
          <p:nvPr/>
        </p:nvSpPr>
        <p:spPr>
          <a:xfrm>
            <a:off x="8335867" y="5115735"/>
            <a:ext cx="3226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prstClr val="black"/>
                </a:solidFill>
                <a:latin typeface="Trebuchet MS" panose="020B0603020202020204" pitchFamily="34" charset="0"/>
                <a:cs typeface="Calibri Light" panose="020F0302020204030204" pitchFamily="34" charset="0"/>
              </a:rPr>
              <a:t>Platform modernization, build platforms &amp; portals, automation, DevOps &amp; agile frameworks</a:t>
            </a:r>
          </a:p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prstClr val="black"/>
                </a:solidFill>
                <a:latin typeface="Trebuchet MS" panose="020B0603020202020204" pitchFamily="34" charset="0"/>
                <a:cs typeface="Calibri Light" panose="020F0302020204030204" pitchFamily="34" charset="0"/>
              </a:rPr>
              <a:t>Developed QA Automation strategy for DevOps CI pipeline &amp; In-sprint Auto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DBA51D5-081D-F902-729E-9F7B8E2357E1}"/>
              </a:ext>
            </a:extLst>
          </p:cNvPr>
          <p:cNvSpPr/>
          <p:nvPr/>
        </p:nvSpPr>
        <p:spPr>
          <a:xfrm>
            <a:off x="8423096" y="4252200"/>
            <a:ext cx="30525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>
                <a:solidFill>
                  <a:srgbClr val="144885"/>
                </a:solidFill>
                <a:latin typeface="Trebuchet MS" panose="020B0603020202020204" pitchFamily="34" charset="0"/>
                <a:ea typeface="STKaiti"/>
                <a:cs typeface="Calibri Light" panose="020F0302020204030204" pitchFamily="34" charset="0"/>
              </a:rPr>
              <a:t>Building the Next-gen Multi-tenant Wealth Management Platform for Leading FinTech firm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57A6059-A647-1EF6-88E7-0EF040619870}"/>
              </a:ext>
            </a:extLst>
          </p:cNvPr>
          <p:cNvCxnSpPr>
            <a:cxnSpLocks/>
          </p:cNvCxnSpPr>
          <p:nvPr/>
        </p:nvCxnSpPr>
        <p:spPr>
          <a:xfrm>
            <a:off x="8530063" y="4701298"/>
            <a:ext cx="2838599" cy="0"/>
          </a:xfrm>
          <a:prstGeom prst="line">
            <a:avLst/>
          </a:prstGeom>
          <a:noFill/>
          <a:ln>
            <a:solidFill>
              <a:srgbClr val="D1E4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4933397E-023A-5D67-F520-68F52D7DAA5D}"/>
              </a:ext>
            </a:extLst>
          </p:cNvPr>
          <p:cNvSpPr/>
          <p:nvPr/>
        </p:nvSpPr>
        <p:spPr>
          <a:xfrm>
            <a:off x="8335867" y="4772864"/>
            <a:ext cx="322699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defTabSz="914356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1" kern="0">
                <a:solidFill>
                  <a:srgbClr val="000000"/>
                </a:solidFill>
                <a:latin typeface="Trebuchet MS" panose="020B0603020202020204" pitchFamily="34" charset="0"/>
                <a:ea typeface="STKaiti"/>
                <a:cs typeface="Calibri Light" panose="020F0302020204030204" pitchFamily="34" charset="0"/>
              </a:rPr>
              <a:t>A global Fintech leader</a:t>
            </a:r>
          </a:p>
        </p:txBody>
      </p:sp>
      <p:sp>
        <p:nvSpPr>
          <p:cNvPr id="31" name="Rectangle: Rounded Corners 189">
            <a:extLst>
              <a:ext uri="{FF2B5EF4-FFF2-40B4-BE49-F238E27FC236}">
                <a16:creationId xmlns:a16="http://schemas.microsoft.com/office/drawing/2014/main" id="{6AB4042D-E046-B38A-8DA5-C8B45A1D11EF}"/>
              </a:ext>
            </a:extLst>
          </p:cNvPr>
          <p:cNvSpPr/>
          <p:nvPr/>
        </p:nvSpPr>
        <p:spPr>
          <a:xfrm rot="10800000" flipH="1" flipV="1">
            <a:off x="538395" y="3106812"/>
            <a:ext cx="7223760" cy="274320"/>
          </a:xfrm>
          <a:prstGeom prst="round2SameRect">
            <a:avLst/>
          </a:prstGeom>
          <a:solidFill>
            <a:srgbClr val="D6DEE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cs typeface="Calibri Light" panose="020F0302020204030204" pitchFamily="34" charset="0"/>
              </a:rPr>
              <a:t>What makes us uniqu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604B0AB-21AB-4474-F069-D1FE1011424D}"/>
              </a:ext>
            </a:extLst>
          </p:cNvPr>
          <p:cNvCxnSpPr>
            <a:cxnSpLocks/>
          </p:cNvCxnSpPr>
          <p:nvPr/>
        </p:nvCxnSpPr>
        <p:spPr>
          <a:xfrm>
            <a:off x="5425037" y="3490743"/>
            <a:ext cx="0" cy="161789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4395897-D85E-1DD7-0C93-B1894EFBC064}"/>
              </a:ext>
            </a:extLst>
          </p:cNvPr>
          <p:cNvCxnSpPr>
            <a:cxnSpLocks/>
          </p:cNvCxnSpPr>
          <p:nvPr/>
        </p:nvCxnSpPr>
        <p:spPr>
          <a:xfrm>
            <a:off x="2698402" y="3490743"/>
            <a:ext cx="0" cy="161789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: Rounded Corners 189">
            <a:extLst>
              <a:ext uri="{FF2B5EF4-FFF2-40B4-BE49-F238E27FC236}">
                <a16:creationId xmlns:a16="http://schemas.microsoft.com/office/drawing/2014/main" id="{D0AD35F5-CAA3-9DF9-DDAC-1CD38B616998}"/>
              </a:ext>
            </a:extLst>
          </p:cNvPr>
          <p:cNvSpPr/>
          <p:nvPr/>
        </p:nvSpPr>
        <p:spPr>
          <a:xfrm rot="10800000" flipH="1" flipV="1">
            <a:off x="538395" y="5356302"/>
            <a:ext cx="7223760" cy="2743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cs typeface="Calibri Light" panose="020F0302020204030204" pitchFamily="34" charset="0"/>
              </a:rPr>
              <a:t>Industry Recognitions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1858AA52-C83A-6006-76F3-EB85946955A5}"/>
              </a:ext>
            </a:extLst>
          </p:cNvPr>
          <p:cNvSpPr/>
          <p:nvPr/>
        </p:nvSpPr>
        <p:spPr>
          <a:xfrm rot="5400000" flipH="1">
            <a:off x="6000169" y="3382448"/>
            <a:ext cx="4023360" cy="253203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DC612AD-1D9B-1E0F-93F6-F193A60E2979}"/>
              </a:ext>
            </a:extLst>
          </p:cNvPr>
          <p:cNvGrpSpPr/>
          <p:nvPr/>
        </p:nvGrpSpPr>
        <p:grpSpPr>
          <a:xfrm>
            <a:off x="8423095" y="2947588"/>
            <a:ext cx="3052534" cy="58628"/>
            <a:chOff x="3440449" y="1297831"/>
            <a:chExt cx="1679042" cy="53502"/>
          </a:xfrm>
          <a:solidFill>
            <a:srgbClr val="144885"/>
          </a:solidFill>
        </p:grpSpPr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4DEC54AC-DBCD-A4CE-59B1-887FB2E6755A}"/>
                </a:ext>
              </a:extLst>
            </p:cNvPr>
            <p:cNvSpPr/>
            <p:nvPr/>
          </p:nvSpPr>
          <p:spPr>
            <a:xfrm flipV="1">
              <a:off x="4199659" y="1305614"/>
              <a:ext cx="160623" cy="45719"/>
            </a:xfrm>
            <a:prstGeom prst="triangle">
              <a:avLst/>
            </a:prstGeom>
            <a:grpFill/>
            <a:ln>
              <a:solidFill>
                <a:srgbClr val="1448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17B014A-3F0A-F1EA-C47C-922A4584399F}"/>
                </a:ext>
              </a:extLst>
            </p:cNvPr>
            <p:cNvCxnSpPr>
              <a:cxnSpLocks/>
            </p:cNvCxnSpPr>
            <p:nvPr/>
          </p:nvCxnSpPr>
          <p:spPr>
            <a:xfrm>
              <a:off x="3440449" y="1297831"/>
              <a:ext cx="1679042" cy="0"/>
            </a:xfrm>
            <a:prstGeom prst="line">
              <a:avLst/>
            </a:prstGeom>
            <a:grpFill/>
            <a:ln>
              <a:solidFill>
                <a:srgbClr val="1448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9E50EA-D0EF-B2CF-4979-2CA418BF2AF5}"/>
              </a:ext>
            </a:extLst>
          </p:cNvPr>
          <p:cNvGrpSpPr/>
          <p:nvPr/>
        </p:nvGrpSpPr>
        <p:grpSpPr>
          <a:xfrm>
            <a:off x="8423095" y="5897786"/>
            <a:ext cx="3052534" cy="58628"/>
            <a:chOff x="3440449" y="1297831"/>
            <a:chExt cx="1679042" cy="53502"/>
          </a:xfrm>
          <a:solidFill>
            <a:srgbClr val="144885"/>
          </a:solidFill>
        </p:grpSpPr>
        <p:sp>
          <p:nvSpPr>
            <p:cNvPr id="40" name="Isosceles Triangle 39">
              <a:extLst>
                <a:ext uri="{FF2B5EF4-FFF2-40B4-BE49-F238E27FC236}">
                  <a16:creationId xmlns:a16="http://schemas.microsoft.com/office/drawing/2014/main" id="{2D9A9091-99B9-F43F-9E67-80FC5337CA0F}"/>
                </a:ext>
              </a:extLst>
            </p:cNvPr>
            <p:cNvSpPr/>
            <p:nvPr/>
          </p:nvSpPr>
          <p:spPr>
            <a:xfrm flipV="1">
              <a:off x="4199659" y="1305614"/>
              <a:ext cx="160623" cy="45719"/>
            </a:xfrm>
            <a:prstGeom prst="triangle">
              <a:avLst/>
            </a:prstGeom>
            <a:grpFill/>
            <a:ln>
              <a:solidFill>
                <a:srgbClr val="1448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29513D5D-B565-4367-3803-CF9CCA43CE8E}"/>
                </a:ext>
              </a:extLst>
            </p:cNvPr>
            <p:cNvCxnSpPr>
              <a:cxnSpLocks/>
            </p:cNvCxnSpPr>
            <p:nvPr/>
          </p:nvCxnSpPr>
          <p:spPr>
            <a:xfrm>
              <a:off x="3440449" y="1297831"/>
              <a:ext cx="1679042" cy="0"/>
            </a:xfrm>
            <a:prstGeom prst="line">
              <a:avLst/>
            </a:prstGeom>
            <a:grpFill/>
            <a:ln>
              <a:solidFill>
                <a:srgbClr val="1448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39535031-AD14-19E7-2681-3982BCC195E5}"/>
              </a:ext>
            </a:extLst>
          </p:cNvPr>
          <p:cNvSpPr txBox="1"/>
          <p:nvPr/>
        </p:nvSpPr>
        <p:spPr>
          <a:xfrm>
            <a:off x="598516" y="3429000"/>
            <a:ext cx="198296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fontAlgn="base">
              <a:spcBef>
                <a:spcPct val="0"/>
              </a:spcBef>
              <a:spcAft>
                <a:spcPts val="3600"/>
              </a:spcAft>
              <a:buClrTx/>
              <a:buSzTx/>
              <a:buFontTx/>
              <a:buNone/>
              <a:tabLst/>
              <a:defRPr sz="1050" b="1">
                <a:latin typeface="Trebuchet MS" panose="020B0603020202020204" pitchFamily="34" charset="0"/>
              </a:defRPr>
            </a:lvl1pPr>
          </a:lstStyle>
          <a:p>
            <a:r>
              <a:rPr lang="en-US"/>
              <a:t>Strong expertise in the next-gen capital markets platforms</a:t>
            </a:r>
          </a:p>
        </p:txBody>
      </p:sp>
      <p:sp>
        <p:nvSpPr>
          <p:cNvPr id="43" name="object 3">
            <a:extLst>
              <a:ext uri="{FF2B5EF4-FFF2-40B4-BE49-F238E27FC236}">
                <a16:creationId xmlns:a16="http://schemas.microsoft.com/office/drawing/2014/main" id="{912CD0EF-A6B5-E3CB-8281-2A8CB327ED65}"/>
              </a:ext>
            </a:extLst>
          </p:cNvPr>
          <p:cNvSpPr txBox="1"/>
          <p:nvPr/>
        </p:nvSpPr>
        <p:spPr>
          <a:xfrm>
            <a:off x="1139570" y="5769440"/>
            <a:ext cx="1926905" cy="40332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er Typo" panose="020B05030303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5020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Recognized as ‘Major Contender’ and ‘Star Performer’ for Banking and Capital Markets in 2022</a:t>
            </a:r>
            <a:endParaRPr kumimoji="0" lang="en-US" sz="1050" b="1" i="0" u="none" strike="noStrike" kern="0" cap="none" spc="0" normalizeH="0" baseline="0" noProof="0">
              <a:ln>
                <a:noFill/>
              </a:ln>
              <a:solidFill>
                <a:srgbClr val="050206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A3BEB837-0E5D-E498-AED1-ADAF7810AC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7058" y="5851628"/>
            <a:ext cx="631547" cy="26651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3392DDF-DECD-8A2D-D8A3-2E1F37D69D63}"/>
              </a:ext>
            </a:extLst>
          </p:cNvPr>
          <p:cNvSpPr txBox="1"/>
          <p:nvPr/>
        </p:nvSpPr>
        <p:spPr>
          <a:xfrm>
            <a:off x="3444582" y="5696343"/>
            <a:ext cx="1827140" cy="57708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5020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anked #1 in Formidable Challengers for Capital Markets 2022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09EE7E9B-D517-AA2B-2C4C-09715AA6A6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80446" y="5854078"/>
            <a:ext cx="387317" cy="261610"/>
          </a:xfrm>
          <a:prstGeom prst="rect">
            <a:avLst/>
          </a:prstGeom>
        </p:spPr>
      </p:pic>
      <p:pic>
        <p:nvPicPr>
          <p:cNvPr id="47" name="Picture 2" descr="LTI Canvas | Modern Software Engineering Platform">
            <a:extLst>
              <a:ext uri="{FF2B5EF4-FFF2-40B4-BE49-F238E27FC236}">
                <a16:creationId xmlns:a16="http://schemas.microsoft.com/office/drawing/2014/main" id="{9FFDFF52-2DA5-13D5-C5EE-DB1662B048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305" t="-1267" b="-1"/>
          <a:stretch/>
        </p:blipFill>
        <p:spPr bwMode="auto">
          <a:xfrm>
            <a:off x="5742139" y="4481886"/>
            <a:ext cx="759453" cy="190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Fosfor | Data Commerce for the Unlimited Enterprise">
            <a:extLst>
              <a:ext uri="{FF2B5EF4-FFF2-40B4-BE49-F238E27FC236}">
                <a16:creationId xmlns:a16="http://schemas.microsoft.com/office/drawing/2014/main" id="{23437571-66FE-66FB-4199-82FB954A4F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42020"/>
          <a:stretch/>
        </p:blipFill>
        <p:spPr bwMode="auto">
          <a:xfrm>
            <a:off x="6635743" y="4447352"/>
            <a:ext cx="844866" cy="23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3229323-0A6B-38A8-30C0-9EF1CCC92A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0402" y="4151045"/>
            <a:ext cx="458625" cy="240028"/>
          </a:xfrm>
          <a:prstGeom prst="rect">
            <a:avLst/>
          </a:prstGeom>
        </p:spPr>
      </p:pic>
      <p:pic>
        <p:nvPicPr>
          <p:cNvPr id="50" name="Picture 2" descr="GoldenSource - Wikipedia">
            <a:extLst>
              <a:ext uri="{FF2B5EF4-FFF2-40B4-BE49-F238E27FC236}">
                <a16:creationId xmlns:a16="http://schemas.microsoft.com/office/drawing/2014/main" id="{0A94F16F-582E-7DA5-B75B-F7D2FEC759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036" y="4083082"/>
            <a:ext cx="701375" cy="260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Bridgeweave - The Wealth Mosaic">
            <a:extLst>
              <a:ext uri="{FF2B5EF4-FFF2-40B4-BE49-F238E27FC236}">
                <a16:creationId xmlns:a16="http://schemas.microsoft.com/office/drawing/2014/main" id="{A21E7D71-D4FF-0BD2-6EF8-D3773865E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920" y="4442065"/>
            <a:ext cx="930204" cy="244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8" descr="Image result for credquant logo">
            <a:extLst>
              <a:ext uri="{FF2B5EF4-FFF2-40B4-BE49-F238E27FC236}">
                <a16:creationId xmlns:a16="http://schemas.microsoft.com/office/drawing/2014/main" id="{D9C57B5D-FC61-C8FF-B861-DB04D1866F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41" b="34417"/>
          <a:stretch/>
        </p:blipFill>
        <p:spPr bwMode="auto">
          <a:xfrm>
            <a:off x="4193228" y="4779468"/>
            <a:ext cx="977571" cy="280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ESG Book - We power financial markets for a sustainable future.">
            <a:extLst>
              <a:ext uri="{FF2B5EF4-FFF2-40B4-BE49-F238E27FC236}">
                <a16:creationId xmlns:a16="http://schemas.microsoft.com/office/drawing/2014/main" id="{301B0BEB-0C75-A5E0-2E1C-30F405717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845" y="4529671"/>
            <a:ext cx="680271" cy="16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F7792519-1443-BBD3-C606-50D458E022B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769" b="23359"/>
          <a:stretch/>
        </p:blipFill>
        <p:spPr>
          <a:xfrm>
            <a:off x="761537" y="4094907"/>
            <a:ext cx="744774" cy="20805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1FD6F94-1775-E622-899F-BE5B6F5A2CE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27315" y="4083250"/>
            <a:ext cx="738625" cy="28283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EDEBA9A-6A10-8221-7532-B5776E5FFB1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57458" y="4418607"/>
            <a:ext cx="738625" cy="26769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DD9CBB5-A64A-CCA4-6226-6D1286A016B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40480" y="4854607"/>
            <a:ext cx="641890" cy="217255"/>
          </a:xfrm>
          <a:prstGeom prst="rect">
            <a:avLst/>
          </a:prstGeom>
        </p:spPr>
      </p:pic>
      <p:pic>
        <p:nvPicPr>
          <p:cNvPr id="58" name="Picture 57" descr="Image result for IHS markit logo">
            <a:extLst>
              <a:ext uri="{FF2B5EF4-FFF2-40B4-BE49-F238E27FC236}">
                <a16:creationId xmlns:a16="http://schemas.microsoft.com/office/drawing/2014/main" id="{7ACA3060-1BCE-1ED7-5D3D-04F8C09D8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32" y="4335434"/>
            <a:ext cx="646410" cy="64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5125D1C-64A8-C388-5211-7B361A19234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3109" y="5014312"/>
            <a:ext cx="910102" cy="170862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A7FD611-70EC-B362-93A5-2B279823B39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63207" y="5874343"/>
            <a:ext cx="930040" cy="24317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0A91233-46FD-43CC-4FED-27060EB2688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982097" y="4844998"/>
            <a:ext cx="907524" cy="193817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3397A59A-ABBF-5C26-3201-9FC62E41A31F}"/>
              </a:ext>
            </a:extLst>
          </p:cNvPr>
          <p:cNvSpPr/>
          <p:nvPr/>
        </p:nvSpPr>
        <p:spPr>
          <a:xfrm>
            <a:off x="6902263" y="1799623"/>
            <a:ext cx="685800" cy="685800"/>
          </a:xfrm>
          <a:prstGeom prst="ellipse">
            <a:avLst/>
          </a:prstGeom>
          <a:solidFill>
            <a:srgbClr val="00488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>
                <a:solidFill>
                  <a:schemeClr val="bg1"/>
                </a:solidFill>
                <a:latin typeface="Trebuchet MS"/>
              </a:rPr>
              <a:t>6K+</a:t>
            </a:r>
          </a:p>
          <a:p>
            <a:pPr algn="ctr">
              <a:defRPr/>
            </a:pPr>
            <a:r>
              <a:rPr lang="en-IN" sz="1000" b="1">
                <a:solidFill>
                  <a:schemeClr val="bg1"/>
                </a:solidFill>
                <a:latin typeface="Trebuchet MS"/>
              </a:rPr>
              <a:t>FTEs</a:t>
            </a:r>
            <a:endParaRPr lang="en-IN" sz="1000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FC424F58-5528-3C16-092A-6265BC920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apital Markets Overview</a:t>
            </a:r>
          </a:p>
        </p:txBody>
      </p:sp>
    </p:spTree>
    <p:extLst>
      <p:ext uri="{BB962C8B-B14F-4D97-AF65-F5344CB8AC3E}">
        <p14:creationId xmlns:p14="http://schemas.microsoft.com/office/powerpoint/2010/main" val="1868169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1E71BA1-EDF0-F951-8387-41E83536CCA3}"/>
              </a:ext>
            </a:extLst>
          </p:cNvPr>
          <p:cNvCxnSpPr/>
          <p:nvPr/>
        </p:nvCxnSpPr>
        <p:spPr>
          <a:xfrm>
            <a:off x="1382367" y="2703132"/>
            <a:ext cx="912546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BBF03B2-CD4A-B3DD-CE17-4AD36C79CA33}"/>
              </a:ext>
            </a:extLst>
          </p:cNvPr>
          <p:cNvSpPr/>
          <p:nvPr/>
        </p:nvSpPr>
        <p:spPr>
          <a:xfrm>
            <a:off x="4989095" y="2559169"/>
            <a:ext cx="2089411" cy="41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BE6C4BE8-17D0-7944-E271-519968C250A7}"/>
              </a:ext>
            </a:extLst>
          </p:cNvPr>
          <p:cNvSpPr/>
          <p:nvPr/>
        </p:nvSpPr>
        <p:spPr>
          <a:xfrm>
            <a:off x="5161669" y="2509169"/>
            <a:ext cx="2041236" cy="387927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92838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t>LTIM Clientele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D4499C0-32B0-1483-44C8-2A85FFCCF613}"/>
              </a:ext>
            </a:extLst>
          </p:cNvPr>
          <p:cNvGrpSpPr/>
          <p:nvPr/>
        </p:nvGrpSpPr>
        <p:grpSpPr>
          <a:xfrm>
            <a:off x="1084500" y="1260544"/>
            <a:ext cx="2864283" cy="1115572"/>
            <a:chOff x="531815" y="993419"/>
            <a:chExt cx="3360795" cy="1206320"/>
          </a:xfrm>
        </p:grpSpPr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30B4B6AD-546F-6133-A780-742A5373A683}"/>
                </a:ext>
              </a:extLst>
            </p:cNvPr>
            <p:cNvSpPr/>
            <p:nvPr/>
          </p:nvSpPr>
          <p:spPr>
            <a:xfrm>
              <a:off x="780072" y="1072605"/>
              <a:ext cx="2864282" cy="11271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60A5E2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C0324C79-5BA5-B777-1EED-A5E93CC5C74B}"/>
                </a:ext>
              </a:extLst>
            </p:cNvPr>
            <p:cNvSpPr txBox="1"/>
            <p:nvPr/>
          </p:nvSpPr>
          <p:spPr>
            <a:xfrm>
              <a:off x="531815" y="993419"/>
              <a:ext cx="3360795" cy="10982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>
                  <a:ln>
                    <a:noFill/>
                  </a:ln>
                  <a:solidFill>
                    <a:srgbClr val="192838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3500+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92838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FTE’s working fo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ASEAN projects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F4BB5795-693D-69D0-97A1-B52459938B79}"/>
              </a:ext>
            </a:extLst>
          </p:cNvPr>
          <p:cNvGrpSpPr/>
          <p:nvPr/>
        </p:nvGrpSpPr>
        <p:grpSpPr>
          <a:xfrm>
            <a:off x="4425803" y="1260544"/>
            <a:ext cx="2864283" cy="1115572"/>
            <a:chOff x="531815" y="993419"/>
            <a:chExt cx="3360795" cy="1206320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333DD655-C1EB-51F7-9995-0A26A9070C91}"/>
                </a:ext>
              </a:extLst>
            </p:cNvPr>
            <p:cNvSpPr/>
            <p:nvPr/>
          </p:nvSpPr>
          <p:spPr>
            <a:xfrm>
              <a:off x="780072" y="1072605"/>
              <a:ext cx="2864282" cy="11271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60A5E2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DC8784B-D183-C875-0D94-7EAB0F3D56E3}"/>
                </a:ext>
              </a:extLst>
            </p:cNvPr>
            <p:cNvSpPr txBox="1"/>
            <p:nvPr/>
          </p:nvSpPr>
          <p:spPr>
            <a:xfrm>
              <a:off x="531815" y="993419"/>
              <a:ext cx="3360795" cy="10982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>
                  <a:ln>
                    <a:noFill/>
                  </a:ln>
                  <a:solidFill>
                    <a:srgbClr val="192838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250+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92838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FTE presence i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ASEAN Region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4CA131B-3AD1-2809-F03A-166970B6D195}"/>
              </a:ext>
            </a:extLst>
          </p:cNvPr>
          <p:cNvGrpSpPr/>
          <p:nvPr/>
        </p:nvGrpSpPr>
        <p:grpSpPr>
          <a:xfrm>
            <a:off x="7768836" y="1322863"/>
            <a:ext cx="2864283" cy="1042343"/>
            <a:chOff x="531814" y="1072605"/>
            <a:chExt cx="3360795" cy="1127134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C976E93-4E0F-96C4-78E2-E1F553D89BCF}"/>
                </a:ext>
              </a:extLst>
            </p:cNvPr>
            <p:cNvSpPr/>
            <p:nvPr/>
          </p:nvSpPr>
          <p:spPr>
            <a:xfrm>
              <a:off x="780072" y="1072605"/>
              <a:ext cx="2864282" cy="11271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60A5E2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A351787-1A3D-06EF-E386-C42FD45307CD}"/>
                </a:ext>
              </a:extLst>
            </p:cNvPr>
            <p:cNvSpPr txBox="1"/>
            <p:nvPr/>
          </p:nvSpPr>
          <p:spPr>
            <a:xfrm>
              <a:off x="531814" y="1112390"/>
              <a:ext cx="3360795" cy="8985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>
                  <a:ln>
                    <a:noFill/>
                  </a:ln>
                  <a:solidFill>
                    <a:srgbClr val="192838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45+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92838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+mn-cs"/>
                </a:rPr>
                <a:t>Clients</a:t>
              </a:r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033CF27C-3116-06F8-A1F8-931DED34EF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813" y="2973964"/>
            <a:ext cx="9351306" cy="332062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81E50E9-C25D-DF73-C605-CA0A7197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have a strong presence in ASEAN region too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48717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4F818-CB02-9000-2E31-03913BA37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urex Capability &amp; Success Stories</a:t>
            </a:r>
          </a:p>
        </p:txBody>
      </p:sp>
    </p:spTree>
    <p:extLst>
      <p:ext uri="{BB962C8B-B14F-4D97-AF65-F5344CB8AC3E}">
        <p14:creationId xmlns:p14="http://schemas.microsoft.com/office/powerpoint/2010/main" val="940353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C53530B3-6C50-21F2-F86F-E5CC21122F71}"/>
              </a:ext>
            </a:extLst>
          </p:cNvPr>
          <p:cNvSpPr txBox="1"/>
          <p:nvPr/>
        </p:nvSpPr>
        <p:spPr>
          <a:xfrm>
            <a:off x="0" y="2073251"/>
            <a:ext cx="12192000" cy="3999889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lvl="1" defTabSz="1219140" fontAlgn="base">
              <a:spcBef>
                <a:spcPts val="20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Segoe UI" panose="020B0502040204020203" pitchFamily="34" charset="0"/>
                <a:ea typeface="ヒラギノ角ゴ Pro W3" pitchFamily="124" charset="-128"/>
                <a:cs typeface="Segoe UI" panose="020B0502040204020203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646628-1BC1-CDB3-68E2-CED929887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</p:spPr>
        <p:txBody>
          <a:bodyPr>
            <a:noAutofit/>
          </a:bodyPr>
          <a:lstStyle/>
          <a:p>
            <a:r>
              <a:rPr lang="en-US" dirty="0"/>
              <a:t>We have setup a dedicated Banking Transformation Practice focusing on leading </a:t>
            </a:r>
            <a:br>
              <a:rPr lang="en-US" dirty="0"/>
            </a:br>
            <a:r>
              <a:rPr lang="en-US" dirty="0"/>
              <a:t>Fintech/ digital banking platform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F958C2-08B9-E8CA-3251-3DEE3B66D216}"/>
              </a:ext>
            </a:extLst>
          </p:cNvPr>
          <p:cNvSpPr/>
          <p:nvPr/>
        </p:nvSpPr>
        <p:spPr>
          <a:xfrm>
            <a:off x="7158350" y="3566466"/>
            <a:ext cx="5097371" cy="15002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  <a:alpha val="39000"/>
                </a:sysClr>
              </a:gs>
              <a:gs pos="27000">
                <a:sysClr val="window" lastClr="FFFFFF">
                  <a:lumMod val="85000"/>
                </a:sys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4139F32-4BDD-0C3D-13D0-1F5063B8C3E8}"/>
              </a:ext>
            </a:extLst>
          </p:cNvPr>
          <p:cNvSpPr/>
          <p:nvPr/>
        </p:nvSpPr>
        <p:spPr>
          <a:xfrm>
            <a:off x="3163564" y="2085935"/>
            <a:ext cx="4339656" cy="3883591"/>
          </a:xfrm>
          <a:prstGeom prst="arc">
            <a:avLst>
              <a:gd name="adj1" fmla="val 17323117"/>
              <a:gd name="adj2" fmla="val 3631835"/>
            </a:avLst>
          </a:prstGeom>
          <a:solidFill>
            <a:sysClr val="window" lastClr="FFFFFF"/>
          </a:solidFill>
          <a:ln w="12700" cap="flat" cmpd="sng" algn="ctr">
            <a:solidFill>
              <a:srgbClr val="5B9BD5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330A0C-6F5B-3D07-CECB-046B567B4190}"/>
              </a:ext>
            </a:extLst>
          </p:cNvPr>
          <p:cNvGrpSpPr/>
          <p:nvPr/>
        </p:nvGrpSpPr>
        <p:grpSpPr>
          <a:xfrm>
            <a:off x="6447563" y="2246410"/>
            <a:ext cx="2249923" cy="585030"/>
            <a:chOff x="6186022" y="991931"/>
            <a:chExt cx="2249923" cy="585030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7F49CA8-A77C-DA72-8160-95E45A29F439}"/>
                </a:ext>
              </a:extLst>
            </p:cNvPr>
            <p:cNvGrpSpPr/>
            <p:nvPr/>
          </p:nvGrpSpPr>
          <p:grpSpPr>
            <a:xfrm>
              <a:off x="6186022" y="1053039"/>
              <a:ext cx="432037" cy="432037"/>
              <a:chOff x="2251864" y="1002670"/>
              <a:chExt cx="1120275" cy="1120275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58DE5890-BD5A-BB33-7179-3B7C31A833C8}"/>
                  </a:ext>
                </a:extLst>
              </p:cNvPr>
              <p:cNvSpPr/>
              <p:nvPr/>
            </p:nvSpPr>
            <p:spPr>
              <a:xfrm>
                <a:off x="2251864" y="1002670"/>
                <a:ext cx="1120275" cy="112027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light"/>
                  <a:ea typeface="+mn-ea"/>
                  <a:cs typeface="Segoe UI" panose="020B0502040204020203" pitchFamily="34" charset="0"/>
                </a:endParaRP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48F9EF6-E22B-E89A-F70E-9AB798C873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482541" y="1230129"/>
                <a:ext cx="658922" cy="658922"/>
              </a:xfrm>
              <a:prstGeom prst="rect">
                <a:avLst/>
              </a:prstGeom>
            </p:spPr>
          </p:pic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97184C85-0849-9F3E-4F54-106A0E4C3559}"/>
                </a:ext>
              </a:extLst>
            </p:cNvPr>
            <p:cNvGrpSpPr/>
            <p:nvPr/>
          </p:nvGrpSpPr>
          <p:grpSpPr>
            <a:xfrm>
              <a:off x="6657869" y="991931"/>
              <a:ext cx="1778076" cy="585030"/>
              <a:chOff x="8357140" y="876410"/>
              <a:chExt cx="2663222" cy="585030"/>
            </a:xfrm>
          </p:grpSpPr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1BAC58F2-CAC4-6051-6C14-2A81E9ED2DA9}"/>
                  </a:ext>
                </a:extLst>
              </p:cNvPr>
              <p:cNvSpPr txBox="1"/>
              <p:nvPr/>
            </p:nvSpPr>
            <p:spPr>
              <a:xfrm>
                <a:off x="8357140" y="1153663"/>
                <a:ext cx="266322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Segoe UI" panose="020B0502040204020203" pitchFamily="34" charset="0"/>
                  </a:rPr>
                  <a:t>SMEs experts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141B72E5-F0CC-E933-A14E-507D15A4D6AC}"/>
                  </a:ext>
                </a:extLst>
              </p:cNvPr>
              <p:cNvSpPr txBox="1"/>
              <p:nvPr/>
            </p:nvSpPr>
            <p:spPr>
              <a:xfrm>
                <a:off x="8357140" y="876410"/>
                <a:ext cx="1498141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Segoe UI" panose="020B0502040204020203" pitchFamily="34" charset="0"/>
                  </a:rPr>
                  <a:t>400+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A25F96B-790A-F215-F0A0-7CA1144329B6}"/>
              </a:ext>
            </a:extLst>
          </p:cNvPr>
          <p:cNvGrpSpPr/>
          <p:nvPr/>
        </p:nvGrpSpPr>
        <p:grpSpPr>
          <a:xfrm>
            <a:off x="6966328" y="2895507"/>
            <a:ext cx="2441884" cy="585030"/>
            <a:chOff x="6186022" y="991931"/>
            <a:chExt cx="2441884" cy="585030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28C0ADC-370E-0E5D-5E64-777D56A5E7C3}"/>
                </a:ext>
              </a:extLst>
            </p:cNvPr>
            <p:cNvGrpSpPr/>
            <p:nvPr/>
          </p:nvGrpSpPr>
          <p:grpSpPr>
            <a:xfrm>
              <a:off x="6186022" y="1053039"/>
              <a:ext cx="432037" cy="432037"/>
              <a:chOff x="2251864" y="1002670"/>
              <a:chExt cx="1120275" cy="1120275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2EA908E7-C86C-BF9C-660E-2F694CB7AB54}"/>
                  </a:ext>
                </a:extLst>
              </p:cNvPr>
              <p:cNvSpPr/>
              <p:nvPr/>
            </p:nvSpPr>
            <p:spPr>
              <a:xfrm>
                <a:off x="2251864" y="1002670"/>
                <a:ext cx="1120275" cy="112027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light"/>
                  <a:ea typeface="+mn-ea"/>
                  <a:cs typeface="Segoe UI" panose="020B0502040204020203" pitchFamily="34" charset="0"/>
                </a:endParaRPr>
              </a:p>
            </p:txBody>
          </p: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19A362CA-81D1-3104-E0A7-7CD23C72F2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449594" y="1172738"/>
                <a:ext cx="724813" cy="724813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133C2C2-77DC-19E3-3EAE-F200A2F30843}"/>
                </a:ext>
              </a:extLst>
            </p:cNvPr>
            <p:cNvGrpSpPr/>
            <p:nvPr/>
          </p:nvGrpSpPr>
          <p:grpSpPr>
            <a:xfrm>
              <a:off x="6657867" y="991931"/>
              <a:ext cx="1970039" cy="585030"/>
              <a:chOff x="8357139" y="876410"/>
              <a:chExt cx="2950747" cy="585030"/>
            </a:xfrm>
          </p:grpSpPr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9335F831-9B80-E48D-7584-299E319FF231}"/>
                  </a:ext>
                </a:extLst>
              </p:cNvPr>
              <p:cNvSpPr txBox="1"/>
              <p:nvPr/>
            </p:nvSpPr>
            <p:spPr>
              <a:xfrm>
                <a:off x="8357139" y="1153663"/>
                <a:ext cx="295074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Segoe UI" panose="020B0502040204020203" pitchFamily="34" charset="0"/>
                  </a:rPr>
                  <a:t>Product Specialists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B348D9E4-5E0A-D466-C569-35FB32028C28}"/>
                  </a:ext>
                </a:extLst>
              </p:cNvPr>
              <p:cNvSpPr txBox="1"/>
              <p:nvPr/>
            </p:nvSpPr>
            <p:spPr>
              <a:xfrm>
                <a:off x="8357140" y="876410"/>
                <a:ext cx="1498141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45 light"/>
                    <a:ea typeface="+mn-ea"/>
                    <a:cs typeface="Segoe UI" panose="020B0502040204020203" pitchFamily="34" charset="0"/>
                  </a:rPr>
                  <a:t>1000+</a:t>
                </a: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B4ABF89-D09E-700A-512E-C4CF3267A5D8}"/>
              </a:ext>
            </a:extLst>
          </p:cNvPr>
          <p:cNvGrpSpPr/>
          <p:nvPr/>
        </p:nvGrpSpPr>
        <p:grpSpPr>
          <a:xfrm>
            <a:off x="7221301" y="3634224"/>
            <a:ext cx="3702631" cy="458023"/>
            <a:chOff x="6165184" y="995284"/>
            <a:chExt cx="3702631" cy="45802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878297C0-CD28-C0E6-F00B-AB453180E521}"/>
                </a:ext>
              </a:extLst>
            </p:cNvPr>
            <p:cNvGrpSpPr/>
            <p:nvPr/>
          </p:nvGrpSpPr>
          <p:grpSpPr>
            <a:xfrm>
              <a:off x="6165184" y="1021270"/>
              <a:ext cx="432037" cy="432037"/>
              <a:chOff x="2197831" y="920292"/>
              <a:chExt cx="1120275" cy="1120275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29E4BEF8-CF88-645A-A3D4-51373EE4C082}"/>
                  </a:ext>
                </a:extLst>
              </p:cNvPr>
              <p:cNvSpPr/>
              <p:nvPr/>
            </p:nvSpPr>
            <p:spPr>
              <a:xfrm>
                <a:off x="2197831" y="920292"/>
                <a:ext cx="1120275" cy="112027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>
                <a:outerShdw blurRad="203200" dist="38100" dir="5400000" algn="t" rotWithShape="0">
                  <a:srgbClr val="5B9BD5">
                    <a:lumMod val="40000"/>
                    <a:lumOff val="60000"/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utiger 45 light"/>
                  <a:ea typeface="+mn-ea"/>
                  <a:cs typeface="Segoe UI" panose="020B0502040204020203" pitchFamily="34" charset="0"/>
                </a:endParaRPr>
              </a:p>
            </p:txBody>
          </p:sp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43654C9E-4ED6-8F61-2A5A-E1213BB43C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391619" y="1086418"/>
                <a:ext cx="781587" cy="781587"/>
              </a:xfrm>
              <a:prstGeom prst="rect">
                <a:avLst/>
              </a:prstGeom>
            </p:spPr>
          </p:pic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EDF8741-B576-CEFA-85CD-DA2BC6516ED3}"/>
                </a:ext>
              </a:extLst>
            </p:cNvPr>
            <p:cNvSpPr txBox="1"/>
            <p:nvPr/>
          </p:nvSpPr>
          <p:spPr>
            <a:xfrm>
              <a:off x="6637031" y="995284"/>
              <a:ext cx="323078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/>
                  <a:ea typeface="+mn-ea"/>
                  <a:cs typeface="Segoe UI" panose="020B0502040204020203" pitchFamily="34" charset="0"/>
                </a:rPr>
                <a:t>Best of the breed partnerships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20F87E1-6D41-8DE3-5065-2554DE5788B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2583" y="4139735"/>
            <a:ext cx="727842" cy="17817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3AB9E22-AB4E-620E-007F-0EAD5BD4B58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1556" y="4167647"/>
            <a:ext cx="295301" cy="123311"/>
          </a:xfrm>
          <a:prstGeom prst="rect">
            <a:avLst/>
          </a:prstGeom>
        </p:spPr>
      </p:pic>
      <p:pic>
        <p:nvPicPr>
          <p:cNvPr id="13" name="Picture 4" descr="Press Kit | Thought Machine">
            <a:extLst>
              <a:ext uri="{FF2B5EF4-FFF2-40B4-BE49-F238E27FC236}">
                <a16:creationId xmlns:a16="http://schemas.microsoft.com/office/drawing/2014/main" id="{2A4A69E8-4872-6779-9B0E-CB5CDA5B8EDF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5836" y="4674517"/>
            <a:ext cx="522594" cy="145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F0E8FFC-D1D9-1CE8-AC43-4E7AC2FC05D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9576" y="4676048"/>
            <a:ext cx="361134" cy="21014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E233EC-420A-29D9-19F9-8FEA0B5045C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650" y="4184270"/>
            <a:ext cx="595124" cy="1066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E9A363-9AC6-A4A6-CC0D-9B558C76D97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6181" y="4653597"/>
            <a:ext cx="469342" cy="16682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FE367B7-1399-590E-8A57-04F04BB34CB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7159" y="5710046"/>
            <a:ext cx="8766679" cy="4683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04828B-42E8-59BC-88AD-4CEB5B773B2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6564" y="3930529"/>
            <a:ext cx="507481" cy="50748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ED8EA87-6984-BB81-32BB-2829C9287C9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7757" y="4011598"/>
            <a:ext cx="403847" cy="36245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4F7F4BC-FC66-0D58-D887-5703352E22B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1862" y="4184270"/>
            <a:ext cx="464282" cy="104447"/>
          </a:xfrm>
          <a:prstGeom prst="rect">
            <a:avLst/>
          </a:prstGeom>
        </p:spPr>
      </p:pic>
      <p:pic>
        <p:nvPicPr>
          <p:cNvPr id="22" name="Picture 8" descr="Intellect Design - Future Ready Multiproduct Fintech Platform">
            <a:extLst>
              <a:ext uri="{FF2B5EF4-FFF2-40B4-BE49-F238E27FC236}">
                <a16:creationId xmlns:a16="http://schemas.microsoft.com/office/drawing/2014/main" id="{5B2F4270-E862-A7DA-0CF9-B362D242D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1037" y="4641924"/>
            <a:ext cx="510977" cy="163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Mambu - International FinTech">
            <a:extLst>
              <a:ext uri="{FF2B5EF4-FFF2-40B4-BE49-F238E27FC236}">
                <a16:creationId xmlns:a16="http://schemas.microsoft.com/office/drawing/2014/main" id="{F3049ED8-ED02-26AE-8AA3-800BCF230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67648" y="4411815"/>
            <a:ext cx="598229" cy="598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ackbase - The Engagement Banking Platform | Backbase">
            <a:extLst>
              <a:ext uri="{FF2B5EF4-FFF2-40B4-BE49-F238E27FC236}">
                <a16:creationId xmlns:a16="http://schemas.microsoft.com/office/drawing/2014/main" id="{0811A116-B99E-3C1B-DA09-7329F8DC2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49769" y="4630341"/>
            <a:ext cx="610478" cy="10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C3A2D9-7F5A-B75A-F443-F1534239AEE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09365" y="2343178"/>
            <a:ext cx="5051199" cy="3207274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B930BD7-A1BF-5D4C-29B8-9318873F5A24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095" y="2151742"/>
            <a:ext cx="6543472" cy="375197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239741B-379A-5BBA-2F4D-7D3E3A21412B}"/>
              </a:ext>
            </a:extLst>
          </p:cNvPr>
          <p:cNvSpPr txBox="1"/>
          <p:nvPr/>
        </p:nvSpPr>
        <p:spPr>
          <a:xfrm>
            <a:off x="517620" y="1251553"/>
            <a:ext cx="57350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Segoe UI" panose="020B0502040204020203" pitchFamily="34" charset="0"/>
              </a:rPr>
              <a:t>The BTP to deliver end-to-end consulting, digital and IT services, leveraging commercial off-the-shelf (COTS) products and platforms serving banks and capital market fir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509CB0-687D-3399-B27E-3CC8B234B8EE}"/>
              </a:ext>
            </a:extLst>
          </p:cNvPr>
          <p:cNvSpPr txBox="1"/>
          <p:nvPr/>
        </p:nvSpPr>
        <p:spPr>
          <a:xfrm>
            <a:off x="7158350" y="1393999"/>
            <a:ext cx="4500559" cy="4284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Segoe UI" panose="020B0502040204020203" pitchFamily="34" charset="0"/>
              </a:rPr>
              <a:t>Long term partnership with clients, moving from Implementation to Managed Servic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CAAF1A8-7A68-A126-7C71-F72E8733CD08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1282" y="4035384"/>
            <a:ext cx="639142" cy="47142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44EA837-9E96-14B8-D373-5C36D3DD5C11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8948" y="4585653"/>
            <a:ext cx="308208" cy="22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727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5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RUNTIME_ID" val="e6a2b7de-5bd6-4988-a6ef-bd9a671d2b83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I4cXxtR9GmmRtMNr4Xl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I4cXxtR9GmmRtMNr4XlQDRGF0YQAWAAAAAlBlcnNvbmFsSWQAAQAAAAAAAk5hbWUACwAAAFBlcnNvbmFsSWQAEFZlcnNpb24AAAAAAAlMYXN0V3JpdGUAcXx2G4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4115956648280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RUNTIME_ID" val="e6a2b7de-5bd6-4988-a6ef-bd9a671d2b83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I4cXxtR9GmmRtMNr4Xl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I4cXxtR9GmmRtMNr4XlQDRGF0YQAWAAAAAlBlcnNvbmFsSWQAAQAAAAAAAk5hbWUACwAAAFBlcnNvbmFsSWQAEFZlcnNpb24AAAAAAAlMYXN0V3JpdGUAcXx2G4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41159566482802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RUNTIME_ID" val="e6a2b7de-5bd6-4988-a6ef-bd9a671d2b83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I4cXxtR9GmmRtMNr4Xl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I4cXxtR9GmmRtMNr4XlQDRGF0YQAWAAAAAlBlcnNvbmFsSWQAAQAAAAAAAk5hbWUACwAAAFBlcnNvbmFsSWQAEFZlcnNpb24AAAAAAAlMYXN0V3JpdGUAcXx2G4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41159566482802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59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7173"/>
</p:tagLst>
</file>

<file path=ppt/theme/theme1.xml><?xml version="1.0" encoding="utf-8"?>
<a:theme xmlns:a="http://schemas.openxmlformats.org/drawingml/2006/main" name="Theme1">
  <a:themeElements>
    <a:clrScheme name="LTIMindtree 2023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2A61"/>
      </a:accent1>
      <a:accent2>
        <a:srgbClr val="004B86"/>
      </a:accent2>
      <a:accent3>
        <a:srgbClr val="0088CE"/>
      </a:accent3>
      <a:accent4>
        <a:srgbClr val="FFCC28"/>
      </a:accent4>
      <a:accent5>
        <a:srgbClr val="000000"/>
      </a:accent5>
      <a:accent6>
        <a:srgbClr val="BEC6C3"/>
      </a:accent6>
      <a:hlink>
        <a:srgbClr val="0088CE"/>
      </a:hlink>
      <a:folHlink>
        <a:srgbClr val="EF7F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128BE2FD-93CA-CE49-8659-2C984C0A2FD4}" vid="{C5F072BD-ADA9-C24D-832E-DB83B05742E7}"/>
    </a:ext>
  </a:extLst>
</a:theme>
</file>

<file path=ppt/theme/theme2.xml><?xml version="1.0" encoding="utf-8"?>
<a:theme xmlns:a="http://schemas.openxmlformats.org/drawingml/2006/main" name="4_Mindtree PowerPoint Template">
  <a:themeElements>
    <a:clrScheme name="Mindtree">
      <a:dk1>
        <a:srgbClr val="4D4F53"/>
      </a:dk1>
      <a:lt1>
        <a:sysClr val="window" lastClr="FFFFFF"/>
      </a:lt1>
      <a:dk2>
        <a:srgbClr val="6E267B"/>
      </a:dk2>
      <a:lt2>
        <a:srgbClr val="929499"/>
      </a:lt2>
      <a:accent1>
        <a:srgbClr val="A71930"/>
      </a:accent1>
      <a:accent2>
        <a:srgbClr val="E37222"/>
      </a:accent2>
      <a:accent3>
        <a:srgbClr val="830051"/>
      </a:accent3>
      <a:accent4>
        <a:srgbClr val="C7D28A"/>
      </a:accent4>
      <a:accent5>
        <a:srgbClr val="0066A1"/>
      </a:accent5>
      <a:accent6>
        <a:srgbClr val="4D4F53"/>
      </a:accent6>
      <a:hlink>
        <a:srgbClr val="0000FF"/>
      </a:hlink>
      <a:folHlink>
        <a:srgbClr val="800080"/>
      </a:folHlink>
    </a:clrScheme>
    <a:fontScheme name="Mindtre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>
            <a:solidFill>
              <a:srgbClr val="4D4F53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Theme1">
  <a:themeElements>
    <a:clrScheme name="LTIMindtree 2023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2A61"/>
      </a:accent1>
      <a:accent2>
        <a:srgbClr val="004B86"/>
      </a:accent2>
      <a:accent3>
        <a:srgbClr val="0088CE"/>
      </a:accent3>
      <a:accent4>
        <a:srgbClr val="FFCC28"/>
      </a:accent4>
      <a:accent5>
        <a:srgbClr val="000000"/>
      </a:accent5>
      <a:accent6>
        <a:srgbClr val="BEC6C3"/>
      </a:accent6>
      <a:hlink>
        <a:srgbClr val="0088CE"/>
      </a:hlink>
      <a:folHlink>
        <a:srgbClr val="EF7F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128BE2FD-93CA-CE49-8659-2C984C0A2FD4}" vid="{C5F072BD-ADA9-C24D-832E-DB83B05742E7}"/>
    </a:ext>
  </a:extLst>
</a:theme>
</file>

<file path=ppt/theme/theme4.xml><?xml version="1.0" encoding="utf-8"?>
<a:theme xmlns:a="http://schemas.openxmlformats.org/drawingml/2006/main" name="2_Mindtree">
  <a:themeElements>
    <a:clrScheme name="Mindtree">
      <a:dk1>
        <a:srgbClr val="4D4F53"/>
      </a:dk1>
      <a:lt1>
        <a:sysClr val="window" lastClr="FFFFFF"/>
      </a:lt1>
      <a:dk2>
        <a:srgbClr val="6E267B"/>
      </a:dk2>
      <a:lt2>
        <a:srgbClr val="929499"/>
      </a:lt2>
      <a:accent1>
        <a:srgbClr val="A71930"/>
      </a:accent1>
      <a:accent2>
        <a:srgbClr val="E37222"/>
      </a:accent2>
      <a:accent3>
        <a:srgbClr val="830051"/>
      </a:accent3>
      <a:accent4>
        <a:srgbClr val="C7D28A"/>
      </a:accent4>
      <a:accent5>
        <a:srgbClr val="0066A1"/>
      </a:accent5>
      <a:accent6>
        <a:srgbClr val="4D4F53"/>
      </a:accent6>
      <a:hlink>
        <a:srgbClr val="0000FF"/>
      </a:hlink>
      <a:folHlink>
        <a:srgbClr val="800080"/>
      </a:folHlink>
    </a:clrScheme>
    <a:fontScheme name="Mindtre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>
            <a:solidFill>
              <a:srgbClr val="4D4F53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dtree" id="{307923F2-DEC3-4A1E-869B-32C32094662F}" vid="{6ADCEAD2-2713-4F75-8BBE-151149801F75}"/>
    </a:ext>
  </a:extLst>
</a:theme>
</file>

<file path=ppt/theme/theme5.xml><?xml version="1.0" encoding="utf-8"?>
<a:theme xmlns:a="http://schemas.openxmlformats.org/drawingml/2006/main" name="Custom Design">
  <a:themeElements>
    <a:clrScheme name="Custom 2">
      <a:dk1>
        <a:sysClr val="windowText" lastClr="000000"/>
      </a:dk1>
      <a:lt1>
        <a:sysClr val="window" lastClr="FFFFFF"/>
      </a:lt1>
      <a:dk2>
        <a:srgbClr val="1C1C1C"/>
      </a:dk2>
      <a:lt2>
        <a:srgbClr val="F2F2F2"/>
      </a:lt2>
      <a:accent1>
        <a:srgbClr val="004B88"/>
      </a:accent1>
      <a:accent2>
        <a:srgbClr val="0092D5"/>
      </a:accent2>
      <a:accent3>
        <a:srgbClr val="1C1C1C"/>
      </a:accent3>
      <a:accent4>
        <a:srgbClr val="FF8F6C"/>
      </a:accent4>
      <a:accent5>
        <a:srgbClr val="F2F2F2"/>
      </a:accent5>
      <a:accent6>
        <a:srgbClr val="DBE9F7"/>
      </a:accent6>
      <a:hlink>
        <a:srgbClr val="A5A5A5"/>
      </a:hlink>
      <a:folHlink>
        <a:srgbClr val="7F7F7F"/>
      </a:folHlink>
    </a:clrScheme>
    <a:fontScheme name="Marriot international LTIM">
      <a:majorFont>
        <a:latin typeface="Frutiger 45 light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2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7.xml><?xml version="1.0" encoding="utf-8"?>
<a:theme xmlns:a="http://schemas.openxmlformats.org/drawingml/2006/main" name="4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8.xml><?xml version="1.0" encoding="utf-8"?>
<a:theme xmlns:a="http://schemas.openxmlformats.org/drawingml/2006/main" name="5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e23a45-c1be-4549-912d-df7a4714493e" xsi:nil="true"/>
    <lcf76f155ced4ddcb4097134ff3c332f xmlns="e959ad88-215e-4351-bf97-df1b6f03a8c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A9F7CB9E2E6846B4A59A1184200B9F" ma:contentTypeVersion="14" ma:contentTypeDescription="Create a new document." ma:contentTypeScope="" ma:versionID="9df88c0394eaffffb1a509a53ed64ed8">
  <xsd:schema xmlns:xsd="http://www.w3.org/2001/XMLSchema" xmlns:xs="http://www.w3.org/2001/XMLSchema" xmlns:p="http://schemas.microsoft.com/office/2006/metadata/properties" xmlns:ns2="e959ad88-215e-4351-bf97-df1b6f03a8c4" xmlns:ns3="e9e23a45-c1be-4549-912d-df7a4714493e" targetNamespace="http://schemas.microsoft.com/office/2006/metadata/properties" ma:root="true" ma:fieldsID="5dddffe12ce5ceae167fb97b0a975ce7" ns2:_="" ns3:_="">
    <xsd:import namespace="e959ad88-215e-4351-bf97-df1b6f03a8c4"/>
    <xsd:import namespace="e9e23a45-c1be-4549-912d-df7a471449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9ad88-215e-4351-bf97-df1b6f03a8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c554113-5c1c-4c88-a5a0-ba7e0db088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e23a45-c1be-4549-912d-df7a471449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cabb621-2185-4beb-aa24-ee932de4a0d4}" ma:internalName="TaxCatchAll" ma:showField="CatchAllData" ma:web="e9e23a45-c1be-4549-912d-df7a471449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BC14DF-1E04-4940-96F6-0E8D688697D9}">
  <ds:schemaRefs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e9e23a45-c1be-4549-912d-df7a4714493e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e959ad88-215e-4351-bf97-df1b6f03a8c4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42CA2AD-0BFA-41C3-B748-6CDA177DEB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A7885F1-2581-482A-BA72-B1630F4053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59ad88-215e-4351-bf97-df1b6f03a8c4"/>
    <ds:schemaRef ds:uri="e9e23a45-c1be-4549-912d-df7a471449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26</TotalTime>
  <Words>2508</Words>
  <Application>Microsoft Office PowerPoint</Application>
  <PresentationFormat>Widescreen</PresentationFormat>
  <Paragraphs>624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44" baseType="lpstr">
      <vt:lpstr>Aharoni</vt:lpstr>
      <vt:lpstr>Aptos</vt:lpstr>
      <vt:lpstr>Arial</vt:lpstr>
      <vt:lpstr>BwModelica-Regular</vt:lpstr>
      <vt:lpstr>Calibiri</vt:lpstr>
      <vt:lpstr>Calibri</vt:lpstr>
      <vt:lpstr>Calibri </vt:lpstr>
      <vt:lpstr>Calibri Light</vt:lpstr>
      <vt:lpstr>Century Gothic</vt:lpstr>
      <vt:lpstr>Courier New</vt:lpstr>
      <vt:lpstr>Frutiger 45 bold</vt:lpstr>
      <vt:lpstr>Frutiger 45 light</vt:lpstr>
      <vt:lpstr>Frutiger 45 light</vt:lpstr>
      <vt:lpstr>Frutiger LT Pro 45 Light</vt:lpstr>
      <vt:lpstr>Frutiger LT Pro 55 Roman</vt:lpstr>
      <vt:lpstr>Ink Free</vt:lpstr>
      <vt:lpstr>Segoe UI</vt:lpstr>
      <vt:lpstr>Source Sans Pro</vt:lpstr>
      <vt:lpstr>Symbol</vt:lpstr>
      <vt:lpstr>Trebuchet MS</vt:lpstr>
      <vt:lpstr>Wingdings</vt:lpstr>
      <vt:lpstr>Theme1</vt:lpstr>
      <vt:lpstr>4_Mindtree PowerPoint Template</vt:lpstr>
      <vt:lpstr>1_Theme1</vt:lpstr>
      <vt:lpstr>2_Mindtree</vt:lpstr>
      <vt:lpstr>Custom Design</vt:lpstr>
      <vt:lpstr>2_Office Theme</vt:lpstr>
      <vt:lpstr>4_Office Theme</vt:lpstr>
      <vt:lpstr>5_Office Theme</vt:lpstr>
      <vt:lpstr>think-cell Slide</vt:lpstr>
      <vt:lpstr>PowerPoint Presentation</vt:lpstr>
      <vt:lpstr>L&amp;T Group Overview</vt:lpstr>
      <vt:lpstr>LTIMindtree – 5th Largest India-based Global Tech Consulting &amp; Digital Solutions Firm</vt:lpstr>
      <vt:lpstr>LTIMindtree Global Presence</vt:lpstr>
      <vt:lpstr>Financial Services @ LTIMindtree</vt:lpstr>
      <vt:lpstr>Capital Markets Overview</vt:lpstr>
      <vt:lpstr>We have a strong presence in ASEAN region too</vt:lpstr>
      <vt:lpstr>Murex Capability &amp; Success Stories</vt:lpstr>
      <vt:lpstr>We have setup a dedicated Banking Transformation Practice focusing on leading  Fintech/ digital banking platforms</vt:lpstr>
      <vt:lpstr>Our Murex Credentials</vt:lpstr>
      <vt:lpstr>Our Murex Service Offerings</vt:lpstr>
      <vt:lpstr>Clients and projects</vt:lpstr>
      <vt:lpstr>Clients and projec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PMC Temenos Implementation - Proposal from LTIM for QA services</dc:title>
  <dc:creator>Abhay Bagade</dc:creator>
  <cp:lastModifiedBy>Ashutosh Dhananjay Bhamare</cp:lastModifiedBy>
  <cp:revision>15</cp:revision>
  <dcterms:created xsi:type="dcterms:W3CDTF">2024-01-16T11:02:53Z</dcterms:created>
  <dcterms:modified xsi:type="dcterms:W3CDTF">2025-06-26T15:3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A9F7CB9E2E6846B4A59A1184200B9F</vt:lpwstr>
  </property>
  <property fmtid="{D5CDD505-2E9C-101B-9397-08002B2CF9AE}" pid="3" name="MediaServiceImageTags">
    <vt:lpwstr/>
  </property>
</Properties>
</file>